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64" r:id="rId2"/>
    <p:sldId id="263" r:id="rId3"/>
    <p:sldId id="265" r:id="rId4"/>
    <p:sldId id="267" r:id="rId5"/>
    <p:sldId id="261" r:id="rId6"/>
    <p:sldId id="268" r:id="rId7"/>
    <p:sldId id="260" r:id="rId8"/>
    <p:sldId id="266" r:id="rId9"/>
    <p:sldId id="270" r:id="rId10"/>
    <p:sldId id="271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22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>
        <p:guide orient="horz" pos="2160"/>
        <p:guide pos="3840"/>
        <p:guide orient="horz" pos="122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678223\Downloads\8\8.4\zomato_restaurants_in_India_0104.csv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678223\Downloads\8\8.4\zomato_restaurants_in_India_0104.csv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678223\Downloads\8\8.4\zomato_restaurants_in_India_0104.csv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678223\Downloads\8\8.4\zomato_restaurants_in_India_0104.csv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678223\Downloads\8\8.4\zomato_restaurants_in_India_0104.csv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C:\Users\678223\Downloads\8\8.4\zomato_restaurants_in_India_0104.csv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2000"/>
            </a:pPr>
            <a:r>
              <a:rPr lang="en-US" sz="2000" dirty="0" smtClean="0"/>
              <a:t>“Cost</a:t>
            </a:r>
            <a:r>
              <a:rPr lang="en-US" sz="2000" baseline="0" dirty="0" smtClean="0"/>
              <a:t> </a:t>
            </a:r>
            <a:r>
              <a:rPr lang="en-US" sz="2000" baseline="0" dirty="0"/>
              <a:t>for </a:t>
            </a:r>
            <a:r>
              <a:rPr lang="en-US" sz="2000" baseline="0" dirty="0" smtClean="0"/>
              <a:t>Two” </a:t>
            </a:r>
            <a:r>
              <a:rPr lang="en-US" sz="2000" baseline="0" dirty="0"/>
              <a:t>Histogram</a:t>
            </a:r>
            <a:endParaRPr lang="en-US" sz="2000" dirty="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Frequency</c:v>
          </c:tx>
          <c:spPr>
            <a:ln w="12700">
              <a:solidFill>
                <a:schemeClr val="tx1"/>
              </a:solidFill>
              <a:round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Histograms!$A$15:$A$23</c:f>
              <c:strCache>
                <c:ptCount val="9"/>
                <c:pt idx="0">
                  <c:v>0-250</c:v>
                </c:pt>
                <c:pt idx="1">
                  <c:v>250-500</c:v>
                </c:pt>
                <c:pt idx="2">
                  <c:v>500-750</c:v>
                </c:pt>
                <c:pt idx="3">
                  <c:v>750-1000</c:v>
                </c:pt>
                <c:pt idx="4">
                  <c:v>1000-1250</c:v>
                </c:pt>
                <c:pt idx="5">
                  <c:v>1250-1500</c:v>
                </c:pt>
                <c:pt idx="6">
                  <c:v>1500-1750</c:v>
                </c:pt>
                <c:pt idx="7">
                  <c:v>1750-2000</c:v>
                </c:pt>
                <c:pt idx="8">
                  <c:v>2000+</c:v>
                </c:pt>
              </c:strCache>
            </c:strRef>
          </c:cat>
          <c:val>
            <c:numRef>
              <c:f>Histograms!$C$15:$C$23</c:f>
              <c:numCache>
                <c:formatCode>General</c:formatCode>
                <c:ptCount val="9"/>
                <c:pt idx="0">
                  <c:v>4526</c:v>
                </c:pt>
                <c:pt idx="1">
                  <c:v>4906</c:v>
                </c:pt>
                <c:pt idx="2">
                  <c:v>1384</c:v>
                </c:pt>
                <c:pt idx="3">
                  <c:v>1066</c:v>
                </c:pt>
                <c:pt idx="4">
                  <c:v>382</c:v>
                </c:pt>
                <c:pt idx="5">
                  <c:v>503</c:v>
                </c:pt>
                <c:pt idx="6">
                  <c:v>153</c:v>
                </c:pt>
                <c:pt idx="7">
                  <c:v>231</c:v>
                </c:pt>
                <c:pt idx="8">
                  <c:v>3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D1-48F0-94B6-BC0B5EFFEA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718727727"/>
        <c:axId val="1718728143"/>
      </c:barChart>
      <c:catAx>
        <c:axId val="17187277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1718728143"/>
        <c:crosses val="autoZero"/>
        <c:auto val="1"/>
        <c:lblAlgn val="ctr"/>
        <c:lblOffset val="100"/>
        <c:noMultiLvlLbl val="0"/>
      </c:catAx>
      <c:valAx>
        <c:axId val="1718728143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718727727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“Votes” </a:t>
            </a:r>
            <a:r>
              <a:rPr lang="en-US" dirty="0"/>
              <a:t>Histogram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Frequency</c:v>
          </c:tx>
          <c:spPr>
            <a:ln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Histograms!$L$15:$L$21</c:f>
              <c:strCache>
                <c:ptCount val="7"/>
                <c:pt idx="0">
                  <c:v>0</c:v>
                </c:pt>
                <c:pt idx="1">
                  <c:v>1-100</c:v>
                </c:pt>
                <c:pt idx="2">
                  <c:v>100-250</c:v>
                </c:pt>
                <c:pt idx="3">
                  <c:v>250-500</c:v>
                </c:pt>
                <c:pt idx="4">
                  <c:v>500-1000</c:v>
                </c:pt>
                <c:pt idx="5">
                  <c:v>1000-2000</c:v>
                </c:pt>
                <c:pt idx="6">
                  <c:v>2000+</c:v>
                </c:pt>
              </c:strCache>
            </c:strRef>
          </c:cat>
          <c:val>
            <c:numRef>
              <c:f>Histograms!$N$15:$N$21</c:f>
              <c:numCache>
                <c:formatCode>General</c:formatCode>
                <c:ptCount val="7"/>
                <c:pt idx="0">
                  <c:v>1069</c:v>
                </c:pt>
                <c:pt idx="1">
                  <c:v>7190</c:v>
                </c:pt>
                <c:pt idx="2">
                  <c:v>2114</c:v>
                </c:pt>
                <c:pt idx="3">
                  <c:v>1280</c:v>
                </c:pt>
                <c:pt idx="4">
                  <c:v>1064</c:v>
                </c:pt>
                <c:pt idx="5">
                  <c:v>475</c:v>
                </c:pt>
                <c:pt idx="6">
                  <c:v>2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AB-4E73-86B4-A844DF53CB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703758927"/>
        <c:axId val="1703776815"/>
      </c:barChart>
      <c:catAx>
        <c:axId val="17037589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1703776815"/>
        <c:crosses val="autoZero"/>
        <c:auto val="1"/>
        <c:lblAlgn val="ctr"/>
        <c:lblOffset val="100"/>
        <c:noMultiLvlLbl val="0"/>
      </c:catAx>
      <c:valAx>
        <c:axId val="17037768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703758927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“Pictures” </a:t>
            </a:r>
            <a:r>
              <a:rPr lang="en-US" dirty="0"/>
              <a:t>Histogram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Frequency</c:v>
          </c:tx>
          <c:spPr>
            <a:ln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Histograms!$R$15:$R$22</c:f>
              <c:strCache>
                <c:ptCount val="8"/>
                <c:pt idx="0">
                  <c:v>0</c:v>
                </c:pt>
                <c:pt idx="1">
                  <c:v>1-50</c:v>
                </c:pt>
                <c:pt idx="2">
                  <c:v>50-100</c:v>
                </c:pt>
                <c:pt idx="3">
                  <c:v>100-150</c:v>
                </c:pt>
                <c:pt idx="4">
                  <c:v>150-200</c:v>
                </c:pt>
                <c:pt idx="5">
                  <c:v>200-300</c:v>
                </c:pt>
                <c:pt idx="6">
                  <c:v>300-500</c:v>
                </c:pt>
                <c:pt idx="7">
                  <c:v>500+</c:v>
                </c:pt>
              </c:strCache>
            </c:strRef>
          </c:cat>
          <c:val>
            <c:numRef>
              <c:f>Histograms!$U$15:$U$22</c:f>
              <c:numCache>
                <c:formatCode>General</c:formatCode>
                <c:ptCount val="8"/>
                <c:pt idx="0">
                  <c:v>2089</c:v>
                </c:pt>
                <c:pt idx="1">
                  <c:v>6814</c:v>
                </c:pt>
                <c:pt idx="2">
                  <c:v>1319</c:v>
                </c:pt>
                <c:pt idx="3">
                  <c:v>648</c:v>
                </c:pt>
                <c:pt idx="4">
                  <c:v>465</c:v>
                </c:pt>
                <c:pt idx="5">
                  <c:v>535</c:v>
                </c:pt>
                <c:pt idx="6">
                  <c:v>563</c:v>
                </c:pt>
                <c:pt idx="7">
                  <c:v>10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F2-4B6E-B1D0-A3F017BBC1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718748111"/>
        <c:axId val="1718751439"/>
      </c:barChart>
      <c:catAx>
        <c:axId val="17187481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1718751439"/>
        <c:crosses val="autoZero"/>
        <c:auto val="1"/>
        <c:lblAlgn val="ctr"/>
        <c:lblOffset val="100"/>
        <c:noMultiLvlLbl val="0"/>
      </c:catAx>
      <c:valAx>
        <c:axId val="171875143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718748111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'Votes-Pictures outliers removed'!$C$1</c:f>
              <c:strCache>
                <c:ptCount val="1"/>
                <c:pt idx="0">
                  <c:v>pictures</c:v>
                </c:pt>
              </c:strCache>
            </c:strRef>
          </c:tx>
          <c:spPr>
            <a:ln w="25400">
              <a:noFill/>
            </a:ln>
            <a:effectLst/>
          </c:spPr>
          <c:marker>
            <c:symbol val="circle"/>
            <c:size val="4"/>
            <c:spPr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round/>
              </a:ln>
              <a:effectLst/>
            </c:spPr>
          </c:marker>
          <c:trendline>
            <c:spPr>
              <a:ln w="63500" cap="rnd" cmpd="sng" algn="ctr">
                <a:solidFill>
                  <a:schemeClr val="accent1">
                    <a:alpha val="25000"/>
                  </a:schemeClr>
                </a:solidFill>
                <a:round/>
              </a:ln>
              <a:effectLst/>
            </c:spPr>
            <c:trendlineType val="linear"/>
            <c:dispRSqr val="0"/>
            <c:dispEq val="0"/>
          </c:trendline>
          <c:trendline>
            <c:spPr>
              <a:ln w="63500" cap="rnd" cmpd="sng" algn="ctr">
                <a:solidFill>
                  <a:schemeClr val="accent1">
                    <a:alpha val="25000"/>
                  </a:schemeClr>
                </a:solidFill>
                <a:round/>
              </a:ln>
              <a:effectLst/>
            </c:spPr>
            <c:trendlineType val="log"/>
            <c:dispRSqr val="0"/>
            <c:dispEq val="0"/>
          </c:trendline>
          <c:trendline>
            <c:spPr>
              <a:ln w="63500" cap="rnd" cmpd="sng" algn="ctr">
                <a:solidFill>
                  <a:schemeClr val="accent1">
                    <a:alpha val="25000"/>
                  </a:schemeClr>
                </a:solidFill>
                <a:round/>
              </a:ln>
              <a:effectLst/>
            </c:spPr>
            <c:trendlineType val="log"/>
            <c:dispRSqr val="0"/>
            <c:dispEq val="0"/>
          </c:trendline>
          <c:trendline>
            <c:name>Trendline</c:name>
            <c:spPr>
              <a:ln w="15875" cap="rnd" cmpd="sng" algn="ctr">
                <a:solidFill>
                  <a:schemeClr val="accent5">
                    <a:lumMod val="50000"/>
                  </a:schemeClr>
                </a:solidFill>
                <a:round/>
              </a:ln>
              <a:effectLst/>
            </c:spPr>
            <c:trendlineType val="linear"/>
            <c:dispRSqr val="0"/>
            <c:dispEq val="0"/>
          </c:trendline>
          <c:xVal>
            <c:numRef>
              <c:f>'Votes-Pictures outliers removed'!$B$2:$B$13200</c:f>
              <c:numCache>
                <c:formatCode>General</c:formatCode>
                <c:ptCount val="13199"/>
                <c:pt idx="0">
                  <c:v>814</c:v>
                </c:pt>
                <c:pt idx="1">
                  <c:v>1203</c:v>
                </c:pt>
                <c:pt idx="2">
                  <c:v>801</c:v>
                </c:pt>
                <c:pt idx="3">
                  <c:v>693</c:v>
                </c:pt>
                <c:pt idx="4">
                  <c:v>470</c:v>
                </c:pt>
                <c:pt idx="5">
                  <c:v>707</c:v>
                </c:pt>
                <c:pt idx="6">
                  <c:v>647</c:v>
                </c:pt>
                <c:pt idx="7">
                  <c:v>617</c:v>
                </c:pt>
                <c:pt idx="8">
                  <c:v>322</c:v>
                </c:pt>
                <c:pt idx="9">
                  <c:v>289</c:v>
                </c:pt>
                <c:pt idx="10">
                  <c:v>683</c:v>
                </c:pt>
                <c:pt idx="11">
                  <c:v>523</c:v>
                </c:pt>
                <c:pt idx="12">
                  <c:v>626</c:v>
                </c:pt>
                <c:pt idx="13">
                  <c:v>361</c:v>
                </c:pt>
                <c:pt idx="14">
                  <c:v>474</c:v>
                </c:pt>
                <c:pt idx="15">
                  <c:v>490</c:v>
                </c:pt>
                <c:pt idx="16">
                  <c:v>915</c:v>
                </c:pt>
                <c:pt idx="17">
                  <c:v>837</c:v>
                </c:pt>
                <c:pt idx="18">
                  <c:v>362</c:v>
                </c:pt>
                <c:pt idx="19">
                  <c:v>490</c:v>
                </c:pt>
                <c:pt idx="20">
                  <c:v>417</c:v>
                </c:pt>
                <c:pt idx="21">
                  <c:v>376</c:v>
                </c:pt>
                <c:pt idx="22">
                  <c:v>965</c:v>
                </c:pt>
                <c:pt idx="23">
                  <c:v>237</c:v>
                </c:pt>
                <c:pt idx="24">
                  <c:v>402</c:v>
                </c:pt>
                <c:pt idx="25">
                  <c:v>514</c:v>
                </c:pt>
                <c:pt idx="26">
                  <c:v>410</c:v>
                </c:pt>
                <c:pt idx="27">
                  <c:v>672</c:v>
                </c:pt>
                <c:pt idx="28">
                  <c:v>433</c:v>
                </c:pt>
                <c:pt idx="29">
                  <c:v>406</c:v>
                </c:pt>
                <c:pt idx="30">
                  <c:v>384</c:v>
                </c:pt>
                <c:pt idx="31">
                  <c:v>381</c:v>
                </c:pt>
                <c:pt idx="32">
                  <c:v>266</c:v>
                </c:pt>
                <c:pt idx="33">
                  <c:v>322</c:v>
                </c:pt>
                <c:pt idx="34">
                  <c:v>344</c:v>
                </c:pt>
                <c:pt idx="35">
                  <c:v>167</c:v>
                </c:pt>
                <c:pt idx="36">
                  <c:v>711</c:v>
                </c:pt>
                <c:pt idx="37">
                  <c:v>274</c:v>
                </c:pt>
                <c:pt idx="38">
                  <c:v>213</c:v>
                </c:pt>
                <c:pt idx="39">
                  <c:v>341</c:v>
                </c:pt>
                <c:pt idx="40">
                  <c:v>508</c:v>
                </c:pt>
                <c:pt idx="41">
                  <c:v>237</c:v>
                </c:pt>
                <c:pt idx="42">
                  <c:v>463</c:v>
                </c:pt>
                <c:pt idx="43">
                  <c:v>336</c:v>
                </c:pt>
                <c:pt idx="44">
                  <c:v>79</c:v>
                </c:pt>
                <c:pt idx="45">
                  <c:v>284</c:v>
                </c:pt>
                <c:pt idx="46">
                  <c:v>286</c:v>
                </c:pt>
                <c:pt idx="47">
                  <c:v>288</c:v>
                </c:pt>
                <c:pt idx="48">
                  <c:v>283</c:v>
                </c:pt>
                <c:pt idx="49">
                  <c:v>306</c:v>
                </c:pt>
                <c:pt idx="50">
                  <c:v>280</c:v>
                </c:pt>
                <c:pt idx="51">
                  <c:v>225</c:v>
                </c:pt>
                <c:pt idx="52">
                  <c:v>376</c:v>
                </c:pt>
                <c:pt idx="53">
                  <c:v>225</c:v>
                </c:pt>
                <c:pt idx="54">
                  <c:v>138</c:v>
                </c:pt>
                <c:pt idx="55">
                  <c:v>238</c:v>
                </c:pt>
                <c:pt idx="56">
                  <c:v>279</c:v>
                </c:pt>
                <c:pt idx="57">
                  <c:v>353</c:v>
                </c:pt>
                <c:pt idx="58">
                  <c:v>117</c:v>
                </c:pt>
                <c:pt idx="59">
                  <c:v>252</c:v>
                </c:pt>
                <c:pt idx="60">
                  <c:v>197</c:v>
                </c:pt>
                <c:pt idx="61">
                  <c:v>324</c:v>
                </c:pt>
                <c:pt idx="62">
                  <c:v>274</c:v>
                </c:pt>
                <c:pt idx="63">
                  <c:v>162</c:v>
                </c:pt>
                <c:pt idx="64">
                  <c:v>262</c:v>
                </c:pt>
                <c:pt idx="65">
                  <c:v>160</c:v>
                </c:pt>
                <c:pt idx="66">
                  <c:v>213</c:v>
                </c:pt>
                <c:pt idx="67">
                  <c:v>326</c:v>
                </c:pt>
                <c:pt idx="68">
                  <c:v>277</c:v>
                </c:pt>
                <c:pt idx="69">
                  <c:v>253</c:v>
                </c:pt>
                <c:pt idx="70">
                  <c:v>172</c:v>
                </c:pt>
                <c:pt idx="71">
                  <c:v>160</c:v>
                </c:pt>
                <c:pt idx="72">
                  <c:v>223</c:v>
                </c:pt>
                <c:pt idx="73">
                  <c:v>151</c:v>
                </c:pt>
                <c:pt idx="74">
                  <c:v>271</c:v>
                </c:pt>
                <c:pt idx="75">
                  <c:v>208</c:v>
                </c:pt>
                <c:pt idx="76">
                  <c:v>198</c:v>
                </c:pt>
                <c:pt idx="77">
                  <c:v>215</c:v>
                </c:pt>
                <c:pt idx="78">
                  <c:v>170</c:v>
                </c:pt>
                <c:pt idx="79">
                  <c:v>232</c:v>
                </c:pt>
                <c:pt idx="80">
                  <c:v>225</c:v>
                </c:pt>
                <c:pt idx="81">
                  <c:v>159</c:v>
                </c:pt>
                <c:pt idx="82">
                  <c:v>265</c:v>
                </c:pt>
                <c:pt idx="83">
                  <c:v>135</c:v>
                </c:pt>
                <c:pt idx="84">
                  <c:v>203</c:v>
                </c:pt>
                <c:pt idx="85">
                  <c:v>217</c:v>
                </c:pt>
                <c:pt idx="86">
                  <c:v>230</c:v>
                </c:pt>
                <c:pt idx="87">
                  <c:v>93</c:v>
                </c:pt>
                <c:pt idx="88">
                  <c:v>258</c:v>
                </c:pt>
                <c:pt idx="89">
                  <c:v>177</c:v>
                </c:pt>
                <c:pt idx="90">
                  <c:v>152</c:v>
                </c:pt>
                <c:pt idx="91">
                  <c:v>254</c:v>
                </c:pt>
                <c:pt idx="92">
                  <c:v>166</c:v>
                </c:pt>
                <c:pt idx="93">
                  <c:v>184</c:v>
                </c:pt>
                <c:pt idx="94">
                  <c:v>96</c:v>
                </c:pt>
                <c:pt idx="95">
                  <c:v>36</c:v>
                </c:pt>
                <c:pt idx="96">
                  <c:v>194</c:v>
                </c:pt>
                <c:pt idx="97">
                  <c:v>194</c:v>
                </c:pt>
                <c:pt idx="98">
                  <c:v>127</c:v>
                </c:pt>
                <c:pt idx="99">
                  <c:v>123</c:v>
                </c:pt>
                <c:pt idx="100">
                  <c:v>153</c:v>
                </c:pt>
                <c:pt idx="101">
                  <c:v>36</c:v>
                </c:pt>
                <c:pt idx="102">
                  <c:v>3</c:v>
                </c:pt>
                <c:pt idx="103">
                  <c:v>13</c:v>
                </c:pt>
                <c:pt idx="104">
                  <c:v>114</c:v>
                </c:pt>
                <c:pt idx="105">
                  <c:v>46</c:v>
                </c:pt>
                <c:pt idx="106">
                  <c:v>26</c:v>
                </c:pt>
                <c:pt idx="107">
                  <c:v>140</c:v>
                </c:pt>
                <c:pt idx="108">
                  <c:v>46</c:v>
                </c:pt>
                <c:pt idx="109">
                  <c:v>37</c:v>
                </c:pt>
                <c:pt idx="110">
                  <c:v>20</c:v>
                </c:pt>
                <c:pt idx="111">
                  <c:v>19</c:v>
                </c:pt>
                <c:pt idx="112">
                  <c:v>22</c:v>
                </c:pt>
                <c:pt idx="113">
                  <c:v>0</c:v>
                </c:pt>
                <c:pt idx="114">
                  <c:v>6</c:v>
                </c:pt>
                <c:pt idx="115">
                  <c:v>154</c:v>
                </c:pt>
                <c:pt idx="116">
                  <c:v>104</c:v>
                </c:pt>
                <c:pt idx="117">
                  <c:v>40</c:v>
                </c:pt>
                <c:pt idx="118">
                  <c:v>90</c:v>
                </c:pt>
                <c:pt idx="119">
                  <c:v>19</c:v>
                </c:pt>
                <c:pt idx="120">
                  <c:v>182</c:v>
                </c:pt>
                <c:pt idx="121">
                  <c:v>36</c:v>
                </c:pt>
                <c:pt idx="122">
                  <c:v>57</c:v>
                </c:pt>
                <c:pt idx="123">
                  <c:v>55</c:v>
                </c:pt>
                <c:pt idx="124">
                  <c:v>23</c:v>
                </c:pt>
                <c:pt idx="125">
                  <c:v>13</c:v>
                </c:pt>
                <c:pt idx="126">
                  <c:v>21</c:v>
                </c:pt>
                <c:pt idx="127">
                  <c:v>13</c:v>
                </c:pt>
                <c:pt idx="128">
                  <c:v>6</c:v>
                </c:pt>
                <c:pt idx="129">
                  <c:v>8</c:v>
                </c:pt>
                <c:pt idx="130">
                  <c:v>2</c:v>
                </c:pt>
                <c:pt idx="131">
                  <c:v>3</c:v>
                </c:pt>
                <c:pt idx="132">
                  <c:v>1</c:v>
                </c:pt>
                <c:pt idx="133">
                  <c:v>1</c:v>
                </c:pt>
                <c:pt idx="134">
                  <c:v>21</c:v>
                </c:pt>
                <c:pt idx="135">
                  <c:v>7</c:v>
                </c:pt>
                <c:pt idx="136">
                  <c:v>2</c:v>
                </c:pt>
                <c:pt idx="137">
                  <c:v>1</c:v>
                </c:pt>
                <c:pt idx="138">
                  <c:v>59</c:v>
                </c:pt>
                <c:pt idx="139">
                  <c:v>67</c:v>
                </c:pt>
                <c:pt idx="140">
                  <c:v>185</c:v>
                </c:pt>
                <c:pt idx="141">
                  <c:v>126</c:v>
                </c:pt>
                <c:pt idx="142">
                  <c:v>45</c:v>
                </c:pt>
                <c:pt idx="143">
                  <c:v>2</c:v>
                </c:pt>
                <c:pt idx="144">
                  <c:v>23</c:v>
                </c:pt>
                <c:pt idx="145">
                  <c:v>21</c:v>
                </c:pt>
                <c:pt idx="146">
                  <c:v>18</c:v>
                </c:pt>
                <c:pt idx="147">
                  <c:v>11</c:v>
                </c:pt>
                <c:pt idx="148">
                  <c:v>6</c:v>
                </c:pt>
                <c:pt idx="149">
                  <c:v>3</c:v>
                </c:pt>
                <c:pt idx="150">
                  <c:v>3</c:v>
                </c:pt>
                <c:pt idx="151">
                  <c:v>5</c:v>
                </c:pt>
                <c:pt idx="152">
                  <c:v>1</c:v>
                </c:pt>
                <c:pt idx="153">
                  <c:v>1</c:v>
                </c:pt>
                <c:pt idx="154">
                  <c:v>0</c:v>
                </c:pt>
                <c:pt idx="155">
                  <c:v>0</c:v>
                </c:pt>
                <c:pt idx="156">
                  <c:v>65</c:v>
                </c:pt>
                <c:pt idx="157">
                  <c:v>34</c:v>
                </c:pt>
                <c:pt idx="158">
                  <c:v>9</c:v>
                </c:pt>
                <c:pt idx="159">
                  <c:v>5</c:v>
                </c:pt>
                <c:pt idx="160">
                  <c:v>25</c:v>
                </c:pt>
                <c:pt idx="161">
                  <c:v>3</c:v>
                </c:pt>
                <c:pt idx="162">
                  <c:v>71</c:v>
                </c:pt>
                <c:pt idx="163">
                  <c:v>54</c:v>
                </c:pt>
                <c:pt idx="164">
                  <c:v>25</c:v>
                </c:pt>
                <c:pt idx="165">
                  <c:v>2</c:v>
                </c:pt>
                <c:pt idx="166">
                  <c:v>2</c:v>
                </c:pt>
                <c:pt idx="167">
                  <c:v>3</c:v>
                </c:pt>
                <c:pt idx="168">
                  <c:v>1</c:v>
                </c:pt>
                <c:pt idx="169">
                  <c:v>0</c:v>
                </c:pt>
                <c:pt idx="170">
                  <c:v>0</c:v>
                </c:pt>
                <c:pt idx="171">
                  <c:v>57</c:v>
                </c:pt>
                <c:pt idx="172">
                  <c:v>74</c:v>
                </c:pt>
                <c:pt idx="173">
                  <c:v>13</c:v>
                </c:pt>
                <c:pt idx="174">
                  <c:v>2</c:v>
                </c:pt>
                <c:pt idx="175">
                  <c:v>3</c:v>
                </c:pt>
                <c:pt idx="176">
                  <c:v>174</c:v>
                </c:pt>
                <c:pt idx="177">
                  <c:v>125</c:v>
                </c:pt>
                <c:pt idx="178">
                  <c:v>87</c:v>
                </c:pt>
                <c:pt idx="179">
                  <c:v>85</c:v>
                </c:pt>
                <c:pt idx="180">
                  <c:v>74</c:v>
                </c:pt>
                <c:pt idx="181">
                  <c:v>62</c:v>
                </c:pt>
                <c:pt idx="182">
                  <c:v>65</c:v>
                </c:pt>
                <c:pt idx="183">
                  <c:v>11</c:v>
                </c:pt>
                <c:pt idx="184">
                  <c:v>2</c:v>
                </c:pt>
                <c:pt idx="185">
                  <c:v>1</c:v>
                </c:pt>
                <c:pt idx="186">
                  <c:v>0</c:v>
                </c:pt>
                <c:pt idx="187">
                  <c:v>0</c:v>
                </c:pt>
                <c:pt idx="188">
                  <c:v>5</c:v>
                </c:pt>
                <c:pt idx="189">
                  <c:v>119</c:v>
                </c:pt>
                <c:pt idx="190">
                  <c:v>120</c:v>
                </c:pt>
                <c:pt idx="191">
                  <c:v>156</c:v>
                </c:pt>
                <c:pt idx="192">
                  <c:v>76</c:v>
                </c:pt>
                <c:pt idx="193">
                  <c:v>67</c:v>
                </c:pt>
                <c:pt idx="194">
                  <c:v>74</c:v>
                </c:pt>
                <c:pt idx="195">
                  <c:v>63</c:v>
                </c:pt>
                <c:pt idx="196">
                  <c:v>69</c:v>
                </c:pt>
                <c:pt idx="197">
                  <c:v>46</c:v>
                </c:pt>
                <c:pt idx="198">
                  <c:v>35</c:v>
                </c:pt>
                <c:pt idx="199">
                  <c:v>47</c:v>
                </c:pt>
                <c:pt idx="200">
                  <c:v>48</c:v>
                </c:pt>
                <c:pt idx="201">
                  <c:v>43</c:v>
                </c:pt>
                <c:pt idx="202">
                  <c:v>33</c:v>
                </c:pt>
                <c:pt idx="203">
                  <c:v>19</c:v>
                </c:pt>
                <c:pt idx="204">
                  <c:v>37</c:v>
                </c:pt>
                <c:pt idx="205">
                  <c:v>35</c:v>
                </c:pt>
                <c:pt idx="206">
                  <c:v>35</c:v>
                </c:pt>
                <c:pt idx="207">
                  <c:v>10</c:v>
                </c:pt>
                <c:pt idx="208">
                  <c:v>35</c:v>
                </c:pt>
                <c:pt idx="209">
                  <c:v>27</c:v>
                </c:pt>
                <c:pt idx="210">
                  <c:v>20</c:v>
                </c:pt>
                <c:pt idx="211">
                  <c:v>16</c:v>
                </c:pt>
                <c:pt idx="212">
                  <c:v>12</c:v>
                </c:pt>
                <c:pt idx="213">
                  <c:v>8</c:v>
                </c:pt>
                <c:pt idx="214">
                  <c:v>8</c:v>
                </c:pt>
                <c:pt idx="215">
                  <c:v>18</c:v>
                </c:pt>
                <c:pt idx="216">
                  <c:v>14</c:v>
                </c:pt>
                <c:pt idx="217">
                  <c:v>18</c:v>
                </c:pt>
                <c:pt idx="218">
                  <c:v>25</c:v>
                </c:pt>
                <c:pt idx="219">
                  <c:v>10</c:v>
                </c:pt>
                <c:pt idx="220">
                  <c:v>26</c:v>
                </c:pt>
                <c:pt idx="221">
                  <c:v>18</c:v>
                </c:pt>
                <c:pt idx="222">
                  <c:v>21</c:v>
                </c:pt>
                <c:pt idx="223">
                  <c:v>1</c:v>
                </c:pt>
                <c:pt idx="224">
                  <c:v>4</c:v>
                </c:pt>
                <c:pt idx="225">
                  <c:v>7</c:v>
                </c:pt>
                <c:pt idx="226">
                  <c:v>6</c:v>
                </c:pt>
                <c:pt idx="227">
                  <c:v>9</c:v>
                </c:pt>
                <c:pt idx="228">
                  <c:v>8</c:v>
                </c:pt>
                <c:pt idx="229">
                  <c:v>3</c:v>
                </c:pt>
                <c:pt idx="230">
                  <c:v>8</c:v>
                </c:pt>
                <c:pt idx="231">
                  <c:v>7</c:v>
                </c:pt>
                <c:pt idx="232">
                  <c:v>5</c:v>
                </c:pt>
                <c:pt idx="233">
                  <c:v>4</c:v>
                </c:pt>
                <c:pt idx="234">
                  <c:v>10</c:v>
                </c:pt>
                <c:pt idx="235">
                  <c:v>5</c:v>
                </c:pt>
                <c:pt idx="236">
                  <c:v>2</c:v>
                </c:pt>
                <c:pt idx="237">
                  <c:v>3</c:v>
                </c:pt>
                <c:pt idx="238">
                  <c:v>9</c:v>
                </c:pt>
                <c:pt idx="239">
                  <c:v>3</c:v>
                </c:pt>
                <c:pt idx="240">
                  <c:v>10</c:v>
                </c:pt>
                <c:pt idx="241">
                  <c:v>2</c:v>
                </c:pt>
                <c:pt idx="242">
                  <c:v>3</c:v>
                </c:pt>
                <c:pt idx="243">
                  <c:v>4</c:v>
                </c:pt>
                <c:pt idx="244">
                  <c:v>6</c:v>
                </c:pt>
                <c:pt idx="245">
                  <c:v>2</c:v>
                </c:pt>
                <c:pt idx="246">
                  <c:v>6</c:v>
                </c:pt>
                <c:pt idx="247">
                  <c:v>4</c:v>
                </c:pt>
                <c:pt idx="248">
                  <c:v>1</c:v>
                </c:pt>
                <c:pt idx="249">
                  <c:v>5</c:v>
                </c:pt>
                <c:pt idx="250">
                  <c:v>5</c:v>
                </c:pt>
                <c:pt idx="251">
                  <c:v>3</c:v>
                </c:pt>
                <c:pt idx="252">
                  <c:v>2</c:v>
                </c:pt>
                <c:pt idx="253">
                  <c:v>5</c:v>
                </c:pt>
                <c:pt idx="254">
                  <c:v>6</c:v>
                </c:pt>
                <c:pt idx="255">
                  <c:v>1</c:v>
                </c:pt>
                <c:pt idx="256">
                  <c:v>3</c:v>
                </c:pt>
                <c:pt idx="257">
                  <c:v>2</c:v>
                </c:pt>
                <c:pt idx="258">
                  <c:v>5</c:v>
                </c:pt>
                <c:pt idx="259">
                  <c:v>3</c:v>
                </c:pt>
                <c:pt idx="260">
                  <c:v>5</c:v>
                </c:pt>
                <c:pt idx="261">
                  <c:v>1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1</c:v>
                </c:pt>
                <c:pt idx="269">
                  <c:v>1</c:v>
                </c:pt>
                <c:pt idx="270">
                  <c:v>2</c:v>
                </c:pt>
                <c:pt idx="271">
                  <c:v>1</c:v>
                </c:pt>
                <c:pt idx="272">
                  <c:v>2</c:v>
                </c:pt>
                <c:pt idx="273">
                  <c:v>1</c:v>
                </c:pt>
                <c:pt idx="274">
                  <c:v>3</c:v>
                </c:pt>
                <c:pt idx="275">
                  <c:v>1</c:v>
                </c:pt>
                <c:pt idx="276">
                  <c:v>3</c:v>
                </c:pt>
                <c:pt idx="277">
                  <c:v>1</c:v>
                </c:pt>
                <c:pt idx="278">
                  <c:v>2</c:v>
                </c:pt>
                <c:pt idx="279">
                  <c:v>2</c:v>
                </c:pt>
                <c:pt idx="280">
                  <c:v>1</c:v>
                </c:pt>
                <c:pt idx="281">
                  <c:v>0</c:v>
                </c:pt>
                <c:pt idx="282">
                  <c:v>1</c:v>
                </c:pt>
                <c:pt idx="283">
                  <c:v>91</c:v>
                </c:pt>
                <c:pt idx="284">
                  <c:v>75</c:v>
                </c:pt>
                <c:pt idx="285">
                  <c:v>133</c:v>
                </c:pt>
                <c:pt idx="286">
                  <c:v>115</c:v>
                </c:pt>
                <c:pt idx="287">
                  <c:v>16</c:v>
                </c:pt>
                <c:pt idx="288">
                  <c:v>5</c:v>
                </c:pt>
                <c:pt idx="289">
                  <c:v>194</c:v>
                </c:pt>
                <c:pt idx="290">
                  <c:v>89</c:v>
                </c:pt>
                <c:pt idx="291">
                  <c:v>94</c:v>
                </c:pt>
                <c:pt idx="292">
                  <c:v>49</c:v>
                </c:pt>
                <c:pt idx="293">
                  <c:v>159</c:v>
                </c:pt>
                <c:pt idx="294">
                  <c:v>130</c:v>
                </c:pt>
                <c:pt idx="295">
                  <c:v>113</c:v>
                </c:pt>
                <c:pt idx="296">
                  <c:v>141</c:v>
                </c:pt>
                <c:pt idx="297">
                  <c:v>114</c:v>
                </c:pt>
                <c:pt idx="298">
                  <c:v>90</c:v>
                </c:pt>
                <c:pt idx="299">
                  <c:v>144</c:v>
                </c:pt>
                <c:pt idx="300">
                  <c:v>134</c:v>
                </c:pt>
                <c:pt idx="301">
                  <c:v>5</c:v>
                </c:pt>
                <c:pt idx="302">
                  <c:v>25</c:v>
                </c:pt>
                <c:pt idx="303">
                  <c:v>27</c:v>
                </c:pt>
                <c:pt idx="304">
                  <c:v>20</c:v>
                </c:pt>
                <c:pt idx="305">
                  <c:v>19</c:v>
                </c:pt>
                <c:pt idx="306">
                  <c:v>46</c:v>
                </c:pt>
                <c:pt idx="307">
                  <c:v>27</c:v>
                </c:pt>
                <c:pt idx="308">
                  <c:v>146</c:v>
                </c:pt>
                <c:pt idx="309">
                  <c:v>26</c:v>
                </c:pt>
                <c:pt idx="310">
                  <c:v>22</c:v>
                </c:pt>
                <c:pt idx="311">
                  <c:v>20</c:v>
                </c:pt>
                <c:pt idx="312">
                  <c:v>32</c:v>
                </c:pt>
                <c:pt idx="313">
                  <c:v>13</c:v>
                </c:pt>
                <c:pt idx="314">
                  <c:v>14</c:v>
                </c:pt>
                <c:pt idx="315">
                  <c:v>49</c:v>
                </c:pt>
                <c:pt idx="316">
                  <c:v>46</c:v>
                </c:pt>
                <c:pt idx="317">
                  <c:v>27</c:v>
                </c:pt>
                <c:pt idx="318">
                  <c:v>18</c:v>
                </c:pt>
                <c:pt idx="319">
                  <c:v>32</c:v>
                </c:pt>
                <c:pt idx="320">
                  <c:v>15</c:v>
                </c:pt>
                <c:pt idx="321">
                  <c:v>14</c:v>
                </c:pt>
                <c:pt idx="322">
                  <c:v>9</c:v>
                </c:pt>
                <c:pt idx="323">
                  <c:v>14</c:v>
                </c:pt>
                <c:pt idx="324">
                  <c:v>9</c:v>
                </c:pt>
                <c:pt idx="325">
                  <c:v>18</c:v>
                </c:pt>
                <c:pt idx="326">
                  <c:v>10</c:v>
                </c:pt>
                <c:pt idx="327">
                  <c:v>8</c:v>
                </c:pt>
                <c:pt idx="328">
                  <c:v>9</c:v>
                </c:pt>
                <c:pt idx="329">
                  <c:v>5</c:v>
                </c:pt>
                <c:pt idx="330">
                  <c:v>24</c:v>
                </c:pt>
                <c:pt idx="331">
                  <c:v>23</c:v>
                </c:pt>
                <c:pt idx="332">
                  <c:v>18</c:v>
                </c:pt>
                <c:pt idx="333">
                  <c:v>15</c:v>
                </c:pt>
                <c:pt idx="334">
                  <c:v>22</c:v>
                </c:pt>
                <c:pt idx="335">
                  <c:v>15</c:v>
                </c:pt>
                <c:pt idx="336">
                  <c:v>10</c:v>
                </c:pt>
                <c:pt idx="337">
                  <c:v>21</c:v>
                </c:pt>
                <c:pt idx="338">
                  <c:v>9</c:v>
                </c:pt>
                <c:pt idx="339">
                  <c:v>10</c:v>
                </c:pt>
                <c:pt idx="340">
                  <c:v>10</c:v>
                </c:pt>
                <c:pt idx="341">
                  <c:v>12</c:v>
                </c:pt>
                <c:pt idx="342">
                  <c:v>8</c:v>
                </c:pt>
                <c:pt idx="343">
                  <c:v>5</c:v>
                </c:pt>
                <c:pt idx="344">
                  <c:v>6</c:v>
                </c:pt>
                <c:pt idx="345">
                  <c:v>8</c:v>
                </c:pt>
                <c:pt idx="346">
                  <c:v>5</c:v>
                </c:pt>
                <c:pt idx="347">
                  <c:v>133</c:v>
                </c:pt>
                <c:pt idx="348">
                  <c:v>47</c:v>
                </c:pt>
                <c:pt idx="349">
                  <c:v>47</c:v>
                </c:pt>
                <c:pt idx="350">
                  <c:v>42</c:v>
                </c:pt>
                <c:pt idx="351">
                  <c:v>35</c:v>
                </c:pt>
                <c:pt idx="352">
                  <c:v>37</c:v>
                </c:pt>
                <c:pt idx="353">
                  <c:v>16</c:v>
                </c:pt>
                <c:pt idx="354">
                  <c:v>22</c:v>
                </c:pt>
                <c:pt idx="355">
                  <c:v>26</c:v>
                </c:pt>
                <c:pt idx="356">
                  <c:v>28</c:v>
                </c:pt>
                <c:pt idx="357">
                  <c:v>23</c:v>
                </c:pt>
                <c:pt idx="358">
                  <c:v>18</c:v>
                </c:pt>
                <c:pt idx="359">
                  <c:v>16</c:v>
                </c:pt>
                <c:pt idx="360">
                  <c:v>10</c:v>
                </c:pt>
                <c:pt idx="361">
                  <c:v>21</c:v>
                </c:pt>
                <c:pt idx="362">
                  <c:v>6</c:v>
                </c:pt>
                <c:pt idx="363">
                  <c:v>21</c:v>
                </c:pt>
                <c:pt idx="364">
                  <c:v>13</c:v>
                </c:pt>
                <c:pt idx="365">
                  <c:v>11</c:v>
                </c:pt>
                <c:pt idx="366">
                  <c:v>5</c:v>
                </c:pt>
                <c:pt idx="367">
                  <c:v>10</c:v>
                </c:pt>
                <c:pt idx="368">
                  <c:v>6</c:v>
                </c:pt>
                <c:pt idx="369">
                  <c:v>5</c:v>
                </c:pt>
                <c:pt idx="370">
                  <c:v>9</c:v>
                </c:pt>
                <c:pt idx="371">
                  <c:v>16</c:v>
                </c:pt>
                <c:pt idx="372">
                  <c:v>11</c:v>
                </c:pt>
                <c:pt idx="373">
                  <c:v>6</c:v>
                </c:pt>
                <c:pt idx="374">
                  <c:v>10</c:v>
                </c:pt>
                <c:pt idx="375">
                  <c:v>4</c:v>
                </c:pt>
                <c:pt idx="376">
                  <c:v>6</c:v>
                </c:pt>
                <c:pt idx="377">
                  <c:v>8</c:v>
                </c:pt>
                <c:pt idx="378">
                  <c:v>13</c:v>
                </c:pt>
                <c:pt idx="379">
                  <c:v>6</c:v>
                </c:pt>
                <c:pt idx="380">
                  <c:v>4</c:v>
                </c:pt>
                <c:pt idx="381">
                  <c:v>6</c:v>
                </c:pt>
                <c:pt idx="382">
                  <c:v>4</c:v>
                </c:pt>
                <c:pt idx="383">
                  <c:v>6</c:v>
                </c:pt>
                <c:pt idx="384">
                  <c:v>4</c:v>
                </c:pt>
                <c:pt idx="385">
                  <c:v>5</c:v>
                </c:pt>
                <c:pt idx="386">
                  <c:v>5</c:v>
                </c:pt>
                <c:pt idx="387">
                  <c:v>7</c:v>
                </c:pt>
                <c:pt idx="388">
                  <c:v>6</c:v>
                </c:pt>
                <c:pt idx="389">
                  <c:v>5</c:v>
                </c:pt>
                <c:pt idx="390">
                  <c:v>4</c:v>
                </c:pt>
                <c:pt idx="391">
                  <c:v>4</c:v>
                </c:pt>
                <c:pt idx="392">
                  <c:v>5</c:v>
                </c:pt>
                <c:pt idx="393">
                  <c:v>145</c:v>
                </c:pt>
                <c:pt idx="394">
                  <c:v>66</c:v>
                </c:pt>
                <c:pt idx="395">
                  <c:v>192</c:v>
                </c:pt>
                <c:pt idx="396">
                  <c:v>151</c:v>
                </c:pt>
                <c:pt idx="397">
                  <c:v>155</c:v>
                </c:pt>
                <c:pt idx="398">
                  <c:v>177</c:v>
                </c:pt>
                <c:pt idx="399">
                  <c:v>91</c:v>
                </c:pt>
                <c:pt idx="400">
                  <c:v>164</c:v>
                </c:pt>
                <c:pt idx="401">
                  <c:v>125</c:v>
                </c:pt>
                <c:pt idx="402">
                  <c:v>109</c:v>
                </c:pt>
                <c:pt idx="403">
                  <c:v>176</c:v>
                </c:pt>
                <c:pt idx="404">
                  <c:v>90</c:v>
                </c:pt>
                <c:pt idx="405">
                  <c:v>137</c:v>
                </c:pt>
                <c:pt idx="406">
                  <c:v>126</c:v>
                </c:pt>
                <c:pt idx="407">
                  <c:v>116</c:v>
                </c:pt>
                <c:pt idx="408">
                  <c:v>76</c:v>
                </c:pt>
                <c:pt idx="409">
                  <c:v>135</c:v>
                </c:pt>
                <c:pt idx="410">
                  <c:v>164</c:v>
                </c:pt>
                <c:pt idx="411">
                  <c:v>85</c:v>
                </c:pt>
                <c:pt idx="412">
                  <c:v>147</c:v>
                </c:pt>
                <c:pt idx="413">
                  <c:v>108</c:v>
                </c:pt>
                <c:pt idx="414">
                  <c:v>112</c:v>
                </c:pt>
                <c:pt idx="415">
                  <c:v>144</c:v>
                </c:pt>
                <c:pt idx="416">
                  <c:v>112</c:v>
                </c:pt>
                <c:pt idx="417">
                  <c:v>136</c:v>
                </c:pt>
                <c:pt idx="418">
                  <c:v>135</c:v>
                </c:pt>
                <c:pt idx="419">
                  <c:v>96</c:v>
                </c:pt>
                <c:pt idx="420">
                  <c:v>127</c:v>
                </c:pt>
                <c:pt idx="421">
                  <c:v>98</c:v>
                </c:pt>
                <c:pt idx="422">
                  <c:v>100</c:v>
                </c:pt>
                <c:pt idx="423">
                  <c:v>102</c:v>
                </c:pt>
                <c:pt idx="424">
                  <c:v>114</c:v>
                </c:pt>
                <c:pt idx="425">
                  <c:v>85</c:v>
                </c:pt>
                <c:pt idx="426">
                  <c:v>72</c:v>
                </c:pt>
                <c:pt idx="427">
                  <c:v>34</c:v>
                </c:pt>
                <c:pt idx="428">
                  <c:v>108</c:v>
                </c:pt>
                <c:pt idx="429">
                  <c:v>73</c:v>
                </c:pt>
                <c:pt idx="430">
                  <c:v>58</c:v>
                </c:pt>
                <c:pt idx="431">
                  <c:v>41</c:v>
                </c:pt>
                <c:pt idx="432">
                  <c:v>56</c:v>
                </c:pt>
                <c:pt idx="433">
                  <c:v>67</c:v>
                </c:pt>
                <c:pt idx="434">
                  <c:v>83</c:v>
                </c:pt>
                <c:pt idx="435">
                  <c:v>83</c:v>
                </c:pt>
                <c:pt idx="436">
                  <c:v>77</c:v>
                </c:pt>
                <c:pt idx="437">
                  <c:v>71</c:v>
                </c:pt>
                <c:pt idx="438">
                  <c:v>32</c:v>
                </c:pt>
                <c:pt idx="439">
                  <c:v>67</c:v>
                </c:pt>
                <c:pt idx="440">
                  <c:v>57</c:v>
                </c:pt>
                <c:pt idx="441">
                  <c:v>22</c:v>
                </c:pt>
                <c:pt idx="442">
                  <c:v>49</c:v>
                </c:pt>
                <c:pt idx="443">
                  <c:v>49</c:v>
                </c:pt>
                <c:pt idx="444">
                  <c:v>45</c:v>
                </c:pt>
                <c:pt idx="445">
                  <c:v>83</c:v>
                </c:pt>
                <c:pt idx="446">
                  <c:v>26</c:v>
                </c:pt>
                <c:pt idx="447">
                  <c:v>56</c:v>
                </c:pt>
                <c:pt idx="448">
                  <c:v>56</c:v>
                </c:pt>
                <c:pt idx="449">
                  <c:v>45</c:v>
                </c:pt>
                <c:pt idx="450">
                  <c:v>60</c:v>
                </c:pt>
                <c:pt idx="451">
                  <c:v>54</c:v>
                </c:pt>
                <c:pt idx="452">
                  <c:v>39</c:v>
                </c:pt>
                <c:pt idx="453">
                  <c:v>44</c:v>
                </c:pt>
                <c:pt idx="454">
                  <c:v>62</c:v>
                </c:pt>
                <c:pt idx="455">
                  <c:v>51</c:v>
                </c:pt>
                <c:pt idx="456">
                  <c:v>36</c:v>
                </c:pt>
                <c:pt idx="457">
                  <c:v>34</c:v>
                </c:pt>
                <c:pt idx="458">
                  <c:v>52</c:v>
                </c:pt>
                <c:pt idx="459">
                  <c:v>8</c:v>
                </c:pt>
                <c:pt idx="460">
                  <c:v>8</c:v>
                </c:pt>
                <c:pt idx="461">
                  <c:v>3</c:v>
                </c:pt>
                <c:pt idx="462">
                  <c:v>168</c:v>
                </c:pt>
                <c:pt idx="463">
                  <c:v>105</c:v>
                </c:pt>
                <c:pt idx="464">
                  <c:v>113</c:v>
                </c:pt>
                <c:pt idx="465">
                  <c:v>149</c:v>
                </c:pt>
                <c:pt idx="466">
                  <c:v>153</c:v>
                </c:pt>
                <c:pt idx="467">
                  <c:v>102</c:v>
                </c:pt>
                <c:pt idx="468">
                  <c:v>123</c:v>
                </c:pt>
                <c:pt idx="469">
                  <c:v>125</c:v>
                </c:pt>
                <c:pt idx="470">
                  <c:v>64</c:v>
                </c:pt>
                <c:pt idx="471">
                  <c:v>117</c:v>
                </c:pt>
                <c:pt idx="472">
                  <c:v>154</c:v>
                </c:pt>
                <c:pt idx="473">
                  <c:v>123</c:v>
                </c:pt>
                <c:pt idx="474">
                  <c:v>100</c:v>
                </c:pt>
                <c:pt idx="475">
                  <c:v>123</c:v>
                </c:pt>
                <c:pt idx="476">
                  <c:v>79</c:v>
                </c:pt>
                <c:pt idx="477">
                  <c:v>62</c:v>
                </c:pt>
                <c:pt idx="478">
                  <c:v>123</c:v>
                </c:pt>
                <c:pt idx="479">
                  <c:v>117</c:v>
                </c:pt>
                <c:pt idx="480">
                  <c:v>112</c:v>
                </c:pt>
                <c:pt idx="481">
                  <c:v>82</c:v>
                </c:pt>
                <c:pt idx="482">
                  <c:v>77</c:v>
                </c:pt>
                <c:pt idx="483">
                  <c:v>60</c:v>
                </c:pt>
                <c:pt idx="484">
                  <c:v>104</c:v>
                </c:pt>
                <c:pt idx="485">
                  <c:v>84</c:v>
                </c:pt>
                <c:pt idx="486">
                  <c:v>67</c:v>
                </c:pt>
                <c:pt idx="487">
                  <c:v>91</c:v>
                </c:pt>
                <c:pt idx="488">
                  <c:v>85</c:v>
                </c:pt>
                <c:pt idx="489">
                  <c:v>82</c:v>
                </c:pt>
                <c:pt idx="490">
                  <c:v>58</c:v>
                </c:pt>
                <c:pt idx="491">
                  <c:v>68</c:v>
                </c:pt>
                <c:pt idx="492">
                  <c:v>52</c:v>
                </c:pt>
                <c:pt idx="493">
                  <c:v>4</c:v>
                </c:pt>
                <c:pt idx="494">
                  <c:v>8</c:v>
                </c:pt>
                <c:pt idx="495">
                  <c:v>9</c:v>
                </c:pt>
                <c:pt idx="496">
                  <c:v>7</c:v>
                </c:pt>
                <c:pt idx="497">
                  <c:v>3</c:v>
                </c:pt>
                <c:pt idx="498">
                  <c:v>3</c:v>
                </c:pt>
                <c:pt idx="499">
                  <c:v>2</c:v>
                </c:pt>
                <c:pt idx="500">
                  <c:v>2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175</c:v>
                </c:pt>
                <c:pt idx="505">
                  <c:v>109</c:v>
                </c:pt>
                <c:pt idx="506">
                  <c:v>88</c:v>
                </c:pt>
                <c:pt idx="507">
                  <c:v>61</c:v>
                </c:pt>
                <c:pt idx="508">
                  <c:v>61</c:v>
                </c:pt>
                <c:pt idx="509">
                  <c:v>43</c:v>
                </c:pt>
                <c:pt idx="510">
                  <c:v>81</c:v>
                </c:pt>
                <c:pt idx="511">
                  <c:v>65</c:v>
                </c:pt>
                <c:pt idx="512">
                  <c:v>71</c:v>
                </c:pt>
                <c:pt idx="513">
                  <c:v>52</c:v>
                </c:pt>
                <c:pt idx="514">
                  <c:v>27</c:v>
                </c:pt>
                <c:pt idx="515">
                  <c:v>22</c:v>
                </c:pt>
                <c:pt idx="516">
                  <c:v>29</c:v>
                </c:pt>
                <c:pt idx="517">
                  <c:v>35</c:v>
                </c:pt>
                <c:pt idx="518">
                  <c:v>10</c:v>
                </c:pt>
                <c:pt idx="519">
                  <c:v>30</c:v>
                </c:pt>
                <c:pt idx="520">
                  <c:v>18</c:v>
                </c:pt>
                <c:pt idx="521">
                  <c:v>19</c:v>
                </c:pt>
                <c:pt idx="522">
                  <c:v>16</c:v>
                </c:pt>
                <c:pt idx="523">
                  <c:v>7</c:v>
                </c:pt>
                <c:pt idx="524">
                  <c:v>22</c:v>
                </c:pt>
                <c:pt idx="525">
                  <c:v>10</c:v>
                </c:pt>
                <c:pt idx="526">
                  <c:v>4</c:v>
                </c:pt>
                <c:pt idx="527">
                  <c:v>3</c:v>
                </c:pt>
                <c:pt idx="528">
                  <c:v>5</c:v>
                </c:pt>
                <c:pt idx="529">
                  <c:v>1</c:v>
                </c:pt>
                <c:pt idx="530">
                  <c:v>0</c:v>
                </c:pt>
                <c:pt idx="531">
                  <c:v>68</c:v>
                </c:pt>
                <c:pt idx="532">
                  <c:v>57</c:v>
                </c:pt>
                <c:pt idx="533">
                  <c:v>45</c:v>
                </c:pt>
                <c:pt idx="534">
                  <c:v>57</c:v>
                </c:pt>
                <c:pt idx="535">
                  <c:v>45</c:v>
                </c:pt>
                <c:pt idx="536">
                  <c:v>66</c:v>
                </c:pt>
                <c:pt idx="537">
                  <c:v>35</c:v>
                </c:pt>
                <c:pt idx="538">
                  <c:v>41</c:v>
                </c:pt>
                <c:pt idx="539">
                  <c:v>16</c:v>
                </c:pt>
                <c:pt idx="540">
                  <c:v>11</c:v>
                </c:pt>
                <c:pt idx="541">
                  <c:v>33</c:v>
                </c:pt>
                <c:pt idx="542">
                  <c:v>20</c:v>
                </c:pt>
                <c:pt idx="543">
                  <c:v>17</c:v>
                </c:pt>
                <c:pt idx="544">
                  <c:v>14</c:v>
                </c:pt>
                <c:pt idx="545">
                  <c:v>6</c:v>
                </c:pt>
                <c:pt idx="546">
                  <c:v>15</c:v>
                </c:pt>
                <c:pt idx="547">
                  <c:v>6</c:v>
                </c:pt>
                <c:pt idx="548">
                  <c:v>4</c:v>
                </c:pt>
                <c:pt idx="549">
                  <c:v>4</c:v>
                </c:pt>
                <c:pt idx="550">
                  <c:v>5</c:v>
                </c:pt>
                <c:pt idx="551">
                  <c:v>7</c:v>
                </c:pt>
                <c:pt idx="552">
                  <c:v>2</c:v>
                </c:pt>
                <c:pt idx="553">
                  <c:v>3</c:v>
                </c:pt>
                <c:pt idx="554">
                  <c:v>6</c:v>
                </c:pt>
                <c:pt idx="555">
                  <c:v>2</c:v>
                </c:pt>
                <c:pt idx="556">
                  <c:v>3</c:v>
                </c:pt>
                <c:pt idx="557">
                  <c:v>2</c:v>
                </c:pt>
                <c:pt idx="558">
                  <c:v>1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101</c:v>
                </c:pt>
                <c:pt idx="564">
                  <c:v>47</c:v>
                </c:pt>
                <c:pt idx="565">
                  <c:v>93</c:v>
                </c:pt>
                <c:pt idx="566">
                  <c:v>63</c:v>
                </c:pt>
                <c:pt idx="567">
                  <c:v>60</c:v>
                </c:pt>
                <c:pt idx="568">
                  <c:v>65</c:v>
                </c:pt>
                <c:pt idx="569">
                  <c:v>40</c:v>
                </c:pt>
                <c:pt idx="570">
                  <c:v>77</c:v>
                </c:pt>
                <c:pt idx="571">
                  <c:v>54</c:v>
                </c:pt>
                <c:pt idx="572">
                  <c:v>51</c:v>
                </c:pt>
                <c:pt idx="573">
                  <c:v>40</c:v>
                </c:pt>
                <c:pt idx="574">
                  <c:v>0</c:v>
                </c:pt>
                <c:pt idx="575">
                  <c:v>33</c:v>
                </c:pt>
                <c:pt idx="576">
                  <c:v>21</c:v>
                </c:pt>
                <c:pt idx="577">
                  <c:v>31</c:v>
                </c:pt>
                <c:pt idx="578">
                  <c:v>31</c:v>
                </c:pt>
                <c:pt idx="579">
                  <c:v>31</c:v>
                </c:pt>
                <c:pt idx="580">
                  <c:v>27</c:v>
                </c:pt>
                <c:pt idx="581">
                  <c:v>18</c:v>
                </c:pt>
                <c:pt idx="582">
                  <c:v>20</c:v>
                </c:pt>
                <c:pt idx="583">
                  <c:v>13</c:v>
                </c:pt>
                <c:pt idx="584">
                  <c:v>12</c:v>
                </c:pt>
                <c:pt idx="585">
                  <c:v>19</c:v>
                </c:pt>
                <c:pt idx="586">
                  <c:v>16</c:v>
                </c:pt>
                <c:pt idx="587">
                  <c:v>8</c:v>
                </c:pt>
                <c:pt idx="588">
                  <c:v>18</c:v>
                </c:pt>
                <c:pt idx="589">
                  <c:v>15</c:v>
                </c:pt>
                <c:pt idx="590">
                  <c:v>13</c:v>
                </c:pt>
                <c:pt idx="591">
                  <c:v>3</c:v>
                </c:pt>
                <c:pt idx="592">
                  <c:v>7</c:v>
                </c:pt>
                <c:pt idx="593">
                  <c:v>7</c:v>
                </c:pt>
                <c:pt idx="594">
                  <c:v>8</c:v>
                </c:pt>
                <c:pt idx="595">
                  <c:v>3</c:v>
                </c:pt>
                <c:pt idx="596">
                  <c:v>7</c:v>
                </c:pt>
                <c:pt idx="597">
                  <c:v>8</c:v>
                </c:pt>
                <c:pt idx="598">
                  <c:v>2</c:v>
                </c:pt>
                <c:pt idx="599">
                  <c:v>0</c:v>
                </c:pt>
                <c:pt idx="600">
                  <c:v>3</c:v>
                </c:pt>
                <c:pt idx="601">
                  <c:v>1</c:v>
                </c:pt>
                <c:pt idx="602">
                  <c:v>4</c:v>
                </c:pt>
                <c:pt idx="603">
                  <c:v>1</c:v>
                </c:pt>
                <c:pt idx="604">
                  <c:v>2</c:v>
                </c:pt>
                <c:pt idx="605">
                  <c:v>1</c:v>
                </c:pt>
                <c:pt idx="606">
                  <c:v>2</c:v>
                </c:pt>
                <c:pt idx="607">
                  <c:v>1</c:v>
                </c:pt>
                <c:pt idx="608">
                  <c:v>0</c:v>
                </c:pt>
                <c:pt idx="609">
                  <c:v>0</c:v>
                </c:pt>
                <c:pt idx="610">
                  <c:v>3</c:v>
                </c:pt>
                <c:pt idx="611">
                  <c:v>1</c:v>
                </c:pt>
                <c:pt idx="612">
                  <c:v>1</c:v>
                </c:pt>
                <c:pt idx="613">
                  <c:v>2</c:v>
                </c:pt>
                <c:pt idx="614">
                  <c:v>3</c:v>
                </c:pt>
                <c:pt idx="615">
                  <c:v>2</c:v>
                </c:pt>
                <c:pt idx="616">
                  <c:v>3</c:v>
                </c:pt>
                <c:pt idx="617">
                  <c:v>2</c:v>
                </c:pt>
                <c:pt idx="618">
                  <c:v>2</c:v>
                </c:pt>
                <c:pt idx="619">
                  <c:v>2</c:v>
                </c:pt>
                <c:pt idx="620">
                  <c:v>0</c:v>
                </c:pt>
                <c:pt idx="621">
                  <c:v>0</c:v>
                </c:pt>
                <c:pt idx="622">
                  <c:v>1</c:v>
                </c:pt>
                <c:pt idx="623">
                  <c:v>1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160</c:v>
                </c:pt>
                <c:pt idx="633">
                  <c:v>141</c:v>
                </c:pt>
                <c:pt idx="634">
                  <c:v>110</c:v>
                </c:pt>
                <c:pt idx="635">
                  <c:v>88</c:v>
                </c:pt>
                <c:pt idx="636">
                  <c:v>84</c:v>
                </c:pt>
                <c:pt idx="637">
                  <c:v>56</c:v>
                </c:pt>
                <c:pt idx="638">
                  <c:v>57</c:v>
                </c:pt>
                <c:pt idx="639">
                  <c:v>55</c:v>
                </c:pt>
                <c:pt idx="640">
                  <c:v>42</c:v>
                </c:pt>
                <c:pt idx="641">
                  <c:v>29</c:v>
                </c:pt>
                <c:pt idx="642">
                  <c:v>40</c:v>
                </c:pt>
                <c:pt idx="643">
                  <c:v>37</c:v>
                </c:pt>
                <c:pt idx="644">
                  <c:v>16</c:v>
                </c:pt>
                <c:pt idx="645">
                  <c:v>9</c:v>
                </c:pt>
                <c:pt idx="646">
                  <c:v>23</c:v>
                </c:pt>
                <c:pt idx="647">
                  <c:v>18</c:v>
                </c:pt>
                <c:pt idx="648">
                  <c:v>7</c:v>
                </c:pt>
                <c:pt idx="649">
                  <c:v>12</c:v>
                </c:pt>
                <c:pt idx="650">
                  <c:v>8</c:v>
                </c:pt>
                <c:pt idx="651">
                  <c:v>5</c:v>
                </c:pt>
                <c:pt idx="652">
                  <c:v>1</c:v>
                </c:pt>
                <c:pt idx="653">
                  <c:v>6</c:v>
                </c:pt>
                <c:pt idx="654">
                  <c:v>3</c:v>
                </c:pt>
                <c:pt idx="655">
                  <c:v>6</c:v>
                </c:pt>
                <c:pt idx="656">
                  <c:v>5</c:v>
                </c:pt>
                <c:pt idx="657">
                  <c:v>1</c:v>
                </c:pt>
                <c:pt idx="658">
                  <c:v>2</c:v>
                </c:pt>
                <c:pt idx="659">
                  <c:v>0</c:v>
                </c:pt>
                <c:pt idx="660">
                  <c:v>0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40</c:v>
                </c:pt>
                <c:pt idx="668">
                  <c:v>46</c:v>
                </c:pt>
                <c:pt idx="669">
                  <c:v>40</c:v>
                </c:pt>
                <c:pt idx="670">
                  <c:v>47</c:v>
                </c:pt>
                <c:pt idx="671">
                  <c:v>57</c:v>
                </c:pt>
                <c:pt idx="672">
                  <c:v>35</c:v>
                </c:pt>
                <c:pt idx="673">
                  <c:v>26</c:v>
                </c:pt>
                <c:pt idx="674">
                  <c:v>38</c:v>
                </c:pt>
                <c:pt idx="675">
                  <c:v>43</c:v>
                </c:pt>
                <c:pt idx="676">
                  <c:v>47</c:v>
                </c:pt>
                <c:pt idx="677">
                  <c:v>24</c:v>
                </c:pt>
                <c:pt idx="678">
                  <c:v>22</c:v>
                </c:pt>
                <c:pt idx="679">
                  <c:v>22</c:v>
                </c:pt>
                <c:pt idx="680">
                  <c:v>16</c:v>
                </c:pt>
                <c:pt idx="681">
                  <c:v>15</c:v>
                </c:pt>
                <c:pt idx="682">
                  <c:v>30</c:v>
                </c:pt>
                <c:pt idx="683">
                  <c:v>23</c:v>
                </c:pt>
                <c:pt idx="684">
                  <c:v>15</c:v>
                </c:pt>
                <c:pt idx="685">
                  <c:v>17</c:v>
                </c:pt>
                <c:pt idx="686">
                  <c:v>14</c:v>
                </c:pt>
                <c:pt idx="687">
                  <c:v>19</c:v>
                </c:pt>
                <c:pt idx="688">
                  <c:v>22</c:v>
                </c:pt>
                <c:pt idx="689">
                  <c:v>23</c:v>
                </c:pt>
                <c:pt idx="690">
                  <c:v>15</c:v>
                </c:pt>
                <c:pt idx="691">
                  <c:v>20</c:v>
                </c:pt>
                <c:pt idx="692">
                  <c:v>13</c:v>
                </c:pt>
                <c:pt idx="693">
                  <c:v>8</c:v>
                </c:pt>
                <c:pt idx="694">
                  <c:v>12</c:v>
                </c:pt>
                <c:pt idx="695">
                  <c:v>7</c:v>
                </c:pt>
                <c:pt idx="696">
                  <c:v>4</c:v>
                </c:pt>
                <c:pt idx="697">
                  <c:v>9</c:v>
                </c:pt>
                <c:pt idx="698">
                  <c:v>4</c:v>
                </c:pt>
                <c:pt idx="699">
                  <c:v>7</c:v>
                </c:pt>
                <c:pt idx="700">
                  <c:v>7</c:v>
                </c:pt>
                <c:pt idx="701">
                  <c:v>3</c:v>
                </c:pt>
                <c:pt idx="702">
                  <c:v>4</c:v>
                </c:pt>
                <c:pt idx="703">
                  <c:v>4</c:v>
                </c:pt>
                <c:pt idx="704">
                  <c:v>3</c:v>
                </c:pt>
                <c:pt idx="705">
                  <c:v>5</c:v>
                </c:pt>
                <c:pt idx="706">
                  <c:v>3</c:v>
                </c:pt>
                <c:pt idx="707">
                  <c:v>3</c:v>
                </c:pt>
                <c:pt idx="708">
                  <c:v>3</c:v>
                </c:pt>
                <c:pt idx="709">
                  <c:v>6</c:v>
                </c:pt>
                <c:pt idx="710">
                  <c:v>4</c:v>
                </c:pt>
                <c:pt idx="711">
                  <c:v>0</c:v>
                </c:pt>
                <c:pt idx="712">
                  <c:v>3</c:v>
                </c:pt>
                <c:pt idx="713">
                  <c:v>4</c:v>
                </c:pt>
                <c:pt idx="714">
                  <c:v>2</c:v>
                </c:pt>
                <c:pt idx="715">
                  <c:v>1</c:v>
                </c:pt>
                <c:pt idx="716">
                  <c:v>1</c:v>
                </c:pt>
                <c:pt idx="717">
                  <c:v>0</c:v>
                </c:pt>
                <c:pt idx="718">
                  <c:v>4</c:v>
                </c:pt>
                <c:pt idx="719">
                  <c:v>1</c:v>
                </c:pt>
                <c:pt idx="720">
                  <c:v>2</c:v>
                </c:pt>
                <c:pt idx="721">
                  <c:v>2</c:v>
                </c:pt>
                <c:pt idx="722">
                  <c:v>2</c:v>
                </c:pt>
                <c:pt idx="723">
                  <c:v>1</c:v>
                </c:pt>
                <c:pt idx="724">
                  <c:v>2</c:v>
                </c:pt>
                <c:pt idx="725">
                  <c:v>0</c:v>
                </c:pt>
                <c:pt idx="726">
                  <c:v>1</c:v>
                </c:pt>
                <c:pt idx="727">
                  <c:v>3</c:v>
                </c:pt>
                <c:pt idx="728">
                  <c:v>3</c:v>
                </c:pt>
                <c:pt idx="729">
                  <c:v>1</c:v>
                </c:pt>
                <c:pt idx="730">
                  <c:v>1</c:v>
                </c:pt>
                <c:pt idx="731">
                  <c:v>1</c:v>
                </c:pt>
                <c:pt idx="732">
                  <c:v>1</c:v>
                </c:pt>
                <c:pt idx="733">
                  <c:v>1</c:v>
                </c:pt>
                <c:pt idx="734">
                  <c:v>2</c:v>
                </c:pt>
                <c:pt idx="735">
                  <c:v>2</c:v>
                </c:pt>
                <c:pt idx="736">
                  <c:v>1</c:v>
                </c:pt>
                <c:pt idx="737">
                  <c:v>1</c:v>
                </c:pt>
                <c:pt idx="738">
                  <c:v>2</c:v>
                </c:pt>
                <c:pt idx="739">
                  <c:v>1</c:v>
                </c:pt>
                <c:pt idx="740">
                  <c:v>0</c:v>
                </c:pt>
                <c:pt idx="741">
                  <c:v>1</c:v>
                </c:pt>
                <c:pt idx="742">
                  <c:v>0</c:v>
                </c:pt>
                <c:pt idx="743">
                  <c:v>1</c:v>
                </c:pt>
                <c:pt idx="744">
                  <c:v>57</c:v>
                </c:pt>
                <c:pt idx="745">
                  <c:v>12</c:v>
                </c:pt>
                <c:pt idx="746">
                  <c:v>7</c:v>
                </c:pt>
                <c:pt idx="747">
                  <c:v>3</c:v>
                </c:pt>
                <c:pt idx="748">
                  <c:v>3</c:v>
                </c:pt>
                <c:pt idx="749">
                  <c:v>2</c:v>
                </c:pt>
                <c:pt idx="750">
                  <c:v>1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4</c:v>
                </c:pt>
                <c:pt idx="757">
                  <c:v>2</c:v>
                </c:pt>
                <c:pt idx="758">
                  <c:v>62</c:v>
                </c:pt>
                <c:pt idx="759">
                  <c:v>28</c:v>
                </c:pt>
                <c:pt idx="760">
                  <c:v>24</c:v>
                </c:pt>
                <c:pt idx="761">
                  <c:v>18</c:v>
                </c:pt>
                <c:pt idx="762">
                  <c:v>14</c:v>
                </c:pt>
                <c:pt idx="763">
                  <c:v>3</c:v>
                </c:pt>
                <c:pt idx="764">
                  <c:v>3</c:v>
                </c:pt>
                <c:pt idx="765">
                  <c:v>2</c:v>
                </c:pt>
                <c:pt idx="766">
                  <c:v>3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92</c:v>
                </c:pt>
                <c:pt idx="772">
                  <c:v>17</c:v>
                </c:pt>
                <c:pt idx="773">
                  <c:v>15</c:v>
                </c:pt>
                <c:pt idx="774">
                  <c:v>1</c:v>
                </c:pt>
                <c:pt idx="775">
                  <c:v>1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102</c:v>
                </c:pt>
                <c:pt idx="780">
                  <c:v>45</c:v>
                </c:pt>
                <c:pt idx="781">
                  <c:v>18</c:v>
                </c:pt>
                <c:pt idx="782">
                  <c:v>11</c:v>
                </c:pt>
                <c:pt idx="783">
                  <c:v>27</c:v>
                </c:pt>
                <c:pt idx="784">
                  <c:v>13</c:v>
                </c:pt>
                <c:pt idx="785">
                  <c:v>10</c:v>
                </c:pt>
                <c:pt idx="786">
                  <c:v>23</c:v>
                </c:pt>
                <c:pt idx="787">
                  <c:v>5</c:v>
                </c:pt>
                <c:pt idx="788">
                  <c:v>6</c:v>
                </c:pt>
                <c:pt idx="789">
                  <c:v>6</c:v>
                </c:pt>
                <c:pt idx="790">
                  <c:v>2</c:v>
                </c:pt>
                <c:pt idx="791">
                  <c:v>8</c:v>
                </c:pt>
                <c:pt idx="792">
                  <c:v>6</c:v>
                </c:pt>
                <c:pt idx="793">
                  <c:v>2</c:v>
                </c:pt>
                <c:pt idx="794">
                  <c:v>1</c:v>
                </c:pt>
                <c:pt idx="795">
                  <c:v>0</c:v>
                </c:pt>
                <c:pt idx="796">
                  <c:v>0</c:v>
                </c:pt>
                <c:pt idx="797">
                  <c:v>1</c:v>
                </c:pt>
                <c:pt idx="798">
                  <c:v>0</c:v>
                </c:pt>
                <c:pt idx="799">
                  <c:v>0</c:v>
                </c:pt>
                <c:pt idx="800">
                  <c:v>0</c:v>
                </c:pt>
                <c:pt idx="801">
                  <c:v>5</c:v>
                </c:pt>
                <c:pt idx="802">
                  <c:v>2</c:v>
                </c:pt>
                <c:pt idx="803">
                  <c:v>2</c:v>
                </c:pt>
                <c:pt idx="804">
                  <c:v>10</c:v>
                </c:pt>
                <c:pt idx="805">
                  <c:v>0</c:v>
                </c:pt>
                <c:pt idx="806">
                  <c:v>0</c:v>
                </c:pt>
                <c:pt idx="807">
                  <c:v>9</c:v>
                </c:pt>
                <c:pt idx="808">
                  <c:v>6</c:v>
                </c:pt>
                <c:pt idx="809">
                  <c:v>1</c:v>
                </c:pt>
                <c:pt idx="810">
                  <c:v>0</c:v>
                </c:pt>
                <c:pt idx="811">
                  <c:v>17</c:v>
                </c:pt>
                <c:pt idx="812">
                  <c:v>10</c:v>
                </c:pt>
                <c:pt idx="813">
                  <c:v>13</c:v>
                </c:pt>
                <c:pt idx="814">
                  <c:v>13</c:v>
                </c:pt>
                <c:pt idx="815">
                  <c:v>70</c:v>
                </c:pt>
                <c:pt idx="816">
                  <c:v>43</c:v>
                </c:pt>
                <c:pt idx="817">
                  <c:v>21</c:v>
                </c:pt>
                <c:pt idx="818">
                  <c:v>13</c:v>
                </c:pt>
                <c:pt idx="819">
                  <c:v>20</c:v>
                </c:pt>
                <c:pt idx="820">
                  <c:v>39</c:v>
                </c:pt>
                <c:pt idx="821">
                  <c:v>42</c:v>
                </c:pt>
                <c:pt idx="822">
                  <c:v>28</c:v>
                </c:pt>
                <c:pt idx="823">
                  <c:v>38</c:v>
                </c:pt>
                <c:pt idx="824">
                  <c:v>44</c:v>
                </c:pt>
                <c:pt idx="825">
                  <c:v>40</c:v>
                </c:pt>
                <c:pt idx="826">
                  <c:v>32</c:v>
                </c:pt>
                <c:pt idx="827">
                  <c:v>27</c:v>
                </c:pt>
                <c:pt idx="828">
                  <c:v>44</c:v>
                </c:pt>
                <c:pt idx="829">
                  <c:v>44</c:v>
                </c:pt>
                <c:pt idx="830">
                  <c:v>38</c:v>
                </c:pt>
                <c:pt idx="831">
                  <c:v>29</c:v>
                </c:pt>
                <c:pt idx="832">
                  <c:v>1</c:v>
                </c:pt>
                <c:pt idx="833">
                  <c:v>1434</c:v>
                </c:pt>
                <c:pt idx="834">
                  <c:v>1530</c:v>
                </c:pt>
                <c:pt idx="835">
                  <c:v>695</c:v>
                </c:pt>
                <c:pt idx="836">
                  <c:v>977</c:v>
                </c:pt>
                <c:pt idx="837">
                  <c:v>619</c:v>
                </c:pt>
                <c:pt idx="838">
                  <c:v>477</c:v>
                </c:pt>
                <c:pt idx="839">
                  <c:v>1273</c:v>
                </c:pt>
                <c:pt idx="840">
                  <c:v>1284</c:v>
                </c:pt>
                <c:pt idx="841">
                  <c:v>1549</c:v>
                </c:pt>
                <c:pt idx="842">
                  <c:v>1653</c:v>
                </c:pt>
                <c:pt idx="843">
                  <c:v>1266</c:v>
                </c:pt>
                <c:pt idx="844">
                  <c:v>1305</c:v>
                </c:pt>
                <c:pt idx="845">
                  <c:v>1065</c:v>
                </c:pt>
                <c:pt idx="846">
                  <c:v>3052</c:v>
                </c:pt>
                <c:pt idx="847">
                  <c:v>930</c:v>
                </c:pt>
                <c:pt idx="848">
                  <c:v>777</c:v>
                </c:pt>
                <c:pt idx="849">
                  <c:v>639</c:v>
                </c:pt>
                <c:pt idx="850">
                  <c:v>500</c:v>
                </c:pt>
                <c:pt idx="851">
                  <c:v>1499</c:v>
                </c:pt>
                <c:pt idx="852">
                  <c:v>417</c:v>
                </c:pt>
                <c:pt idx="853">
                  <c:v>1403</c:v>
                </c:pt>
                <c:pt idx="854">
                  <c:v>1533</c:v>
                </c:pt>
                <c:pt idx="855">
                  <c:v>577</c:v>
                </c:pt>
                <c:pt idx="856">
                  <c:v>117</c:v>
                </c:pt>
                <c:pt idx="857">
                  <c:v>897</c:v>
                </c:pt>
                <c:pt idx="858">
                  <c:v>823</c:v>
                </c:pt>
                <c:pt idx="859">
                  <c:v>1909</c:v>
                </c:pt>
                <c:pt idx="860">
                  <c:v>675</c:v>
                </c:pt>
                <c:pt idx="861">
                  <c:v>1753</c:v>
                </c:pt>
                <c:pt idx="862">
                  <c:v>979</c:v>
                </c:pt>
                <c:pt idx="863">
                  <c:v>866</c:v>
                </c:pt>
                <c:pt idx="864">
                  <c:v>905</c:v>
                </c:pt>
                <c:pt idx="865">
                  <c:v>1403</c:v>
                </c:pt>
                <c:pt idx="866">
                  <c:v>954</c:v>
                </c:pt>
                <c:pt idx="867">
                  <c:v>160</c:v>
                </c:pt>
                <c:pt idx="868">
                  <c:v>791</c:v>
                </c:pt>
                <c:pt idx="869">
                  <c:v>587</c:v>
                </c:pt>
                <c:pt idx="870">
                  <c:v>1246</c:v>
                </c:pt>
                <c:pt idx="871">
                  <c:v>1842</c:v>
                </c:pt>
                <c:pt idx="872">
                  <c:v>773</c:v>
                </c:pt>
                <c:pt idx="873">
                  <c:v>1313</c:v>
                </c:pt>
                <c:pt idx="874">
                  <c:v>2776</c:v>
                </c:pt>
                <c:pt idx="875">
                  <c:v>1756</c:v>
                </c:pt>
                <c:pt idx="876">
                  <c:v>328</c:v>
                </c:pt>
                <c:pt idx="877">
                  <c:v>886</c:v>
                </c:pt>
                <c:pt idx="878">
                  <c:v>389</c:v>
                </c:pt>
                <c:pt idx="879">
                  <c:v>888</c:v>
                </c:pt>
                <c:pt idx="880">
                  <c:v>1120</c:v>
                </c:pt>
                <c:pt idx="881">
                  <c:v>1275</c:v>
                </c:pt>
                <c:pt idx="882">
                  <c:v>707</c:v>
                </c:pt>
                <c:pt idx="883">
                  <c:v>1896</c:v>
                </c:pt>
                <c:pt idx="884">
                  <c:v>682</c:v>
                </c:pt>
                <c:pt idx="885">
                  <c:v>1184</c:v>
                </c:pt>
                <c:pt idx="886">
                  <c:v>517</c:v>
                </c:pt>
                <c:pt idx="887">
                  <c:v>1706</c:v>
                </c:pt>
                <c:pt idx="888">
                  <c:v>820</c:v>
                </c:pt>
                <c:pt idx="889">
                  <c:v>1156</c:v>
                </c:pt>
                <c:pt idx="890">
                  <c:v>248</c:v>
                </c:pt>
                <c:pt idx="891">
                  <c:v>1312</c:v>
                </c:pt>
                <c:pt idx="892">
                  <c:v>691</c:v>
                </c:pt>
                <c:pt idx="893">
                  <c:v>1256</c:v>
                </c:pt>
                <c:pt idx="894">
                  <c:v>876</c:v>
                </c:pt>
                <c:pt idx="895">
                  <c:v>1455</c:v>
                </c:pt>
                <c:pt idx="896">
                  <c:v>406</c:v>
                </c:pt>
                <c:pt idx="897">
                  <c:v>768</c:v>
                </c:pt>
                <c:pt idx="898">
                  <c:v>462</c:v>
                </c:pt>
                <c:pt idx="899">
                  <c:v>932</c:v>
                </c:pt>
                <c:pt idx="900">
                  <c:v>1949</c:v>
                </c:pt>
                <c:pt idx="901">
                  <c:v>408</c:v>
                </c:pt>
                <c:pt idx="902">
                  <c:v>642</c:v>
                </c:pt>
                <c:pt idx="903">
                  <c:v>1071</c:v>
                </c:pt>
                <c:pt idx="904">
                  <c:v>820</c:v>
                </c:pt>
                <c:pt idx="905">
                  <c:v>697</c:v>
                </c:pt>
                <c:pt idx="906">
                  <c:v>1137</c:v>
                </c:pt>
                <c:pt idx="907">
                  <c:v>871</c:v>
                </c:pt>
                <c:pt idx="908">
                  <c:v>184</c:v>
                </c:pt>
                <c:pt idx="909">
                  <c:v>623</c:v>
                </c:pt>
                <c:pt idx="910">
                  <c:v>813</c:v>
                </c:pt>
                <c:pt idx="911">
                  <c:v>1797</c:v>
                </c:pt>
                <c:pt idx="912">
                  <c:v>571</c:v>
                </c:pt>
                <c:pt idx="913">
                  <c:v>1073</c:v>
                </c:pt>
                <c:pt idx="914">
                  <c:v>540</c:v>
                </c:pt>
                <c:pt idx="915">
                  <c:v>246</c:v>
                </c:pt>
                <c:pt idx="916">
                  <c:v>338</c:v>
                </c:pt>
                <c:pt idx="917">
                  <c:v>1021</c:v>
                </c:pt>
                <c:pt idx="918">
                  <c:v>543</c:v>
                </c:pt>
                <c:pt idx="919">
                  <c:v>918</c:v>
                </c:pt>
                <c:pt idx="920">
                  <c:v>858</c:v>
                </c:pt>
                <c:pt idx="921">
                  <c:v>582</c:v>
                </c:pt>
                <c:pt idx="922">
                  <c:v>985</c:v>
                </c:pt>
                <c:pt idx="923">
                  <c:v>1153</c:v>
                </c:pt>
                <c:pt idx="924">
                  <c:v>1009</c:v>
                </c:pt>
                <c:pt idx="925">
                  <c:v>1045</c:v>
                </c:pt>
                <c:pt idx="926">
                  <c:v>655</c:v>
                </c:pt>
                <c:pt idx="927">
                  <c:v>607</c:v>
                </c:pt>
                <c:pt idx="928">
                  <c:v>358</c:v>
                </c:pt>
                <c:pt idx="929">
                  <c:v>237</c:v>
                </c:pt>
                <c:pt idx="930">
                  <c:v>284</c:v>
                </c:pt>
                <c:pt idx="931">
                  <c:v>88</c:v>
                </c:pt>
                <c:pt idx="932">
                  <c:v>395</c:v>
                </c:pt>
                <c:pt idx="933">
                  <c:v>625</c:v>
                </c:pt>
                <c:pt idx="934">
                  <c:v>538</c:v>
                </c:pt>
                <c:pt idx="935">
                  <c:v>228</c:v>
                </c:pt>
                <c:pt idx="936">
                  <c:v>336</c:v>
                </c:pt>
                <c:pt idx="937">
                  <c:v>337</c:v>
                </c:pt>
                <c:pt idx="938">
                  <c:v>135</c:v>
                </c:pt>
                <c:pt idx="939">
                  <c:v>99</c:v>
                </c:pt>
                <c:pt idx="940">
                  <c:v>127</c:v>
                </c:pt>
                <c:pt idx="941">
                  <c:v>1</c:v>
                </c:pt>
                <c:pt idx="942">
                  <c:v>16</c:v>
                </c:pt>
                <c:pt idx="943">
                  <c:v>500</c:v>
                </c:pt>
                <c:pt idx="944">
                  <c:v>326</c:v>
                </c:pt>
                <c:pt idx="945">
                  <c:v>508</c:v>
                </c:pt>
                <c:pt idx="946">
                  <c:v>141</c:v>
                </c:pt>
                <c:pt idx="947">
                  <c:v>393</c:v>
                </c:pt>
                <c:pt idx="948">
                  <c:v>640</c:v>
                </c:pt>
                <c:pt idx="949">
                  <c:v>1988</c:v>
                </c:pt>
                <c:pt idx="950">
                  <c:v>347</c:v>
                </c:pt>
                <c:pt idx="951">
                  <c:v>109</c:v>
                </c:pt>
                <c:pt idx="952">
                  <c:v>80</c:v>
                </c:pt>
                <c:pt idx="953">
                  <c:v>1124</c:v>
                </c:pt>
                <c:pt idx="954">
                  <c:v>697</c:v>
                </c:pt>
                <c:pt idx="955">
                  <c:v>275</c:v>
                </c:pt>
                <c:pt idx="956">
                  <c:v>394</c:v>
                </c:pt>
                <c:pt idx="957">
                  <c:v>384</c:v>
                </c:pt>
                <c:pt idx="958">
                  <c:v>307</c:v>
                </c:pt>
                <c:pt idx="959">
                  <c:v>255</c:v>
                </c:pt>
                <c:pt idx="960">
                  <c:v>202</c:v>
                </c:pt>
                <c:pt idx="961">
                  <c:v>251</c:v>
                </c:pt>
                <c:pt idx="962">
                  <c:v>75</c:v>
                </c:pt>
                <c:pt idx="963">
                  <c:v>158</c:v>
                </c:pt>
                <c:pt idx="964">
                  <c:v>65</c:v>
                </c:pt>
                <c:pt idx="965">
                  <c:v>175</c:v>
                </c:pt>
                <c:pt idx="966">
                  <c:v>114</c:v>
                </c:pt>
                <c:pt idx="967">
                  <c:v>136</c:v>
                </c:pt>
                <c:pt idx="968">
                  <c:v>74</c:v>
                </c:pt>
                <c:pt idx="969">
                  <c:v>64</c:v>
                </c:pt>
                <c:pt idx="970">
                  <c:v>32</c:v>
                </c:pt>
                <c:pt idx="971">
                  <c:v>1222</c:v>
                </c:pt>
                <c:pt idx="972">
                  <c:v>618</c:v>
                </c:pt>
                <c:pt idx="973">
                  <c:v>1758</c:v>
                </c:pt>
                <c:pt idx="974">
                  <c:v>299</c:v>
                </c:pt>
                <c:pt idx="975">
                  <c:v>90</c:v>
                </c:pt>
                <c:pt idx="976">
                  <c:v>682</c:v>
                </c:pt>
                <c:pt idx="977">
                  <c:v>924</c:v>
                </c:pt>
                <c:pt idx="978">
                  <c:v>961</c:v>
                </c:pt>
                <c:pt idx="979">
                  <c:v>172</c:v>
                </c:pt>
                <c:pt idx="980">
                  <c:v>200</c:v>
                </c:pt>
                <c:pt idx="981">
                  <c:v>108</c:v>
                </c:pt>
                <c:pt idx="982">
                  <c:v>145</c:v>
                </c:pt>
                <c:pt idx="983">
                  <c:v>46</c:v>
                </c:pt>
                <c:pt idx="984">
                  <c:v>20</c:v>
                </c:pt>
                <c:pt idx="985">
                  <c:v>1071</c:v>
                </c:pt>
                <c:pt idx="986">
                  <c:v>1134</c:v>
                </c:pt>
                <c:pt idx="987">
                  <c:v>917</c:v>
                </c:pt>
                <c:pt idx="988">
                  <c:v>746</c:v>
                </c:pt>
                <c:pt idx="989">
                  <c:v>784</c:v>
                </c:pt>
                <c:pt idx="990">
                  <c:v>932</c:v>
                </c:pt>
                <c:pt idx="991">
                  <c:v>175</c:v>
                </c:pt>
                <c:pt idx="992">
                  <c:v>470</c:v>
                </c:pt>
                <c:pt idx="993">
                  <c:v>325</c:v>
                </c:pt>
                <c:pt idx="994">
                  <c:v>317</c:v>
                </c:pt>
                <c:pt idx="995">
                  <c:v>175</c:v>
                </c:pt>
                <c:pt idx="996">
                  <c:v>202</c:v>
                </c:pt>
                <c:pt idx="997">
                  <c:v>146</c:v>
                </c:pt>
                <c:pt idx="998">
                  <c:v>94</c:v>
                </c:pt>
                <c:pt idx="999">
                  <c:v>57</c:v>
                </c:pt>
                <c:pt idx="1000">
                  <c:v>40</c:v>
                </c:pt>
                <c:pt idx="1001">
                  <c:v>13</c:v>
                </c:pt>
                <c:pt idx="1002">
                  <c:v>6</c:v>
                </c:pt>
                <c:pt idx="1003">
                  <c:v>5</c:v>
                </c:pt>
                <c:pt idx="1004">
                  <c:v>5</c:v>
                </c:pt>
                <c:pt idx="1005">
                  <c:v>640</c:v>
                </c:pt>
                <c:pt idx="1006">
                  <c:v>529</c:v>
                </c:pt>
                <c:pt idx="1007">
                  <c:v>787</c:v>
                </c:pt>
                <c:pt idx="1008">
                  <c:v>501</c:v>
                </c:pt>
                <c:pt idx="1009">
                  <c:v>375</c:v>
                </c:pt>
                <c:pt idx="1010">
                  <c:v>208</c:v>
                </c:pt>
                <c:pt idx="1011">
                  <c:v>158</c:v>
                </c:pt>
                <c:pt idx="1012">
                  <c:v>120</c:v>
                </c:pt>
                <c:pt idx="1013">
                  <c:v>60</c:v>
                </c:pt>
                <c:pt idx="1014">
                  <c:v>46</c:v>
                </c:pt>
                <c:pt idx="1015">
                  <c:v>33</c:v>
                </c:pt>
                <c:pt idx="1016">
                  <c:v>24</c:v>
                </c:pt>
                <c:pt idx="1017">
                  <c:v>14</c:v>
                </c:pt>
                <c:pt idx="1018">
                  <c:v>9</c:v>
                </c:pt>
                <c:pt idx="1019">
                  <c:v>1</c:v>
                </c:pt>
                <c:pt idx="1020">
                  <c:v>0</c:v>
                </c:pt>
                <c:pt idx="1021">
                  <c:v>1</c:v>
                </c:pt>
                <c:pt idx="1022">
                  <c:v>380</c:v>
                </c:pt>
                <c:pt idx="1023">
                  <c:v>325</c:v>
                </c:pt>
                <c:pt idx="1024">
                  <c:v>304</c:v>
                </c:pt>
                <c:pt idx="1025">
                  <c:v>299</c:v>
                </c:pt>
                <c:pt idx="1026">
                  <c:v>271</c:v>
                </c:pt>
                <c:pt idx="1027">
                  <c:v>194</c:v>
                </c:pt>
                <c:pt idx="1028">
                  <c:v>134</c:v>
                </c:pt>
                <c:pt idx="1029">
                  <c:v>128</c:v>
                </c:pt>
                <c:pt idx="1030">
                  <c:v>139</c:v>
                </c:pt>
                <c:pt idx="1031">
                  <c:v>131</c:v>
                </c:pt>
                <c:pt idx="1032">
                  <c:v>151</c:v>
                </c:pt>
                <c:pt idx="1033">
                  <c:v>115</c:v>
                </c:pt>
                <c:pt idx="1034">
                  <c:v>98</c:v>
                </c:pt>
                <c:pt idx="1035">
                  <c:v>118</c:v>
                </c:pt>
                <c:pt idx="1036">
                  <c:v>109</c:v>
                </c:pt>
                <c:pt idx="1037">
                  <c:v>111</c:v>
                </c:pt>
                <c:pt idx="1038">
                  <c:v>120</c:v>
                </c:pt>
                <c:pt idx="1039">
                  <c:v>95</c:v>
                </c:pt>
                <c:pt idx="1040">
                  <c:v>100</c:v>
                </c:pt>
                <c:pt idx="1041">
                  <c:v>102</c:v>
                </c:pt>
                <c:pt idx="1042">
                  <c:v>80</c:v>
                </c:pt>
                <c:pt idx="1043">
                  <c:v>79</c:v>
                </c:pt>
                <c:pt idx="1044">
                  <c:v>85</c:v>
                </c:pt>
                <c:pt idx="1045">
                  <c:v>74</c:v>
                </c:pt>
                <c:pt idx="1046">
                  <c:v>75</c:v>
                </c:pt>
                <c:pt idx="1047">
                  <c:v>90</c:v>
                </c:pt>
                <c:pt idx="1048">
                  <c:v>91</c:v>
                </c:pt>
                <c:pt idx="1049">
                  <c:v>75</c:v>
                </c:pt>
                <c:pt idx="1050">
                  <c:v>58</c:v>
                </c:pt>
                <c:pt idx="1051">
                  <c:v>59</c:v>
                </c:pt>
                <c:pt idx="1052">
                  <c:v>56</c:v>
                </c:pt>
                <c:pt idx="1053">
                  <c:v>58</c:v>
                </c:pt>
                <c:pt idx="1054">
                  <c:v>74</c:v>
                </c:pt>
                <c:pt idx="1055">
                  <c:v>64</c:v>
                </c:pt>
                <c:pt idx="1056">
                  <c:v>61</c:v>
                </c:pt>
                <c:pt idx="1057">
                  <c:v>60</c:v>
                </c:pt>
                <c:pt idx="1058">
                  <c:v>55</c:v>
                </c:pt>
                <c:pt idx="1059">
                  <c:v>54</c:v>
                </c:pt>
                <c:pt idx="1060">
                  <c:v>50</c:v>
                </c:pt>
                <c:pt idx="1061">
                  <c:v>46</c:v>
                </c:pt>
                <c:pt idx="1062">
                  <c:v>55</c:v>
                </c:pt>
                <c:pt idx="1063">
                  <c:v>43</c:v>
                </c:pt>
                <c:pt idx="1064">
                  <c:v>27</c:v>
                </c:pt>
                <c:pt idx="1065">
                  <c:v>39</c:v>
                </c:pt>
                <c:pt idx="1066">
                  <c:v>45</c:v>
                </c:pt>
                <c:pt idx="1067">
                  <c:v>39</c:v>
                </c:pt>
                <c:pt idx="1068">
                  <c:v>36</c:v>
                </c:pt>
                <c:pt idx="1069">
                  <c:v>15</c:v>
                </c:pt>
                <c:pt idx="1070">
                  <c:v>39</c:v>
                </c:pt>
                <c:pt idx="1071">
                  <c:v>39</c:v>
                </c:pt>
                <c:pt idx="1072">
                  <c:v>35</c:v>
                </c:pt>
                <c:pt idx="1073">
                  <c:v>33</c:v>
                </c:pt>
                <c:pt idx="1074">
                  <c:v>31</c:v>
                </c:pt>
                <c:pt idx="1075">
                  <c:v>30</c:v>
                </c:pt>
                <c:pt idx="1076">
                  <c:v>27</c:v>
                </c:pt>
                <c:pt idx="1077">
                  <c:v>33</c:v>
                </c:pt>
                <c:pt idx="1078">
                  <c:v>29</c:v>
                </c:pt>
                <c:pt idx="1079">
                  <c:v>17</c:v>
                </c:pt>
                <c:pt idx="1080">
                  <c:v>35</c:v>
                </c:pt>
                <c:pt idx="1081">
                  <c:v>22</c:v>
                </c:pt>
                <c:pt idx="1082">
                  <c:v>24</c:v>
                </c:pt>
                <c:pt idx="1083">
                  <c:v>15</c:v>
                </c:pt>
                <c:pt idx="1084">
                  <c:v>23</c:v>
                </c:pt>
                <c:pt idx="1085">
                  <c:v>30</c:v>
                </c:pt>
                <c:pt idx="1086">
                  <c:v>20</c:v>
                </c:pt>
                <c:pt idx="1087">
                  <c:v>13</c:v>
                </c:pt>
                <c:pt idx="1088">
                  <c:v>23</c:v>
                </c:pt>
                <c:pt idx="1089">
                  <c:v>20</c:v>
                </c:pt>
                <c:pt idx="1090">
                  <c:v>25</c:v>
                </c:pt>
                <c:pt idx="1091">
                  <c:v>17</c:v>
                </c:pt>
                <c:pt idx="1092">
                  <c:v>20</c:v>
                </c:pt>
                <c:pt idx="1093">
                  <c:v>25</c:v>
                </c:pt>
                <c:pt idx="1094">
                  <c:v>16</c:v>
                </c:pt>
                <c:pt idx="1095">
                  <c:v>13</c:v>
                </c:pt>
                <c:pt idx="1096">
                  <c:v>19</c:v>
                </c:pt>
                <c:pt idx="1097">
                  <c:v>13</c:v>
                </c:pt>
                <c:pt idx="1098">
                  <c:v>16</c:v>
                </c:pt>
                <c:pt idx="1099">
                  <c:v>22</c:v>
                </c:pt>
                <c:pt idx="1100">
                  <c:v>9</c:v>
                </c:pt>
                <c:pt idx="1101">
                  <c:v>4</c:v>
                </c:pt>
                <c:pt idx="1102">
                  <c:v>9</c:v>
                </c:pt>
                <c:pt idx="1103">
                  <c:v>10</c:v>
                </c:pt>
                <c:pt idx="1104">
                  <c:v>15</c:v>
                </c:pt>
                <c:pt idx="1105">
                  <c:v>11</c:v>
                </c:pt>
                <c:pt idx="1106">
                  <c:v>15</c:v>
                </c:pt>
                <c:pt idx="1107">
                  <c:v>16</c:v>
                </c:pt>
                <c:pt idx="1108">
                  <c:v>11</c:v>
                </c:pt>
                <c:pt idx="1109">
                  <c:v>465</c:v>
                </c:pt>
                <c:pt idx="1110">
                  <c:v>278</c:v>
                </c:pt>
                <c:pt idx="1111">
                  <c:v>301</c:v>
                </c:pt>
                <c:pt idx="1112">
                  <c:v>889</c:v>
                </c:pt>
                <c:pt idx="1113">
                  <c:v>657</c:v>
                </c:pt>
                <c:pt idx="1114">
                  <c:v>319</c:v>
                </c:pt>
                <c:pt idx="1115">
                  <c:v>325</c:v>
                </c:pt>
                <c:pt idx="1116">
                  <c:v>394</c:v>
                </c:pt>
                <c:pt idx="1117">
                  <c:v>704</c:v>
                </c:pt>
                <c:pt idx="1118">
                  <c:v>395</c:v>
                </c:pt>
                <c:pt idx="1119">
                  <c:v>464</c:v>
                </c:pt>
                <c:pt idx="1120">
                  <c:v>464</c:v>
                </c:pt>
                <c:pt idx="1121">
                  <c:v>177</c:v>
                </c:pt>
                <c:pt idx="1122">
                  <c:v>273</c:v>
                </c:pt>
                <c:pt idx="1123">
                  <c:v>354</c:v>
                </c:pt>
                <c:pt idx="1124">
                  <c:v>236</c:v>
                </c:pt>
                <c:pt idx="1125">
                  <c:v>219</c:v>
                </c:pt>
                <c:pt idx="1126">
                  <c:v>242</c:v>
                </c:pt>
                <c:pt idx="1127">
                  <c:v>7</c:v>
                </c:pt>
                <c:pt idx="1128">
                  <c:v>703</c:v>
                </c:pt>
                <c:pt idx="1129">
                  <c:v>204</c:v>
                </c:pt>
                <c:pt idx="1130">
                  <c:v>960</c:v>
                </c:pt>
                <c:pt idx="1131">
                  <c:v>533</c:v>
                </c:pt>
                <c:pt idx="1132">
                  <c:v>1436</c:v>
                </c:pt>
                <c:pt idx="1133">
                  <c:v>821</c:v>
                </c:pt>
                <c:pt idx="1134">
                  <c:v>642</c:v>
                </c:pt>
                <c:pt idx="1135">
                  <c:v>306</c:v>
                </c:pt>
                <c:pt idx="1136">
                  <c:v>303</c:v>
                </c:pt>
                <c:pt idx="1137">
                  <c:v>337</c:v>
                </c:pt>
                <c:pt idx="1138">
                  <c:v>268</c:v>
                </c:pt>
                <c:pt idx="1139">
                  <c:v>375</c:v>
                </c:pt>
                <c:pt idx="1140">
                  <c:v>246</c:v>
                </c:pt>
                <c:pt idx="1141">
                  <c:v>146</c:v>
                </c:pt>
                <c:pt idx="1142">
                  <c:v>125</c:v>
                </c:pt>
                <c:pt idx="1143">
                  <c:v>245</c:v>
                </c:pt>
                <c:pt idx="1144">
                  <c:v>182</c:v>
                </c:pt>
                <c:pt idx="1145">
                  <c:v>206</c:v>
                </c:pt>
                <c:pt idx="1146">
                  <c:v>161</c:v>
                </c:pt>
                <c:pt idx="1147">
                  <c:v>190</c:v>
                </c:pt>
                <c:pt idx="1148">
                  <c:v>215</c:v>
                </c:pt>
                <c:pt idx="1149">
                  <c:v>75</c:v>
                </c:pt>
                <c:pt idx="1150">
                  <c:v>243</c:v>
                </c:pt>
                <c:pt idx="1151">
                  <c:v>108</c:v>
                </c:pt>
                <c:pt idx="1152">
                  <c:v>139</c:v>
                </c:pt>
                <c:pt idx="1153">
                  <c:v>98</c:v>
                </c:pt>
                <c:pt idx="1154">
                  <c:v>77</c:v>
                </c:pt>
                <c:pt idx="1155">
                  <c:v>40</c:v>
                </c:pt>
                <c:pt idx="1156">
                  <c:v>256</c:v>
                </c:pt>
                <c:pt idx="1157">
                  <c:v>212</c:v>
                </c:pt>
                <c:pt idx="1158">
                  <c:v>189</c:v>
                </c:pt>
                <c:pt idx="1159">
                  <c:v>44</c:v>
                </c:pt>
                <c:pt idx="1160">
                  <c:v>25</c:v>
                </c:pt>
                <c:pt idx="1161">
                  <c:v>22</c:v>
                </c:pt>
                <c:pt idx="1162">
                  <c:v>27</c:v>
                </c:pt>
                <c:pt idx="1163">
                  <c:v>18</c:v>
                </c:pt>
                <c:pt idx="1164">
                  <c:v>321</c:v>
                </c:pt>
                <c:pt idx="1165">
                  <c:v>169</c:v>
                </c:pt>
                <c:pt idx="1166">
                  <c:v>158</c:v>
                </c:pt>
                <c:pt idx="1167">
                  <c:v>115</c:v>
                </c:pt>
                <c:pt idx="1168">
                  <c:v>148</c:v>
                </c:pt>
                <c:pt idx="1169">
                  <c:v>134</c:v>
                </c:pt>
                <c:pt idx="1170">
                  <c:v>77</c:v>
                </c:pt>
                <c:pt idx="1171">
                  <c:v>98</c:v>
                </c:pt>
                <c:pt idx="1172">
                  <c:v>88</c:v>
                </c:pt>
                <c:pt idx="1173">
                  <c:v>18</c:v>
                </c:pt>
                <c:pt idx="1174">
                  <c:v>57</c:v>
                </c:pt>
                <c:pt idx="1175">
                  <c:v>47</c:v>
                </c:pt>
                <c:pt idx="1176">
                  <c:v>30</c:v>
                </c:pt>
                <c:pt idx="1177">
                  <c:v>35</c:v>
                </c:pt>
                <c:pt idx="1178">
                  <c:v>24</c:v>
                </c:pt>
                <c:pt idx="1179">
                  <c:v>31</c:v>
                </c:pt>
                <c:pt idx="1180">
                  <c:v>28</c:v>
                </c:pt>
                <c:pt idx="1181">
                  <c:v>19</c:v>
                </c:pt>
                <c:pt idx="1182">
                  <c:v>2</c:v>
                </c:pt>
                <c:pt idx="1183">
                  <c:v>662</c:v>
                </c:pt>
                <c:pt idx="1184">
                  <c:v>474</c:v>
                </c:pt>
                <c:pt idx="1185">
                  <c:v>346</c:v>
                </c:pt>
                <c:pt idx="1186">
                  <c:v>184</c:v>
                </c:pt>
                <c:pt idx="1187">
                  <c:v>285</c:v>
                </c:pt>
                <c:pt idx="1188">
                  <c:v>200</c:v>
                </c:pt>
                <c:pt idx="1189">
                  <c:v>238</c:v>
                </c:pt>
                <c:pt idx="1190">
                  <c:v>212</c:v>
                </c:pt>
                <c:pt idx="1191">
                  <c:v>192</c:v>
                </c:pt>
                <c:pt idx="1192">
                  <c:v>181</c:v>
                </c:pt>
                <c:pt idx="1193">
                  <c:v>157</c:v>
                </c:pt>
                <c:pt idx="1194">
                  <c:v>152</c:v>
                </c:pt>
                <c:pt idx="1195">
                  <c:v>105</c:v>
                </c:pt>
                <c:pt idx="1196">
                  <c:v>73</c:v>
                </c:pt>
                <c:pt idx="1197">
                  <c:v>69</c:v>
                </c:pt>
                <c:pt idx="1198">
                  <c:v>79</c:v>
                </c:pt>
                <c:pt idx="1199">
                  <c:v>90</c:v>
                </c:pt>
                <c:pt idx="1200">
                  <c:v>82</c:v>
                </c:pt>
                <c:pt idx="1201">
                  <c:v>81</c:v>
                </c:pt>
                <c:pt idx="1202">
                  <c:v>67</c:v>
                </c:pt>
                <c:pt idx="1203">
                  <c:v>74</c:v>
                </c:pt>
                <c:pt idx="1204">
                  <c:v>75</c:v>
                </c:pt>
                <c:pt idx="1205">
                  <c:v>70</c:v>
                </c:pt>
                <c:pt idx="1206">
                  <c:v>57</c:v>
                </c:pt>
                <c:pt idx="1207">
                  <c:v>60</c:v>
                </c:pt>
                <c:pt idx="1208">
                  <c:v>56</c:v>
                </c:pt>
                <c:pt idx="1209">
                  <c:v>38</c:v>
                </c:pt>
                <c:pt idx="1210">
                  <c:v>36</c:v>
                </c:pt>
                <c:pt idx="1211">
                  <c:v>57</c:v>
                </c:pt>
                <c:pt idx="1212">
                  <c:v>29</c:v>
                </c:pt>
                <c:pt idx="1213">
                  <c:v>28</c:v>
                </c:pt>
                <c:pt idx="1214">
                  <c:v>51</c:v>
                </c:pt>
                <c:pt idx="1215">
                  <c:v>28</c:v>
                </c:pt>
                <c:pt idx="1216">
                  <c:v>28</c:v>
                </c:pt>
                <c:pt idx="1217">
                  <c:v>27</c:v>
                </c:pt>
                <c:pt idx="1218">
                  <c:v>27</c:v>
                </c:pt>
                <c:pt idx="1219">
                  <c:v>17</c:v>
                </c:pt>
                <c:pt idx="1220">
                  <c:v>29</c:v>
                </c:pt>
                <c:pt idx="1221">
                  <c:v>26</c:v>
                </c:pt>
                <c:pt idx="1222">
                  <c:v>26</c:v>
                </c:pt>
                <c:pt idx="1223">
                  <c:v>27</c:v>
                </c:pt>
                <c:pt idx="1224">
                  <c:v>22</c:v>
                </c:pt>
                <c:pt idx="1225">
                  <c:v>26</c:v>
                </c:pt>
                <c:pt idx="1226">
                  <c:v>16</c:v>
                </c:pt>
                <c:pt idx="1227">
                  <c:v>18</c:v>
                </c:pt>
                <c:pt idx="1228">
                  <c:v>17</c:v>
                </c:pt>
                <c:pt idx="1229">
                  <c:v>6</c:v>
                </c:pt>
                <c:pt idx="1230">
                  <c:v>9</c:v>
                </c:pt>
                <c:pt idx="1231">
                  <c:v>929</c:v>
                </c:pt>
                <c:pt idx="1232">
                  <c:v>329</c:v>
                </c:pt>
                <c:pt idx="1233">
                  <c:v>314</c:v>
                </c:pt>
                <c:pt idx="1234">
                  <c:v>280</c:v>
                </c:pt>
                <c:pt idx="1235">
                  <c:v>285</c:v>
                </c:pt>
                <c:pt idx="1236">
                  <c:v>166</c:v>
                </c:pt>
                <c:pt idx="1237">
                  <c:v>257</c:v>
                </c:pt>
                <c:pt idx="1238">
                  <c:v>188</c:v>
                </c:pt>
                <c:pt idx="1239">
                  <c:v>155</c:v>
                </c:pt>
                <c:pt idx="1240">
                  <c:v>167</c:v>
                </c:pt>
                <c:pt idx="1241">
                  <c:v>136</c:v>
                </c:pt>
                <c:pt idx="1242">
                  <c:v>91</c:v>
                </c:pt>
                <c:pt idx="1243">
                  <c:v>125</c:v>
                </c:pt>
                <c:pt idx="1244">
                  <c:v>123</c:v>
                </c:pt>
                <c:pt idx="1245">
                  <c:v>89</c:v>
                </c:pt>
                <c:pt idx="1246">
                  <c:v>88</c:v>
                </c:pt>
                <c:pt idx="1247">
                  <c:v>55</c:v>
                </c:pt>
                <c:pt idx="1248">
                  <c:v>1120</c:v>
                </c:pt>
                <c:pt idx="1249">
                  <c:v>938</c:v>
                </c:pt>
                <c:pt idx="1250">
                  <c:v>600</c:v>
                </c:pt>
                <c:pt idx="1251">
                  <c:v>942</c:v>
                </c:pt>
                <c:pt idx="1252">
                  <c:v>1326</c:v>
                </c:pt>
                <c:pt idx="1253">
                  <c:v>1262</c:v>
                </c:pt>
                <c:pt idx="1254">
                  <c:v>1356</c:v>
                </c:pt>
                <c:pt idx="1255">
                  <c:v>612</c:v>
                </c:pt>
                <c:pt idx="1256">
                  <c:v>756</c:v>
                </c:pt>
                <c:pt idx="1257">
                  <c:v>753</c:v>
                </c:pt>
                <c:pt idx="1258">
                  <c:v>1262</c:v>
                </c:pt>
                <c:pt idx="1259">
                  <c:v>664</c:v>
                </c:pt>
                <c:pt idx="1260">
                  <c:v>775</c:v>
                </c:pt>
                <c:pt idx="1261">
                  <c:v>791</c:v>
                </c:pt>
                <c:pt idx="1262">
                  <c:v>618</c:v>
                </c:pt>
                <c:pt idx="1263">
                  <c:v>506</c:v>
                </c:pt>
                <c:pt idx="1264">
                  <c:v>872</c:v>
                </c:pt>
                <c:pt idx="1265">
                  <c:v>1031</c:v>
                </c:pt>
                <c:pt idx="1266">
                  <c:v>722</c:v>
                </c:pt>
                <c:pt idx="1267">
                  <c:v>825</c:v>
                </c:pt>
                <c:pt idx="1268">
                  <c:v>1104</c:v>
                </c:pt>
                <c:pt idx="1269">
                  <c:v>985</c:v>
                </c:pt>
                <c:pt idx="1270">
                  <c:v>681</c:v>
                </c:pt>
                <c:pt idx="1271">
                  <c:v>543</c:v>
                </c:pt>
                <c:pt idx="1272">
                  <c:v>665</c:v>
                </c:pt>
                <c:pt idx="1273">
                  <c:v>823</c:v>
                </c:pt>
                <c:pt idx="1274">
                  <c:v>714</c:v>
                </c:pt>
                <c:pt idx="1275">
                  <c:v>904</c:v>
                </c:pt>
                <c:pt idx="1276">
                  <c:v>669</c:v>
                </c:pt>
                <c:pt idx="1277">
                  <c:v>632</c:v>
                </c:pt>
                <c:pt idx="1278">
                  <c:v>1030</c:v>
                </c:pt>
                <c:pt idx="1279">
                  <c:v>904</c:v>
                </c:pt>
                <c:pt idx="1280">
                  <c:v>557</c:v>
                </c:pt>
                <c:pt idx="1281">
                  <c:v>1114</c:v>
                </c:pt>
                <c:pt idx="1282">
                  <c:v>1077</c:v>
                </c:pt>
                <c:pt idx="1283">
                  <c:v>807</c:v>
                </c:pt>
                <c:pt idx="1284">
                  <c:v>777</c:v>
                </c:pt>
                <c:pt idx="1285">
                  <c:v>350</c:v>
                </c:pt>
                <c:pt idx="1286">
                  <c:v>1398</c:v>
                </c:pt>
                <c:pt idx="1287">
                  <c:v>520</c:v>
                </c:pt>
                <c:pt idx="1288">
                  <c:v>913</c:v>
                </c:pt>
                <c:pt idx="1289">
                  <c:v>909</c:v>
                </c:pt>
                <c:pt idx="1290">
                  <c:v>507</c:v>
                </c:pt>
                <c:pt idx="1291">
                  <c:v>809</c:v>
                </c:pt>
                <c:pt idx="1292">
                  <c:v>1081</c:v>
                </c:pt>
                <c:pt idx="1293">
                  <c:v>1228</c:v>
                </c:pt>
                <c:pt idx="1294">
                  <c:v>681</c:v>
                </c:pt>
                <c:pt idx="1295">
                  <c:v>816</c:v>
                </c:pt>
                <c:pt idx="1296">
                  <c:v>697</c:v>
                </c:pt>
                <c:pt idx="1297">
                  <c:v>1092</c:v>
                </c:pt>
                <c:pt idx="1298">
                  <c:v>510</c:v>
                </c:pt>
                <c:pt idx="1299">
                  <c:v>1025</c:v>
                </c:pt>
                <c:pt idx="1300">
                  <c:v>683</c:v>
                </c:pt>
                <c:pt idx="1301">
                  <c:v>676</c:v>
                </c:pt>
                <c:pt idx="1302">
                  <c:v>574</c:v>
                </c:pt>
                <c:pt idx="1303">
                  <c:v>544</c:v>
                </c:pt>
                <c:pt idx="1304">
                  <c:v>600</c:v>
                </c:pt>
                <c:pt idx="1305">
                  <c:v>818</c:v>
                </c:pt>
                <c:pt idx="1306">
                  <c:v>1478</c:v>
                </c:pt>
                <c:pt idx="1307">
                  <c:v>828</c:v>
                </c:pt>
                <c:pt idx="1308">
                  <c:v>720</c:v>
                </c:pt>
                <c:pt idx="1309">
                  <c:v>535</c:v>
                </c:pt>
                <c:pt idx="1310">
                  <c:v>647</c:v>
                </c:pt>
                <c:pt idx="1311">
                  <c:v>1427</c:v>
                </c:pt>
                <c:pt idx="1312">
                  <c:v>563</c:v>
                </c:pt>
                <c:pt idx="1313">
                  <c:v>584</c:v>
                </c:pt>
                <c:pt idx="1314">
                  <c:v>870</c:v>
                </c:pt>
                <c:pt idx="1315">
                  <c:v>782</c:v>
                </c:pt>
                <c:pt idx="1316">
                  <c:v>677</c:v>
                </c:pt>
                <c:pt idx="1317">
                  <c:v>706</c:v>
                </c:pt>
                <c:pt idx="1318">
                  <c:v>717</c:v>
                </c:pt>
                <c:pt idx="1319">
                  <c:v>526</c:v>
                </c:pt>
                <c:pt idx="1320">
                  <c:v>724</c:v>
                </c:pt>
                <c:pt idx="1321">
                  <c:v>577</c:v>
                </c:pt>
                <c:pt idx="1322">
                  <c:v>685</c:v>
                </c:pt>
                <c:pt idx="1323">
                  <c:v>557</c:v>
                </c:pt>
                <c:pt idx="1324">
                  <c:v>553</c:v>
                </c:pt>
                <c:pt idx="1325">
                  <c:v>315</c:v>
                </c:pt>
                <c:pt idx="1326">
                  <c:v>628</c:v>
                </c:pt>
                <c:pt idx="1327">
                  <c:v>828</c:v>
                </c:pt>
                <c:pt idx="1328">
                  <c:v>411</c:v>
                </c:pt>
                <c:pt idx="1329">
                  <c:v>509</c:v>
                </c:pt>
                <c:pt idx="1330">
                  <c:v>544</c:v>
                </c:pt>
                <c:pt idx="1331">
                  <c:v>663</c:v>
                </c:pt>
                <c:pt idx="1332">
                  <c:v>492</c:v>
                </c:pt>
                <c:pt idx="1333">
                  <c:v>472</c:v>
                </c:pt>
                <c:pt idx="1334">
                  <c:v>551</c:v>
                </c:pt>
                <c:pt idx="1335">
                  <c:v>634</c:v>
                </c:pt>
                <c:pt idx="1336">
                  <c:v>609</c:v>
                </c:pt>
                <c:pt idx="1337">
                  <c:v>962</c:v>
                </c:pt>
                <c:pt idx="1338">
                  <c:v>749</c:v>
                </c:pt>
                <c:pt idx="1339">
                  <c:v>838</c:v>
                </c:pt>
                <c:pt idx="1340">
                  <c:v>422</c:v>
                </c:pt>
                <c:pt idx="1341">
                  <c:v>555</c:v>
                </c:pt>
                <c:pt idx="1342">
                  <c:v>549</c:v>
                </c:pt>
                <c:pt idx="1343">
                  <c:v>519</c:v>
                </c:pt>
                <c:pt idx="1344">
                  <c:v>747</c:v>
                </c:pt>
                <c:pt idx="1345">
                  <c:v>383</c:v>
                </c:pt>
                <c:pt idx="1346">
                  <c:v>410</c:v>
                </c:pt>
                <c:pt idx="1347">
                  <c:v>485</c:v>
                </c:pt>
                <c:pt idx="1348">
                  <c:v>460</c:v>
                </c:pt>
                <c:pt idx="1349">
                  <c:v>505</c:v>
                </c:pt>
                <c:pt idx="1350">
                  <c:v>647</c:v>
                </c:pt>
                <c:pt idx="1351">
                  <c:v>589</c:v>
                </c:pt>
                <c:pt idx="1352">
                  <c:v>441</c:v>
                </c:pt>
                <c:pt idx="1353">
                  <c:v>585</c:v>
                </c:pt>
                <c:pt idx="1354">
                  <c:v>490</c:v>
                </c:pt>
                <c:pt idx="1355">
                  <c:v>401</c:v>
                </c:pt>
                <c:pt idx="1356">
                  <c:v>377</c:v>
                </c:pt>
                <c:pt idx="1357">
                  <c:v>357</c:v>
                </c:pt>
                <c:pt idx="1358">
                  <c:v>456</c:v>
                </c:pt>
                <c:pt idx="1359">
                  <c:v>604</c:v>
                </c:pt>
                <c:pt idx="1360">
                  <c:v>554</c:v>
                </c:pt>
                <c:pt idx="1361">
                  <c:v>295</c:v>
                </c:pt>
                <c:pt idx="1362">
                  <c:v>479</c:v>
                </c:pt>
                <c:pt idx="1363">
                  <c:v>478</c:v>
                </c:pt>
                <c:pt idx="1364">
                  <c:v>427</c:v>
                </c:pt>
                <c:pt idx="1365">
                  <c:v>323</c:v>
                </c:pt>
                <c:pt idx="1366">
                  <c:v>441</c:v>
                </c:pt>
                <c:pt idx="1367">
                  <c:v>305</c:v>
                </c:pt>
                <c:pt idx="1368">
                  <c:v>171</c:v>
                </c:pt>
                <c:pt idx="1369">
                  <c:v>194</c:v>
                </c:pt>
                <c:pt idx="1370">
                  <c:v>221</c:v>
                </c:pt>
                <c:pt idx="1371">
                  <c:v>243</c:v>
                </c:pt>
                <c:pt idx="1372">
                  <c:v>236</c:v>
                </c:pt>
                <c:pt idx="1373">
                  <c:v>180</c:v>
                </c:pt>
                <c:pt idx="1374">
                  <c:v>220</c:v>
                </c:pt>
                <c:pt idx="1375">
                  <c:v>119</c:v>
                </c:pt>
                <c:pt idx="1376">
                  <c:v>267</c:v>
                </c:pt>
                <c:pt idx="1377">
                  <c:v>130</c:v>
                </c:pt>
                <c:pt idx="1378">
                  <c:v>92</c:v>
                </c:pt>
                <c:pt idx="1379">
                  <c:v>116</c:v>
                </c:pt>
                <c:pt idx="1380">
                  <c:v>123</c:v>
                </c:pt>
                <c:pt idx="1381">
                  <c:v>139</c:v>
                </c:pt>
                <c:pt idx="1382">
                  <c:v>223</c:v>
                </c:pt>
                <c:pt idx="1383">
                  <c:v>226</c:v>
                </c:pt>
                <c:pt idx="1384">
                  <c:v>72</c:v>
                </c:pt>
                <c:pt idx="1385">
                  <c:v>117</c:v>
                </c:pt>
                <c:pt idx="1386">
                  <c:v>189</c:v>
                </c:pt>
                <c:pt idx="1387">
                  <c:v>176</c:v>
                </c:pt>
                <c:pt idx="1388">
                  <c:v>107</c:v>
                </c:pt>
                <c:pt idx="1389">
                  <c:v>110</c:v>
                </c:pt>
                <c:pt idx="1390">
                  <c:v>117</c:v>
                </c:pt>
                <c:pt idx="1391">
                  <c:v>135</c:v>
                </c:pt>
                <c:pt idx="1392">
                  <c:v>117</c:v>
                </c:pt>
                <c:pt idx="1393">
                  <c:v>113</c:v>
                </c:pt>
                <c:pt idx="1394">
                  <c:v>121</c:v>
                </c:pt>
                <c:pt idx="1395">
                  <c:v>66</c:v>
                </c:pt>
                <c:pt idx="1396">
                  <c:v>73</c:v>
                </c:pt>
                <c:pt idx="1397">
                  <c:v>97</c:v>
                </c:pt>
                <c:pt idx="1398">
                  <c:v>124</c:v>
                </c:pt>
                <c:pt idx="1399">
                  <c:v>101</c:v>
                </c:pt>
                <c:pt idx="1400">
                  <c:v>103</c:v>
                </c:pt>
                <c:pt idx="1401">
                  <c:v>127</c:v>
                </c:pt>
                <c:pt idx="1402">
                  <c:v>129</c:v>
                </c:pt>
                <c:pt idx="1403">
                  <c:v>113</c:v>
                </c:pt>
                <c:pt idx="1404">
                  <c:v>101</c:v>
                </c:pt>
                <c:pt idx="1405">
                  <c:v>127</c:v>
                </c:pt>
                <c:pt idx="1406">
                  <c:v>76</c:v>
                </c:pt>
                <c:pt idx="1407">
                  <c:v>117</c:v>
                </c:pt>
                <c:pt idx="1408">
                  <c:v>93</c:v>
                </c:pt>
                <c:pt idx="1409">
                  <c:v>117</c:v>
                </c:pt>
                <c:pt idx="1410">
                  <c:v>84</c:v>
                </c:pt>
                <c:pt idx="1411">
                  <c:v>84</c:v>
                </c:pt>
                <c:pt idx="1412">
                  <c:v>104</c:v>
                </c:pt>
                <c:pt idx="1413">
                  <c:v>55</c:v>
                </c:pt>
                <c:pt idx="1414">
                  <c:v>74</c:v>
                </c:pt>
                <c:pt idx="1415">
                  <c:v>103</c:v>
                </c:pt>
                <c:pt idx="1416">
                  <c:v>73</c:v>
                </c:pt>
                <c:pt idx="1417">
                  <c:v>87</c:v>
                </c:pt>
                <c:pt idx="1418">
                  <c:v>105</c:v>
                </c:pt>
                <c:pt idx="1419">
                  <c:v>62</c:v>
                </c:pt>
                <c:pt idx="1420">
                  <c:v>91</c:v>
                </c:pt>
                <c:pt idx="1421">
                  <c:v>86</c:v>
                </c:pt>
                <c:pt idx="1422">
                  <c:v>102</c:v>
                </c:pt>
                <c:pt idx="1423">
                  <c:v>74</c:v>
                </c:pt>
                <c:pt idx="1424">
                  <c:v>64</c:v>
                </c:pt>
                <c:pt idx="1425">
                  <c:v>54</c:v>
                </c:pt>
                <c:pt idx="1426">
                  <c:v>55</c:v>
                </c:pt>
                <c:pt idx="1427">
                  <c:v>59</c:v>
                </c:pt>
                <c:pt idx="1428">
                  <c:v>59</c:v>
                </c:pt>
                <c:pt idx="1429">
                  <c:v>48</c:v>
                </c:pt>
                <c:pt idx="1430">
                  <c:v>77</c:v>
                </c:pt>
                <c:pt idx="1431">
                  <c:v>44</c:v>
                </c:pt>
                <c:pt idx="1432">
                  <c:v>64</c:v>
                </c:pt>
                <c:pt idx="1433">
                  <c:v>47</c:v>
                </c:pt>
                <c:pt idx="1434">
                  <c:v>79</c:v>
                </c:pt>
                <c:pt idx="1435">
                  <c:v>60</c:v>
                </c:pt>
                <c:pt idx="1436">
                  <c:v>67</c:v>
                </c:pt>
                <c:pt idx="1437">
                  <c:v>46</c:v>
                </c:pt>
                <c:pt idx="1438">
                  <c:v>55</c:v>
                </c:pt>
                <c:pt idx="1439">
                  <c:v>357</c:v>
                </c:pt>
                <c:pt idx="1440">
                  <c:v>280</c:v>
                </c:pt>
                <c:pt idx="1441">
                  <c:v>247</c:v>
                </c:pt>
                <c:pt idx="1442">
                  <c:v>125</c:v>
                </c:pt>
                <c:pt idx="1443">
                  <c:v>143</c:v>
                </c:pt>
                <c:pt idx="1444">
                  <c:v>128</c:v>
                </c:pt>
                <c:pt idx="1445">
                  <c:v>114</c:v>
                </c:pt>
                <c:pt idx="1446">
                  <c:v>88</c:v>
                </c:pt>
                <c:pt idx="1447">
                  <c:v>100</c:v>
                </c:pt>
                <c:pt idx="1448">
                  <c:v>89</c:v>
                </c:pt>
                <c:pt idx="1449">
                  <c:v>76</c:v>
                </c:pt>
                <c:pt idx="1450">
                  <c:v>57</c:v>
                </c:pt>
                <c:pt idx="1451">
                  <c:v>70</c:v>
                </c:pt>
                <c:pt idx="1452">
                  <c:v>53</c:v>
                </c:pt>
                <c:pt idx="1453">
                  <c:v>48</c:v>
                </c:pt>
                <c:pt idx="1454">
                  <c:v>50</c:v>
                </c:pt>
                <c:pt idx="1455">
                  <c:v>64</c:v>
                </c:pt>
                <c:pt idx="1456">
                  <c:v>34</c:v>
                </c:pt>
                <c:pt idx="1457">
                  <c:v>43</c:v>
                </c:pt>
                <c:pt idx="1458">
                  <c:v>42</c:v>
                </c:pt>
                <c:pt idx="1459">
                  <c:v>44</c:v>
                </c:pt>
                <c:pt idx="1460">
                  <c:v>7</c:v>
                </c:pt>
                <c:pt idx="1461">
                  <c:v>9</c:v>
                </c:pt>
                <c:pt idx="1462">
                  <c:v>12</c:v>
                </c:pt>
                <c:pt idx="1463">
                  <c:v>22</c:v>
                </c:pt>
                <c:pt idx="1464">
                  <c:v>13</c:v>
                </c:pt>
                <c:pt idx="1465">
                  <c:v>5</c:v>
                </c:pt>
                <c:pt idx="1466">
                  <c:v>12</c:v>
                </c:pt>
                <c:pt idx="1467">
                  <c:v>7</c:v>
                </c:pt>
                <c:pt idx="1468">
                  <c:v>13</c:v>
                </c:pt>
                <c:pt idx="1469">
                  <c:v>8</c:v>
                </c:pt>
                <c:pt idx="1470">
                  <c:v>5</c:v>
                </c:pt>
                <c:pt idx="1471">
                  <c:v>9</c:v>
                </c:pt>
                <c:pt idx="1472">
                  <c:v>6</c:v>
                </c:pt>
                <c:pt idx="1473">
                  <c:v>3</c:v>
                </c:pt>
                <c:pt idx="1474">
                  <c:v>4</c:v>
                </c:pt>
                <c:pt idx="1475">
                  <c:v>5</c:v>
                </c:pt>
                <c:pt idx="1476">
                  <c:v>4</c:v>
                </c:pt>
                <c:pt idx="1477">
                  <c:v>6</c:v>
                </c:pt>
                <c:pt idx="1478">
                  <c:v>2</c:v>
                </c:pt>
                <c:pt idx="1479">
                  <c:v>1</c:v>
                </c:pt>
                <c:pt idx="1480">
                  <c:v>3</c:v>
                </c:pt>
                <c:pt idx="1481">
                  <c:v>3</c:v>
                </c:pt>
                <c:pt idx="1482">
                  <c:v>2</c:v>
                </c:pt>
                <c:pt idx="1483">
                  <c:v>1</c:v>
                </c:pt>
                <c:pt idx="1484">
                  <c:v>1</c:v>
                </c:pt>
                <c:pt idx="1485">
                  <c:v>1</c:v>
                </c:pt>
                <c:pt idx="1486">
                  <c:v>1</c:v>
                </c:pt>
                <c:pt idx="1487">
                  <c:v>1</c:v>
                </c:pt>
                <c:pt idx="1488">
                  <c:v>0</c:v>
                </c:pt>
                <c:pt idx="1489">
                  <c:v>0</c:v>
                </c:pt>
                <c:pt idx="1490">
                  <c:v>0</c:v>
                </c:pt>
                <c:pt idx="1491">
                  <c:v>0</c:v>
                </c:pt>
                <c:pt idx="1492">
                  <c:v>0</c:v>
                </c:pt>
                <c:pt idx="1493">
                  <c:v>0</c:v>
                </c:pt>
                <c:pt idx="1494">
                  <c:v>0</c:v>
                </c:pt>
                <c:pt idx="1495">
                  <c:v>0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0</c:v>
                </c:pt>
                <c:pt idx="1503">
                  <c:v>0</c:v>
                </c:pt>
                <c:pt idx="1504">
                  <c:v>0</c:v>
                </c:pt>
                <c:pt idx="1505">
                  <c:v>221</c:v>
                </c:pt>
                <c:pt idx="1506">
                  <c:v>293</c:v>
                </c:pt>
                <c:pt idx="1507">
                  <c:v>219</c:v>
                </c:pt>
                <c:pt idx="1508">
                  <c:v>176</c:v>
                </c:pt>
                <c:pt idx="1509">
                  <c:v>148</c:v>
                </c:pt>
                <c:pt idx="1510">
                  <c:v>240</c:v>
                </c:pt>
                <c:pt idx="1511">
                  <c:v>141</c:v>
                </c:pt>
                <c:pt idx="1512">
                  <c:v>148</c:v>
                </c:pt>
                <c:pt idx="1513">
                  <c:v>103</c:v>
                </c:pt>
                <c:pt idx="1514">
                  <c:v>176</c:v>
                </c:pt>
                <c:pt idx="1515">
                  <c:v>25</c:v>
                </c:pt>
                <c:pt idx="1516">
                  <c:v>145</c:v>
                </c:pt>
                <c:pt idx="1517">
                  <c:v>141</c:v>
                </c:pt>
                <c:pt idx="1518">
                  <c:v>12</c:v>
                </c:pt>
                <c:pt idx="1519">
                  <c:v>350</c:v>
                </c:pt>
                <c:pt idx="1520">
                  <c:v>402</c:v>
                </c:pt>
                <c:pt idx="1521">
                  <c:v>292</c:v>
                </c:pt>
                <c:pt idx="1522">
                  <c:v>443</c:v>
                </c:pt>
                <c:pt idx="1523">
                  <c:v>821</c:v>
                </c:pt>
                <c:pt idx="1524">
                  <c:v>610</c:v>
                </c:pt>
                <c:pt idx="1525">
                  <c:v>613</c:v>
                </c:pt>
                <c:pt idx="1526">
                  <c:v>525</c:v>
                </c:pt>
                <c:pt idx="1527">
                  <c:v>448</c:v>
                </c:pt>
                <c:pt idx="1528">
                  <c:v>619</c:v>
                </c:pt>
                <c:pt idx="1529">
                  <c:v>869</c:v>
                </c:pt>
                <c:pt idx="1530">
                  <c:v>610</c:v>
                </c:pt>
                <c:pt idx="1531">
                  <c:v>679</c:v>
                </c:pt>
                <c:pt idx="1532">
                  <c:v>385</c:v>
                </c:pt>
                <c:pt idx="1533">
                  <c:v>440</c:v>
                </c:pt>
                <c:pt idx="1534">
                  <c:v>668</c:v>
                </c:pt>
                <c:pt idx="1535">
                  <c:v>337</c:v>
                </c:pt>
                <c:pt idx="1536">
                  <c:v>580</c:v>
                </c:pt>
                <c:pt idx="1537">
                  <c:v>301</c:v>
                </c:pt>
                <c:pt idx="1538">
                  <c:v>448</c:v>
                </c:pt>
                <c:pt idx="1539">
                  <c:v>222</c:v>
                </c:pt>
                <c:pt idx="1540">
                  <c:v>295</c:v>
                </c:pt>
                <c:pt idx="1541">
                  <c:v>319</c:v>
                </c:pt>
                <c:pt idx="1542">
                  <c:v>316</c:v>
                </c:pt>
                <c:pt idx="1543">
                  <c:v>351</c:v>
                </c:pt>
                <c:pt idx="1544">
                  <c:v>176</c:v>
                </c:pt>
                <c:pt idx="1545">
                  <c:v>226</c:v>
                </c:pt>
                <c:pt idx="1546">
                  <c:v>242</c:v>
                </c:pt>
                <c:pt idx="1547">
                  <c:v>238</c:v>
                </c:pt>
                <c:pt idx="1548">
                  <c:v>138</c:v>
                </c:pt>
                <c:pt idx="1549">
                  <c:v>107</c:v>
                </c:pt>
                <c:pt idx="1550">
                  <c:v>254</c:v>
                </c:pt>
                <c:pt idx="1551">
                  <c:v>186</c:v>
                </c:pt>
                <c:pt idx="1552">
                  <c:v>313</c:v>
                </c:pt>
                <c:pt idx="1553">
                  <c:v>206</c:v>
                </c:pt>
                <c:pt idx="1554">
                  <c:v>164</c:v>
                </c:pt>
                <c:pt idx="1555">
                  <c:v>267</c:v>
                </c:pt>
                <c:pt idx="1556">
                  <c:v>133</c:v>
                </c:pt>
                <c:pt idx="1557">
                  <c:v>191</c:v>
                </c:pt>
                <c:pt idx="1558">
                  <c:v>131</c:v>
                </c:pt>
                <c:pt idx="1559">
                  <c:v>154</c:v>
                </c:pt>
                <c:pt idx="1560">
                  <c:v>66</c:v>
                </c:pt>
                <c:pt idx="1561">
                  <c:v>187</c:v>
                </c:pt>
                <c:pt idx="1562">
                  <c:v>135</c:v>
                </c:pt>
                <c:pt idx="1563">
                  <c:v>61</c:v>
                </c:pt>
                <c:pt idx="1564">
                  <c:v>131</c:v>
                </c:pt>
                <c:pt idx="1565">
                  <c:v>129</c:v>
                </c:pt>
                <c:pt idx="1566">
                  <c:v>102</c:v>
                </c:pt>
                <c:pt idx="1567">
                  <c:v>164</c:v>
                </c:pt>
                <c:pt idx="1568">
                  <c:v>156</c:v>
                </c:pt>
                <c:pt idx="1569">
                  <c:v>152</c:v>
                </c:pt>
                <c:pt idx="1570">
                  <c:v>179</c:v>
                </c:pt>
                <c:pt idx="1571">
                  <c:v>138</c:v>
                </c:pt>
                <c:pt idx="1572">
                  <c:v>126</c:v>
                </c:pt>
                <c:pt idx="1573">
                  <c:v>78</c:v>
                </c:pt>
                <c:pt idx="1574">
                  <c:v>164</c:v>
                </c:pt>
                <c:pt idx="1575">
                  <c:v>155</c:v>
                </c:pt>
                <c:pt idx="1576">
                  <c:v>172</c:v>
                </c:pt>
                <c:pt idx="1577">
                  <c:v>148</c:v>
                </c:pt>
                <c:pt idx="1578">
                  <c:v>168</c:v>
                </c:pt>
                <c:pt idx="1579">
                  <c:v>148</c:v>
                </c:pt>
                <c:pt idx="1580">
                  <c:v>148</c:v>
                </c:pt>
                <c:pt idx="1581">
                  <c:v>110</c:v>
                </c:pt>
                <c:pt idx="1582">
                  <c:v>167</c:v>
                </c:pt>
                <c:pt idx="1583">
                  <c:v>92</c:v>
                </c:pt>
                <c:pt idx="1584">
                  <c:v>311</c:v>
                </c:pt>
                <c:pt idx="1585">
                  <c:v>335</c:v>
                </c:pt>
                <c:pt idx="1586">
                  <c:v>251</c:v>
                </c:pt>
                <c:pt idx="1587">
                  <c:v>329</c:v>
                </c:pt>
                <c:pt idx="1588">
                  <c:v>171</c:v>
                </c:pt>
                <c:pt idx="1589">
                  <c:v>177</c:v>
                </c:pt>
                <c:pt idx="1590">
                  <c:v>151</c:v>
                </c:pt>
                <c:pt idx="1591">
                  <c:v>136</c:v>
                </c:pt>
                <c:pt idx="1592">
                  <c:v>141</c:v>
                </c:pt>
                <c:pt idx="1593">
                  <c:v>85</c:v>
                </c:pt>
                <c:pt idx="1594">
                  <c:v>122</c:v>
                </c:pt>
                <c:pt idx="1595">
                  <c:v>96</c:v>
                </c:pt>
                <c:pt idx="1596">
                  <c:v>118</c:v>
                </c:pt>
                <c:pt idx="1597">
                  <c:v>85</c:v>
                </c:pt>
                <c:pt idx="1598">
                  <c:v>131</c:v>
                </c:pt>
                <c:pt idx="1599">
                  <c:v>124</c:v>
                </c:pt>
                <c:pt idx="1600">
                  <c:v>83</c:v>
                </c:pt>
                <c:pt idx="1601">
                  <c:v>96</c:v>
                </c:pt>
                <c:pt idx="1602">
                  <c:v>102</c:v>
                </c:pt>
                <c:pt idx="1603">
                  <c:v>95</c:v>
                </c:pt>
                <c:pt idx="1604">
                  <c:v>78</c:v>
                </c:pt>
                <c:pt idx="1605">
                  <c:v>85</c:v>
                </c:pt>
                <c:pt idx="1606">
                  <c:v>63</c:v>
                </c:pt>
                <c:pt idx="1607">
                  <c:v>82</c:v>
                </c:pt>
                <c:pt idx="1608">
                  <c:v>82</c:v>
                </c:pt>
                <c:pt idx="1609">
                  <c:v>65</c:v>
                </c:pt>
                <c:pt idx="1610">
                  <c:v>50</c:v>
                </c:pt>
                <c:pt idx="1611">
                  <c:v>66</c:v>
                </c:pt>
                <c:pt idx="1612">
                  <c:v>69</c:v>
                </c:pt>
                <c:pt idx="1613">
                  <c:v>70</c:v>
                </c:pt>
                <c:pt idx="1614">
                  <c:v>53</c:v>
                </c:pt>
                <c:pt idx="1615">
                  <c:v>48</c:v>
                </c:pt>
                <c:pt idx="1616">
                  <c:v>67</c:v>
                </c:pt>
                <c:pt idx="1617">
                  <c:v>52</c:v>
                </c:pt>
                <c:pt idx="1618">
                  <c:v>48</c:v>
                </c:pt>
                <c:pt idx="1619">
                  <c:v>36</c:v>
                </c:pt>
                <c:pt idx="1620">
                  <c:v>32</c:v>
                </c:pt>
                <c:pt idx="1621">
                  <c:v>39</c:v>
                </c:pt>
                <c:pt idx="1622">
                  <c:v>29</c:v>
                </c:pt>
                <c:pt idx="1623">
                  <c:v>55</c:v>
                </c:pt>
                <c:pt idx="1624">
                  <c:v>40</c:v>
                </c:pt>
                <c:pt idx="1625">
                  <c:v>29</c:v>
                </c:pt>
                <c:pt idx="1626">
                  <c:v>45</c:v>
                </c:pt>
                <c:pt idx="1627">
                  <c:v>50</c:v>
                </c:pt>
                <c:pt idx="1628">
                  <c:v>42</c:v>
                </c:pt>
                <c:pt idx="1629">
                  <c:v>34</c:v>
                </c:pt>
                <c:pt idx="1630">
                  <c:v>39</c:v>
                </c:pt>
                <c:pt idx="1631">
                  <c:v>32</c:v>
                </c:pt>
                <c:pt idx="1632">
                  <c:v>34</c:v>
                </c:pt>
                <c:pt idx="1633">
                  <c:v>29</c:v>
                </c:pt>
                <c:pt idx="1634">
                  <c:v>31</c:v>
                </c:pt>
                <c:pt idx="1635">
                  <c:v>20</c:v>
                </c:pt>
                <c:pt idx="1636">
                  <c:v>36</c:v>
                </c:pt>
                <c:pt idx="1637">
                  <c:v>16</c:v>
                </c:pt>
                <c:pt idx="1638">
                  <c:v>23</c:v>
                </c:pt>
                <c:pt idx="1639">
                  <c:v>18</c:v>
                </c:pt>
                <c:pt idx="1640">
                  <c:v>33</c:v>
                </c:pt>
                <c:pt idx="1641">
                  <c:v>23</c:v>
                </c:pt>
                <c:pt idx="1642">
                  <c:v>31</c:v>
                </c:pt>
                <c:pt idx="1643">
                  <c:v>22</c:v>
                </c:pt>
                <c:pt idx="1644">
                  <c:v>26</c:v>
                </c:pt>
                <c:pt idx="1645">
                  <c:v>23</c:v>
                </c:pt>
                <c:pt idx="1646">
                  <c:v>31</c:v>
                </c:pt>
                <c:pt idx="1647">
                  <c:v>35</c:v>
                </c:pt>
                <c:pt idx="1648">
                  <c:v>18</c:v>
                </c:pt>
                <c:pt idx="1649">
                  <c:v>26</c:v>
                </c:pt>
                <c:pt idx="1650">
                  <c:v>30</c:v>
                </c:pt>
                <c:pt idx="1651">
                  <c:v>29</c:v>
                </c:pt>
                <c:pt idx="1652">
                  <c:v>26</c:v>
                </c:pt>
                <c:pt idx="1653">
                  <c:v>28</c:v>
                </c:pt>
                <c:pt idx="1654">
                  <c:v>18</c:v>
                </c:pt>
                <c:pt idx="1655">
                  <c:v>15</c:v>
                </c:pt>
                <c:pt idx="1656">
                  <c:v>17</c:v>
                </c:pt>
                <c:pt idx="1657">
                  <c:v>27</c:v>
                </c:pt>
                <c:pt idx="1658">
                  <c:v>4</c:v>
                </c:pt>
                <c:pt idx="1659">
                  <c:v>19</c:v>
                </c:pt>
                <c:pt idx="1660">
                  <c:v>18</c:v>
                </c:pt>
                <c:pt idx="1661">
                  <c:v>17</c:v>
                </c:pt>
                <c:pt idx="1662">
                  <c:v>9</c:v>
                </c:pt>
                <c:pt idx="1663">
                  <c:v>21</c:v>
                </c:pt>
                <c:pt idx="1664">
                  <c:v>17</c:v>
                </c:pt>
                <c:pt idx="1665">
                  <c:v>11</c:v>
                </c:pt>
                <c:pt idx="1666">
                  <c:v>16</c:v>
                </c:pt>
                <c:pt idx="1667">
                  <c:v>11</c:v>
                </c:pt>
                <c:pt idx="1668">
                  <c:v>18</c:v>
                </c:pt>
                <c:pt idx="1669">
                  <c:v>1</c:v>
                </c:pt>
                <c:pt idx="1670">
                  <c:v>2</c:v>
                </c:pt>
                <c:pt idx="1671">
                  <c:v>16</c:v>
                </c:pt>
                <c:pt idx="1672">
                  <c:v>70</c:v>
                </c:pt>
                <c:pt idx="1673">
                  <c:v>192</c:v>
                </c:pt>
                <c:pt idx="1674">
                  <c:v>128</c:v>
                </c:pt>
                <c:pt idx="1675">
                  <c:v>108</c:v>
                </c:pt>
                <c:pt idx="1676">
                  <c:v>39</c:v>
                </c:pt>
                <c:pt idx="1677">
                  <c:v>19</c:v>
                </c:pt>
                <c:pt idx="1678">
                  <c:v>47</c:v>
                </c:pt>
                <c:pt idx="1679">
                  <c:v>35</c:v>
                </c:pt>
                <c:pt idx="1680">
                  <c:v>22</c:v>
                </c:pt>
                <c:pt idx="1681">
                  <c:v>36</c:v>
                </c:pt>
                <c:pt idx="1682">
                  <c:v>25</c:v>
                </c:pt>
                <c:pt idx="1683">
                  <c:v>19</c:v>
                </c:pt>
                <c:pt idx="1684">
                  <c:v>10</c:v>
                </c:pt>
                <c:pt idx="1685">
                  <c:v>4</c:v>
                </c:pt>
                <c:pt idx="1686">
                  <c:v>4</c:v>
                </c:pt>
                <c:pt idx="1687">
                  <c:v>5</c:v>
                </c:pt>
                <c:pt idx="1688">
                  <c:v>9</c:v>
                </c:pt>
                <c:pt idx="1689">
                  <c:v>6</c:v>
                </c:pt>
                <c:pt idx="1690">
                  <c:v>6</c:v>
                </c:pt>
                <c:pt idx="1691">
                  <c:v>6</c:v>
                </c:pt>
                <c:pt idx="1692">
                  <c:v>3</c:v>
                </c:pt>
                <c:pt idx="1693">
                  <c:v>2</c:v>
                </c:pt>
                <c:pt idx="1694">
                  <c:v>1</c:v>
                </c:pt>
                <c:pt idx="1695">
                  <c:v>3</c:v>
                </c:pt>
                <c:pt idx="1696">
                  <c:v>2</c:v>
                </c:pt>
                <c:pt idx="1697">
                  <c:v>2</c:v>
                </c:pt>
                <c:pt idx="1698">
                  <c:v>2</c:v>
                </c:pt>
                <c:pt idx="1699">
                  <c:v>1</c:v>
                </c:pt>
                <c:pt idx="1700">
                  <c:v>2</c:v>
                </c:pt>
                <c:pt idx="1701">
                  <c:v>2</c:v>
                </c:pt>
                <c:pt idx="1702">
                  <c:v>0</c:v>
                </c:pt>
                <c:pt idx="1703">
                  <c:v>1</c:v>
                </c:pt>
                <c:pt idx="1704">
                  <c:v>1</c:v>
                </c:pt>
                <c:pt idx="1705">
                  <c:v>1</c:v>
                </c:pt>
                <c:pt idx="1706">
                  <c:v>2</c:v>
                </c:pt>
                <c:pt idx="1707">
                  <c:v>1</c:v>
                </c:pt>
                <c:pt idx="1708">
                  <c:v>1</c:v>
                </c:pt>
                <c:pt idx="1709">
                  <c:v>1</c:v>
                </c:pt>
                <c:pt idx="1710">
                  <c:v>1</c:v>
                </c:pt>
                <c:pt idx="1711">
                  <c:v>1</c:v>
                </c:pt>
                <c:pt idx="1712">
                  <c:v>0</c:v>
                </c:pt>
                <c:pt idx="1713">
                  <c:v>0</c:v>
                </c:pt>
                <c:pt idx="1714">
                  <c:v>0</c:v>
                </c:pt>
                <c:pt idx="1715">
                  <c:v>0</c:v>
                </c:pt>
                <c:pt idx="1716">
                  <c:v>0</c:v>
                </c:pt>
                <c:pt idx="1717">
                  <c:v>0</c:v>
                </c:pt>
                <c:pt idx="1718">
                  <c:v>0</c:v>
                </c:pt>
                <c:pt idx="1719">
                  <c:v>0</c:v>
                </c:pt>
                <c:pt idx="1720">
                  <c:v>0</c:v>
                </c:pt>
                <c:pt idx="1721">
                  <c:v>0</c:v>
                </c:pt>
                <c:pt idx="1722">
                  <c:v>0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0</c:v>
                </c:pt>
                <c:pt idx="1727">
                  <c:v>0</c:v>
                </c:pt>
                <c:pt idx="1728">
                  <c:v>0</c:v>
                </c:pt>
                <c:pt idx="1729">
                  <c:v>0</c:v>
                </c:pt>
                <c:pt idx="1730">
                  <c:v>0</c:v>
                </c:pt>
                <c:pt idx="1731">
                  <c:v>0</c:v>
                </c:pt>
                <c:pt idx="1732">
                  <c:v>220</c:v>
                </c:pt>
                <c:pt idx="1733">
                  <c:v>201</c:v>
                </c:pt>
                <c:pt idx="1734">
                  <c:v>241</c:v>
                </c:pt>
                <c:pt idx="1735">
                  <c:v>118</c:v>
                </c:pt>
                <c:pt idx="1736">
                  <c:v>116</c:v>
                </c:pt>
                <c:pt idx="1737">
                  <c:v>82</c:v>
                </c:pt>
                <c:pt idx="1738">
                  <c:v>84</c:v>
                </c:pt>
                <c:pt idx="1739">
                  <c:v>53</c:v>
                </c:pt>
                <c:pt idx="1740">
                  <c:v>80</c:v>
                </c:pt>
                <c:pt idx="1741">
                  <c:v>72</c:v>
                </c:pt>
                <c:pt idx="1742">
                  <c:v>43</c:v>
                </c:pt>
                <c:pt idx="1743">
                  <c:v>68</c:v>
                </c:pt>
                <c:pt idx="1744">
                  <c:v>70</c:v>
                </c:pt>
                <c:pt idx="1745">
                  <c:v>23</c:v>
                </c:pt>
                <c:pt idx="1746">
                  <c:v>67</c:v>
                </c:pt>
                <c:pt idx="1747">
                  <c:v>36</c:v>
                </c:pt>
                <c:pt idx="1748">
                  <c:v>66</c:v>
                </c:pt>
                <c:pt idx="1749">
                  <c:v>69</c:v>
                </c:pt>
                <c:pt idx="1750">
                  <c:v>30</c:v>
                </c:pt>
                <c:pt idx="1751">
                  <c:v>63</c:v>
                </c:pt>
                <c:pt idx="1752">
                  <c:v>54</c:v>
                </c:pt>
                <c:pt idx="1753">
                  <c:v>44</c:v>
                </c:pt>
                <c:pt idx="1754">
                  <c:v>48</c:v>
                </c:pt>
                <c:pt idx="1755">
                  <c:v>50</c:v>
                </c:pt>
                <c:pt idx="1756">
                  <c:v>17</c:v>
                </c:pt>
                <c:pt idx="1757">
                  <c:v>43</c:v>
                </c:pt>
                <c:pt idx="1758">
                  <c:v>35</c:v>
                </c:pt>
                <c:pt idx="1759">
                  <c:v>44</c:v>
                </c:pt>
                <c:pt idx="1760">
                  <c:v>39</c:v>
                </c:pt>
                <c:pt idx="1761">
                  <c:v>34</c:v>
                </c:pt>
                <c:pt idx="1762">
                  <c:v>40</c:v>
                </c:pt>
                <c:pt idx="1763">
                  <c:v>31</c:v>
                </c:pt>
                <c:pt idx="1764">
                  <c:v>23</c:v>
                </c:pt>
                <c:pt idx="1765">
                  <c:v>31</c:v>
                </c:pt>
                <c:pt idx="1766">
                  <c:v>27</c:v>
                </c:pt>
                <c:pt idx="1767">
                  <c:v>21</c:v>
                </c:pt>
                <c:pt idx="1768">
                  <c:v>21</c:v>
                </c:pt>
                <c:pt idx="1769">
                  <c:v>29</c:v>
                </c:pt>
                <c:pt idx="1770">
                  <c:v>24</c:v>
                </c:pt>
                <c:pt idx="1771">
                  <c:v>26</c:v>
                </c:pt>
                <c:pt idx="1772">
                  <c:v>17</c:v>
                </c:pt>
                <c:pt idx="1773">
                  <c:v>15</c:v>
                </c:pt>
                <c:pt idx="1774">
                  <c:v>5</c:v>
                </c:pt>
                <c:pt idx="1775">
                  <c:v>19</c:v>
                </c:pt>
                <c:pt idx="1776">
                  <c:v>16</c:v>
                </c:pt>
                <c:pt idx="1777">
                  <c:v>21</c:v>
                </c:pt>
                <c:pt idx="1778">
                  <c:v>11</c:v>
                </c:pt>
                <c:pt idx="1779">
                  <c:v>15</c:v>
                </c:pt>
                <c:pt idx="1780">
                  <c:v>12</c:v>
                </c:pt>
                <c:pt idx="1781">
                  <c:v>10</c:v>
                </c:pt>
                <c:pt idx="1782">
                  <c:v>3</c:v>
                </c:pt>
                <c:pt idx="1783">
                  <c:v>7</c:v>
                </c:pt>
                <c:pt idx="1784">
                  <c:v>10</c:v>
                </c:pt>
                <c:pt idx="1785">
                  <c:v>4</c:v>
                </c:pt>
                <c:pt idx="1786">
                  <c:v>8</c:v>
                </c:pt>
                <c:pt idx="1787">
                  <c:v>9</c:v>
                </c:pt>
                <c:pt idx="1788">
                  <c:v>12</c:v>
                </c:pt>
                <c:pt idx="1789">
                  <c:v>4</c:v>
                </c:pt>
                <c:pt idx="1790">
                  <c:v>4</c:v>
                </c:pt>
                <c:pt idx="1791">
                  <c:v>8</c:v>
                </c:pt>
                <c:pt idx="1792">
                  <c:v>2</c:v>
                </c:pt>
                <c:pt idx="1793">
                  <c:v>1</c:v>
                </c:pt>
                <c:pt idx="1794">
                  <c:v>5</c:v>
                </c:pt>
                <c:pt idx="1795">
                  <c:v>3</c:v>
                </c:pt>
                <c:pt idx="1796">
                  <c:v>4</c:v>
                </c:pt>
                <c:pt idx="1797">
                  <c:v>6</c:v>
                </c:pt>
                <c:pt idx="1798">
                  <c:v>4</c:v>
                </c:pt>
                <c:pt idx="1799">
                  <c:v>4</c:v>
                </c:pt>
                <c:pt idx="1800">
                  <c:v>1</c:v>
                </c:pt>
                <c:pt idx="1801">
                  <c:v>5</c:v>
                </c:pt>
                <c:pt idx="1802">
                  <c:v>5</c:v>
                </c:pt>
                <c:pt idx="1803">
                  <c:v>2</c:v>
                </c:pt>
                <c:pt idx="1804">
                  <c:v>1</c:v>
                </c:pt>
                <c:pt idx="1805">
                  <c:v>4</c:v>
                </c:pt>
                <c:pt idx="1806">
                  <c:v>1</c:v>
                </c:pt>
                <c:pt idx="1807">
                  <c:v>1</c:v>
                </c:pt>
                <c:pt idx="1808">
                  <c:v>1</c:v>
                </c:pt>
                <c:pt idx="1809">
                  <c:v>1</c:v>
                </c:pt>
                <c:pt idx="1810">
                  <c:v>2</c:v>
                </c:pt>
                <c:pt idx="1811">
                  <c:v>1</c:v>
                </c:pt>
                <c:pt idx="1812">
                  <c:v>1</c:v>
                </c:pt>
                <c:pt idx="1813">
                  <c:v>3</c:v>
                </c:pt>
                <c:pt idx="1814">
                  <c:v>3</c:v>
                </c:pt>
                <c:pt idx="1815">
                  <c:v>179</c:v>
                </c:pt>
                <c:pt idx="1816">
                  <c:v>124</c:v>
                </c:pt>
                <c:pt idx="1817">
                  <c:v>53</c:v>
                </c:pt>
                <c:pt idx="1818">
                  <c:v>38</c:v>
                </c:pt>
                <c:pt idx="1819">
                  <c:v>39</c:v>
                </c:pt>
                <c:pt idx="1820">
                  <c:v>25</c:v>
                </c:pt>
                <c:pt idx="1821">
                  <c:v>14</c:v>
                </c:pt>
                <c:pt idx="1822">
                  <c:v>8</c:v>
                </c:pt>
                <c:pt idx="1823">
                  <c:v>14</c:v>
                </c:pt>
                <c:pt idx="1824">
                  <c:v>10</c:v>
                </c:pt>
                <c:pt idx="1825">
                  <c:v>11</c:v>
                </c:pt>
                <c:pt idx="1826">
                  <c:v>4</c:v>
                </c:pt>
                <c:pt idx="1827">
                  <c:v>10</c:v>
                </c:pt>
                <c:pt idx="1828">
                  <c:v>6</c:v>
                </c:pt>
                <c:pt idx="1829">
                  <c:v>4</c:v>
                </c:pt>
                <c:pt idx="1830">
                  <c:v>4</c:v>
                </c:pt>
                <c:pt idx="1831">
                  <c:v>3</c:v>
                </c:pt>
                <c:pt idx="1832">
                  <c:v>1</c:v>
                </c:pt>
                <c:pt idx="1833">
                  <c:v>2</c:v>
                </c:pt>
                <c:pt idx="1834">
                  <c:v>2</c:v>
                </c:pt>
                <c:pt idx="1835">
                  <c:v>2</c:v>
                </c:pt>
                <c:pt idx="1836">
                  <c:v>2</c:v>
                </c:pt>
                <c:pt idx="1837">
                  <c:v>2</c:v>
                </c:pt>
                <c:pt idx="1838">
                  <c:v>2</c:v>
                </c:pt>
                <c:pt idx="1839">
                  <c:v>2</c:v>
                </c:pt>
                <c:pt idx="1840">
                  <c:v>1</c:v>
                </c:pt>
                <c:pt idx="1841">
                  <c:v>1</c:v>
                </c:pt>
                <c:pt idx="1842">
                  <c:v>1</c:v>
                </c:pt>
                <c:pt idx="1843">
                  <c:v>0</c:v>
                </c:pt>
                <c:pt idx="1844">
                  <c:v>0</c:v>
                </c:pt>
                <c:pt idx="1845">
                  <c:v>0</c:v>
                </c:pt>
                <c:pt idx="1846">
                  <c:v>0</c:v>
                </c:pt>
                <c:pt idx="1847">
                  <c:v>0</c:v>
                </c:pt>
                <c:pt idx="1848">
                  <c:v>0</c:v>
                </c:pt>
                <c:pt idx="1849">
                  <c:v>0</c:v>
                </c:pt>
                <c:pt idx="1850">
                  <c:v>0</c:v>
                </c:pt>
                <c:pt idx="1851">
                  <c:v>0</c:v>
                </c:pt>
                <c:pt idx="1852">
                  <c:v>0</c:v>
                </c:pt>
                <c:pt idx="1853">
                  <c:v>0</c:v>
                </c:pt>
                <c:pt idx="1854">
                  <c:v>0</c:v>
                </c:pt>
                <c:pt idx="1855">
                  <c:v>0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193</c:v>
                </c:pt>
                <c:pt idx="1864">
                  <c:v>141</c:v>
                </c:pt>
                <c:pt idx="1865">
                  <c:v>65</c:v>
                </c:pt>
                <c:pt idx="1866">
                  <c:v>60</c:v>
                </c:pt>
                <c:pt idx="1867">
                  <c:v>46</c:v>
                </c:pt>
                <c:pt idx="1868">
                  <c:v>51</c:v>
                </c:pt>
                <c:pt idx="1869">
                  <c:v>36</c:v>
                </c:pt>
                <c:pt idx="1870">
                  <c:v>35</c:v>
                </c:pt>
                <c:pt idx="1871">
                  <c:v>42</c:v>
                </c:pt>
                <c:pt idx="1872">
                  <c:v>52</c:v>
                </c:pt>
                <c:pt idx="1873">
                  <c:v>34</c:v>
                </c:pt>
                <c:pt idx="1874">
                  <c:v>44</c:v>
                </c:pt>
                <c:pt idx="1875">
                  <c:v>19</c:v>
                </c:pt>
                <c:pt idx="1876">
                  <c:v>29</c:v>
                </c:pt>
                <c:pt idx="1877">
                  <c:v>27</c:v>
                </c:pt>
                <c:pt idx="1878">
                  <c:v>24</c:v>
                </c:pt>
                <c:pt idx="1879">
                  <c:v>19</c:v>
                </c:pt>
                <c:pt idx="1880">
                  <c:v>24</c:v>
                </c:pt>
                <c:pt idx="1881">
                  <c:v>20</c:v>
                </c:pt>
                <c:pt idx="1882">
                  <c:v>22</c:v>
                </c:pt>
                <c:pt idx="1883">
                  <c:v>9</c:v>
                </c:pt>
                <c:pt idx="1884">
                  <c:v>20</c:v>
                </c:pt>
                <c:pt idx="1885">
                  <c:v>21</c:v>
                </c:pt>
                <c:pt idx="1886">
                  <c:v>14</c:v>
                </c:pt>
                <c:pt idx="1887">
                  <c:v>14</c:v>
                </c:pt>
                <c:pt idx="1888">
                  <c:v>12</c:v>
                </c:pt>
                <c:pt idx="1889">
                  <c:v>19</c:v>
                </c:pt>
                <c:pt idx="1890">
                  <c:v>12</c:v>
                </c:pt>
                <c:pt idx="1891">
                  <c:v>11</c:v>
                </c:pt>
                <c:pt idx="1892">
                  <c:v>14</c:v>
                </c:pt>
                <c:pt idx="1893">
                  <c:v>9</c:v>
                </c:pt>
                <c:pt idx="1894">
                  <c:v>4</c:v>
                </c:pt>
                <c:pt idx="1895">
                  <c:v>12</c:v>
                </c:pt>
                <c:pt idx="1896">
                  <c:v>11</c:v>
                </c:pt>
                <c:pt idx="1897">
                  <c:v>9</c:v>
                </c:pt>
                <c:pt idx="1898">
                  <c:v>5</c:v>
                </c:pt>
                <c:pt idx="1899">
                  <c:v>13</c:v>
                </c:pt>
                <c:pt idx="1900">
                  <c:v>3</c:v>
                </c:pt>
                <c:pt idx="1901">
                  <c:v>5</c:v>
                </c:pt>
                <c:pt idx="1902">
                  <c:v>10</c:v>
                </c:pt>
                <c:pt idx="1903">
                  <c:v>7</c:v>
                </c:pt>
                <c:pt idx="1904">
                  <c:v>2</c:v>
                </c:pt>
                <c:pt idx="1905">
                  <c:v>5</c:v>
                </c:pt>
                <c:pt idx="1906">
                  <c:v>6</c:v>
                </c:pt>
                <c:pt idx="1907">
                  <c:v>7</c:v>
                </c:pt>
                <c:pt idx="1908">
                  <c:v>9</c:v>
                </c:pt>
                <c:pt idx="1909">
                  <c:v>4</c:v>
                </c:pt>
                <c:pt idx="1910">
                  <c:v>9</c:v>
                </c:pt>
                <c:pt idx="1911">
                  <c:v>8</c:v>
                </c:pt>
                <c:pt idx="1912">
                  <c:v>9</c:v>
                </c:pt>
                <c:pt idx="1913">
                  <c:v>7</c:v>
                </c:pt>
                <c:pt idx="1914">
                  <c:v>7</c:v>
                </c:pt>
                <c:pt idx="1915">
                  <c:v>9</c:v>
                </c:pt>
                <c:pt idx="1916">
                  <c:v>6</c:v>
                </c:pt>
                <c:pt idx="1917">
                  <c:v>2</c:v>
                </c:pt>
                <c:pt idx="1918">
                  <c:v>7</c:v>
                </c:pt>
                <c:pt idx="1919">
                  <c:v>6</c:v>
                </c:pt>
                <c:pt idx="1920">
                  <c:v>6</c:v>
                </c:pt>
                <c:pt idx="1921">
                  <c:v>6</c:v>
                </c:pt>
                <c:pt idx="1922">
                  <c:v>1</c:v>
                </c:pt>
                <c:pt idx="1923">
                  <c:v>5</c:v>
                </c:pt>
                <c:pt idx="1924">
                  <c:v>7</c:v>
                </c:pt>
                <c:pt idx="1925">
                  <c:v>6</c:v>
                </c:pt>
                <c:pt idx="1926">
                  <c:v>4</c:v>
                </c:pt>
                <c:pt idx="1927">
                  <c:v>0</c:v>
                </c:pt>
                <c:pt idx="1928">
                  <c:v>3</c:v>
                </c:pt>
                <c:pt idx="1929">
                  <c:v>4</c:v>
                </c:pt>
                <c:pt idx="1930">
                  <c:v>3</c:v>
                </c:pt>
                <c:pt idx="1931">
                  <c:v>2</c:v>
                </c:pt>
                <c:pt idx="1932">
                  <c:v>3</c:v>
                </c:pt>
                <c:pt idx="1933">
                  <c:v>2</c:v>
                </c:pt>
                <c:pt idx="1934">
                  <c:v>2</c:v>
                </c:pt>
                <c:pt idx="1935">
                  <c:v>1</c:v>
                </c:pt>
                <c:pt idx="1936">
                  <c:v>1</c:v>
                </c:pt>
                <c:pt idx="1937">
                  <c:v>1</c:v>
                </c:pt>
                <c:pt idx="1938">
                  <c:v>2</c:v>
                </c:pt>
                <c:pt idx="1939">
                  <c:v>2</c:v>
                </c:pt>
                <c:pt idx="1940">
                  <c:v>2</c:v>
                </c:pt>
                <c:pt idx="1941">
                  <c:v>0</c:v>
                </c:pt>
                <c:pt idx="1942">
                  <c:v>3</c:v>
                </c:pt>
                <c:pt idx="1943">
                  <c:v>3</c:v>
                </c:pt>
                <c:pt idx="1944">
                  <c:v>2</c:v>
                </c:pt>
                <c:pt idx="1945">
                  <c:v>3</c:v>
                </c:pt>
                <c:pt idx="1946">
                  <c:v>4</c:v>
                </c:pt>
                <c:pt idx="1947">
                  <c:v>2</c:v>
                </c:pt>
                <c:pt idx="1948">
                  <c:v>2</c:v>
                </c:pt>
                <c:pt idx="1949">
                  <c:v>2</c:v>
                </c:pt>
                <c:pt idx="1950">
                  <c:v>2</c:v>
                </c:pt>
                <c:pt idx="1951">
                  <c:v>1</c:v>
                </c:pt>
                <c:pt idx="1952">
                  <c:v>2</c:v>
                </c:pt>
                <c:pt idx="1953">
                  <c:v>0</c:v>
                </c:pt>
                <c:pt idx="1954">
                  <c:v>1</c:v>
                </c:pt>
                <c:pt idx="1955">
                  <c:v>2</c:v>
                </c:pt>
                <c:pt idx="1956">
                  <c:v>2</c:v>
                </c:pt>
                <c:pt idx="1957">
                  <c:v>3</c:v>
                </c:pt>
                <c:pt idx="1958">
                  <c:v>3</c:v>
                </c:pt>
                <c:pt idx="1959">
                  <c:v>1</c:v>
                </c:pt>
                <c:pt idx="1960">
                  <c:v>2</c:v>
                </c:pt>
                <c:pt idx="1961">
                  <c:v>482</c:v>
                </c:pt>
                <c:pt idx="1962">
                  <c:v>197</c:v>
                </c:pt>
                <c:pt idx="1963">
                  <c:v>194</c:v>
                </c:pt>
                <c:pt idx="1964">
                  <c:v>142</c:v>
                </c:pt>
                <c:pt idx="1965">
                  <c:v>161</c:v>
                </c:pt>
                <c:pt idx="1966">
                  <c:v>92</c:v>
                </c:pt>
                <c:pt idx="1967">
                  <c:v>57</c:v>
                </c:pt>
                <c:pt idx="1968">
                  <c:v>75</c:v>
                </c:pt>
                <c:pt idx="1969">
                  <c:v>58</c:v>
                </c:pt>
                <c:pt idx="1970">
                  <c:v>55</c:v>
                </c:pt>
                <c:pt idx="1971">
                  <c:v>29</c:v>
                </c:pt>
                <c:pt idx="1972">
                  <c:v>46</c:v>
                </c:pt>
                <c:pt idx="1973">
                  <c:v>20</c:v>
                </c:pt>
                <c:pt idx="1974">
                  <c:v>46</c:v>
                </c:pt>
                <c:pt idx="1975">
                  <c:v>31</c:v>
                </c:pt>
                <c:pt idx="1976">
                  <c:v>26</c:v>
                </c:pt>
                <c:pt idx="1977">
                  <c:v>24</c:v>
                </c:pt>
                <c:pt idx="1978">
                  <c:v>26</c:v>
                </c:pt>
                <c:pt idx="1979">
                  <c:v>16</c:v>
                </c:pt>
                <c:pt idx="1980">
                  <c:v>13</c:v>
                </c:pt>
                <c:pt idx="1981">
                  <c:v>17</c:v>
                </c:pt>
                <c:pt idx="1982">
                  <c:v>6</c:v>
                </c:pt>
                <c:pt idx="1983">
                  <c:v>7</c:v>
                </c:pt>
                <c:pt idx="1984">
                  <c:v>10</c:v>
                </c:pt>
                <c:pt idx="1985">
                  <c:v>7</c:v>
                </c:pt>
                <c:pt idx="1986">
                  <c:v>3</c:v>
                </c:pt>
                <c:pt idx="1987">
                  <c:v>4</c:v>
                </c:pt>
                <c:pt idx="1988">
                  <c:v>5</c:v>
                </c:pt>
                <c:pt idx="1989">
                  <c:v>5</c:v>
                </c:pt>
                <c:pt idx="1990">
                  <c:v>3</c:v>
                </c:pt>
                <c:pt idx="1991">
                  <c:v>1</c:v>
                </c:pt>
                <c:pt idx="1992">
                  <c:v>1</c:v>
                </c:pt>
                <c:pt idx="1993">
                  <c:v>1</c:v>
                </c:pt>
                <c:pt idx="1994">
                  <c:v>3</c:v>
                </c:pt>
                <c:pt idx="1995">
                  <c:v>1</c:v>
                </c:pt>
                <c:pt idx="1996">
                  <c:v>1</c:v>
                </c:pt>
                <c:pt idx="1997">
                  <c:v>1</c:v>
                </c:pt>
                <c:pt idx="1998">
                  <c:v>0</c:v>
                </c:pt>
                <c:pt idx="1999">
                  <c:v>0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2</c:v>
                </c:pt>
                <c:pt idx="2009">
                  <c:v>9</c:v>
                </c:pt>
                <c:pt idx="2010">
                  <c:v>1</c:v>
                </c:pt>
                <c:pt idx="2011">
                  <c:v>1</c:v>
                </c:pt>
                <c:pt idx="2012">
                  <c:v>0</c:v>
                </c:pt>
                <c:pt idx="2013">
                  <c:v>1</c:v>
                </c:pt>
                <c:pt idx="2014">
                  <c:v>979</c:v>
                </c:pt>
                <c:pt idx="2015">
                  <c:v>752</c:v>
                </c:pt>
                <c:pt idx="2016">
                  <c:v>533</c:v>
                </c:pt>
                <c:pt idx="2017">
                  <c:v>426</c:v>
                </c:pt>
                <c:pt idx="2018">
                  <c:v>443</c:v>
                </c:pt>
                <c:pt idx="2019">
                  <c:v>491</c:v>
                </c:pt>
                <c:pt idx="2020">
                  <c:v>399</c:v>
                </c:pt>
                <c:pt idx="2021">
                  <c:v>372</c:v>
                </c:pt>
                <c:pt idx="2022">
                  <c:v>550</c:v>
                </c:pt>
                <c:pt idx="2023">
                  <c:v>458</c:v>
                </c:pt>
                <c:pt idx="2024">
                  <c:v>400</c:v>
                </c:pt>
                <c:pt idx="2025">
                  <c:v>327</c:v>
                </c:pt>
                <c:pt idx="2026">
                  <c:v>335</c:v>
                </c:pt>
                <c:pt idx="2027">
                  <c:v>374</c:v>
                </c:pt>
                <c:pt idx="2028">
                  <c:v>261</c:v>
                </c:pt>
                <c:pt idx="2029">
                  <c:v>321</c:v>
                </c:pt>
                <c:pt idx="2030">
                  <c:v>271</c:v>
                </c:pt>
                <c:pt idx="2031">
                  <c:v>294</c:v>
                </c:pt>
                <c:pt idx="2032">
                  <c:v>248</c:v>
                </c:pt>
                <c:pt idx="2033">
                  <c:v>357</c:v>
                </c:pt>
                <c:pt idx="2034">
                  <c:v>281</c:v>
                </c:pt>
                <c:pt idx="2035">
                  <c:v>268</c:v>
                </c:pt>
                <c:pt idx="2036">
                  <c:v>226</c:v>
                </c:pt>
                <c:pt idx="2037">
                  <c:v>371</c:v>
                </c:pt>
                <c:pt idx="2038">
                  <c:v>375</c:v>
                </c:pt>
                <c:pt idx="2039">
                  <c:v>316</c:v>
                </c:pt>
                <c:pt idx="2040">
                  <c:v>272</c:v>
                </c:pt>
                <c:pt idx="2041">
                  <c:v>239</c:v>
                </c:pt>
                <c:pt idx="2042">
                  <c:v>210</c:v>
                </c:pt>
                <c:pt idx="2043">
                  <c:v>308</c:v>
                </c:pt>
                <c:pt idx="2044">
                  <c:v>271</c:v>
                </c:pt>
                <c:pt idx="2045">
                  <c:v>284</c:v>
                </c:pt>
                <c:pt idx="2046">
                  <c:v>250</c:v>
                </c:pt>
                <c:pt idx="2047">
                  <c:v>165</c:v>
                </c:pt>
                <c:pt idx="2048">
                  <c:v>275</c:v>
                </c:pt>
                <c:pt idx="2049">
                  <c:v>175</c:v>
                </c:pt>
                <c:pt idx="2050">
                  <c:v>255</c:v>
                </c:pt>
                <c:pt idx="2051">
                  <c:v>262</c:v>
                </c:pt>
                <c:pt idx="2052">
                  <c:v>276</c:v>
                </c:pt>
                <c:pt idx="2053">
                  <c:v>241</c:v>
                </c:pt>
                <c:pt idx="2054">
                  <c:v>232</c:v>
                </c:pt>
                <c:pt idx="2055">
                  <c:v>1850</c:v>
                </c:pt>
                <c:pt idx="2056">
                  <c:v>924</c:v>
                </c:pt>
                <c:pt idx="2057">
                  <c:v>549</c:v>
                </c:pt>
                <c:pt idx="2058">
                  <c:v>21</c:v>
                </c:pt>
                <c:pt idx="2059">
                  <c:v>30</c:v>
                </c:pt>
                <c:pt idx="2060">
                  <c:v>65</c:v>
                </c:pt>
                <c:pt idx="2061">
                  <c:v>82</c:v>
                </c:pt>
                <c:pt idx="2062">
                  <c:v>17</c:v>
                </c:pt>
                <c:pt idx="2063">
                  <c:v>93</c:v>
                </c:pt>
                <c:pt idx="2064">
                  <c:v>48</c:v>
                </c:pt>
                <c:pt idx="2065">
                  <c:v>178</c:v>
                </c:pt>
                <c:pt idx="2066">
                  <c:v>188</c:v>
                </c:pt>
                <c:pt idx="2067">
                  <c:v>166</c:v>
                </c:pt>
                <c:pt idx="2068">
                  <c:v>198</c:v>
                </c:pt>
                <c:pt idx="2069">
                  <c:v>94</c:v>
                </c:pt>
                <c:pt idx="2070">
                  <c:v>24</c:v>
                </c:pt>
                <c:pt idx="2071">
                  <c:v>183</c:v>
                </c:pt>
                <c:pt idx="2072">
                  <c:v>296</c:v>
                </c:pt>
                <c:pt idx="2073">
                  <c:v>100</c:v>
                </c:pt>
                <c:pt idx="2074">
                  <c:v>56</c:v>
                </c:pt>
                <c:pt idx="2075">
                  <c:v>28</c:v>
                </c:pt>
                <c:pt idx="2076">
                  <c:v>100</c:v>
                </c:pt>
                <c:pt idx="2077">
                  <c:v>18</c:v>
                </c:pt>
                <c:pt idx="2078">
                  <c:v>44</c:v>
                </c:pt>
                <c:pt idx="2079">
                  <c:v>38</c:v>
                </c:pt>
                <c:pt idx="2080">
                  <c:v>32</c:v>
                </c:pt>
                <c:pt idx="2081">
                  <c:v>23</c:v>
                </c:pt>
                <c:pt idx="2082">
                  <c:v>8</c:v>
                </c:pt>
                <c:pt idx="2083">
                  <c:v>0</c:v>
                </c:pt>
                <c:pt idx="2084">
                  <c:v>340</c:v>
                </c:pt>
                <c:pt idx="2085">
                  <c:v>235</c:v>
                </c:pt>
                <c:pt idx="2086">
                  <c:v>72</c:v>
                </c:pt>
                <c:pt idx="2087">
                  <c:v>28</c:v>
                </c:pt>
                <c:pt idx="2088">
                  <c:v>12</c:v>
                </c:pt>
                <c:pt idx="2089">
                  <c:v>239</c:v>
                </c:pt>
                <c:pt idx="2090">
                  <c:v>123</c:v>
                </c:pt>
                <c:pt idx="2091">
                  <c:v>1181</c:v>
                </c:pt>
                <c:pt idx="2092">
                  <c:v>131</c:v>
                </c:pt>
                <c:pt idx="2093">
                  <c:v>469</c:v>
                </c:pt>
                <c:pt idx="2094">
                  <c:v>353</c:v>
                </c:pt>
                <c:pt idx="2095">
                  <c:v>651</c:v>
                </c:pt>
                <c:pt idx="2096">
                  <c:v>813</c:v>
                </c:pt>
                <c:pt idx="2097">
                  <c:v>612</c:v>
                </c:pt>
                <c:pt idx="2098">
                  <c:v>447</c:v>
                </c:pt>
                <c:pt idx="2099">
                  <c:v>215</c:v>
                </c:pt>
                <c:pt idx="2100">
                  <c:v>336</c:v>
                </c:pt>
                <c:pt idx="2101">
                  <c:v>165</c:v>
                </c:pt>
                <c:pt idx="2102">
                  <c:v>187</c:v>
                </c:pt>
                <c:pt idx="2103">
                  <c:v>165</c:v>
                </c:pt>
                <c:pt idx="2104">
                  <c:v>89</c:v>
                </c:pt>
                <c:pt idx="2105">
                  <c:v>113</c:v>
                </c:pt>
                <c:pt idx="2106">
                  <c:v>84</c:v>
                </c:pt>
                <c:pt idx="2107">
                  <c:v>13</c:v>
                </c:pt>
                <c:pt idx="2108">
                  <c:v>747</c:v>
                </c:pt>
                <c:pt idx="2109">
                  <c:v>708</c:v>
                </c:pt>
                <c:pt idx="2110">
                  <c:v>559</c:v>
                </c:pt>
                <c:pt idx="2111">
                  <c:v>519</c:v>
                </c:pt>
                <c:pt idx="2112">
                  <c:v>474</c:v>
                </c:pt>
                <c:pt idx="2113">
                  <c:v>497</c:v>
                </c:pt>
                <c:pt idx="2114">
                  <c:v>455</c:v>
                </c:pt>
                <c:pt idx="2115">
                  <c:v>335</c:v>
                </c:pt>
                <c:pt idx="2116">
                  <c:v>226</c:v>
                </c:pt>
                <c:pt idx="2117">
                  <c:v>146</c:v>
                </c:pt>
                <c:pt idx="2118">
                  <c:v>622</c:v>
                </c:pt>
                <c:pt idx="2119">
                  <c:v>514</c:v>
                </c:pt>
                <c:pt idx="2120">
                  <c:v>424</c:v>
                </c:pt>
                <c:pt idx="2121">
                  <c:v>510</c:v>
                </c:pt>
                <c:pt idx="2122">
                  <c:v>390</c:v>
                </c:pt>
                <c:pt idx="2123">
                  <c:v>410</c:v>
                </c:pt>
                <c:pt idx="2124">
                  <c:v>471</c:v>
                </c:pt>
                <c:pt idx="2125">
                  <c:v>403</c:v>
                </c:pt>
                <c:pt idx="2126">
                  <c:v>182</c:v>
                </c:pt>
                <c:pt idx="2127">
                  <c:v>135</c:v>
                </c:pt>
                <c:pt idx="2128">
                  <c:v>53</c:v>
                </c:pt>
                <c:pt idx="2129">
                  <c:v>861</c:v>
                </c:pt>
                <c:pt idx="2130">
                  <c:v>854</c:v>
                </c:pt>
                <c:pt idx="2131">
                  <c:v>995</c:v>
                </c:pt>
                <c:pt idx="2132">
                  <c:v>781</c:v>
                </c:pt>
                <c:pt idx="2133">
                  <c:v>457</c:v>
                </c:pt>
                <c:pt idx="2134">
                  <c:v>461</c:v>
                </c:pt>
                <c:pt idx="2135">
                  <c:v>87</c:v>
                </c:pt>
                <c:pt idx="2136">
                  <c:v>243</c:v>
                </c:pt>
                <c:pt idx="2137">
                  <c:v>146</c:v>
                </c:pt>
                <c:pt idx="2138">
                  <c:v>857</c:v>
                </c:pt>
                <c:pt idx="2139">
                  <c:v>507</c:v>
                </c:pt>
                <c:pt idx="2140">
                  <c:v>259</c:v>
                </c:pt>
                <c:pt idx="2141">
                  <c:v>155</c:v>
                </c:pt>
                <c:pt idx="2142">
                  <c:v>737</c:v>
                </c:pt>
                <c:pt idx="2143">
                  <c:v>403</c:v>
                </c:pt>
                <c:pt idx="2144">
                  <c:v>380</c:v>
                </c:pt>
                <c:pt idx="2145">
                  <c:v>392</c:v>
                </c:pt>
                <c:pt idx="2146">
                  <c:v>539</c:v>
                </c:pt>
                <c:pt idx="2147">
                  <c:v>348</c:v>
                </c:pt>
                <c:pt idx="2148">
                  <c:v>725</c:v>
                </c:pt>
                <c:pt idx="2149">
                  <c:v>627</c:v>
                </c:pt>
                <c:pt idx="2150">
                  <c:v>601</c:v>
                </c:pt>
                <c:pt idx="2151">
                  <c:v>565</c:v>
                </c:pt>
                <c:pt idx="2152">
                  <c:v>412</c:v>
                </c:pt>
                <c:pt idx="2153">
                  <c:v>338</c:v>
                </c:pt>
                <c:pt idx="2154">
                  <c:v>128</c:v>
                </c:pt>
                <c:pt idx="2155">
                  <c:v>308</c:v>
                </c:pt>
                <c:pt idx="2156">
                  <c:v>277</c:v>
                </c:pt>
                <c:pt idx="2157">
                  <c:v>219</c:v>
                </c:pt>
                <c:pt idx="2158">
                  <c:v>677</c:v>
                </c:pt>
                <c:pt idx="2159">
                  <c:v>725</c:v>
                </c:pt>
                <c:pt idx="2160">
                  <c:v>730</c:v>
                </c:pt>
                <c:pt idx="2161">
                  <c:v>513</c:v>
                </c:pt>
                <c:pt idx="2162">
                  <c:v>104</c:v>
                </c:pt>
                <c:pt idx="2163">
                  <c:v>72</c:v>
                </c:pt>
                <c:pt idx="2164">
                  <c:v>303</c:v>
                </c:pt>
                <c:pt idx="2165">
                  <c:v>111</c:v>
                </c:pt>
                <c:pt idx="2166">
                  <c:v>307</c:v>
                </c:pt>
                <c:pt idx="2167">
                  <c:v>522</c:v>
                </c:pt>
                <c:pt idx="2168">
                  <c:v>532</c:v>
                </c:pt>
                <c:pt idx="2169">
                  <c:v>242</c:v>
                </c:pt>
                <c:pt idx="2170">
                  <c:v>658</c:v>
                </c:pt>
                <c:pt idx="2171">
                  <c:v>529</c:v>
                </c:pt>
                <c:pt idx="2172">
                  <c:v>207</c:v>
                </c:pt>
                <c:pt idx="2173">
                  <c:v>355</c:v>
                </c:pt>
                <c:pt idx="2174">
                  <c:v>426</c:v>
                </c:pt>
                <c:pt idx="2175">
                  <c:v>286</c:v>
                </c:pt>
                <c:pt idx="2176">
                  <c:v>160</c:v>
                </c:pt>
                <c:pt idx="2177">
                  <c:v>287</c:v>
                </c:pt>
                <c:pt idx="2178">
                  <c:v>203</c:v>
                </c:pt>
                <c:pt idx="2179">
                  <c:v>211</c:v>
                </c:pt>
                <c:pt idx="2180">
                  <c:v>171</c:v>
                </c:pt>
                <c:pt idx="2181">
                  <c:v>242</c:v>
                </c:pt>
                <c:pt idx="2182">
                  <c:v>178</c:v>
                </c:pt>
                <c:pt idx="2183">
                  <c:v>169</c:v>
                </c:pt>
                <c:pt idx="2184">
                  <c:v>194</c:v>
                </c:pt>
                <c:pt idx="2185">
                  <c:v>275</c:v>
                </c:pt>
                <c:pt idx="2186">
                  <c:v>169</c:v>
                </c:pt>
                <c:pt idx="2187">
                  <c:v>157</c:v>
                </c:pt>
                <c:pt idx="2188">
                  <c:v>83</c:v>
                </c:pt>
                <c:pt idx="2189">
                  <c:v>170</c:v>
                </c:pt>
                <c:pt idx="2190">
                  <c:v>78</c:v>
                </c:pt>
                <c:pt idx="2191">
                  <c:v>153</c:v>
                </c:pt>
                <c:pt idx="2192">
                  <c:v>136</c:v>
                </c:pt>
                <c:pt idx="2193">
                  <c:v>119</c:v>
                </c:pt>
                <c:pt idx="2194">
                  <c:v>146</c:v>
                </c:pt>
                <c:pt idx="2195">
                  <c:v>123</c:v>
                </c:pt>
                <c:pt idx="2196">
                  <c:v>100</c:v>
                </c:pt>
                <c:pt idx="2197">
                  <c:v>153</c:v>
                </c:pt>
                <c:pt idx="2198">
                  <c:v>203</c:v>
                </c:pt>
                <c:pt idx="2199">
                  <c:v>112</c:v>
                </c:pt>
                <c:pt idx="2200">
                  <c:v>109</c:v>
                </c:pt>
                <c:pt idx="2201">
                  <c:v>76</c:v>
                </c:pt>
                <c:pt idx="2202">
                  <c:v>86</c:v>
                </c:pt>
                <c:pt idx="2203">
                  <c:v>73</c:v>
                </c:pt>
                <c:pt idx="2204">
                  <c:v>98</c:v>
                </c:pt>
                <c:pt idx="2205">
                  <c:v>100</c:v>
                </c:pt>
                <c:pt idx="2206">
                  <c:v>103</c:v>
                </c:pt>
                <c:pt idx="2207">
                  <c:v>122</c:v>
                </c:pt>
                <c:pt idx="2208">
                  <c:v>108</c:v>
                </c:pt>
                <c:pt idx="2209">
                  <c:v>91</c:v>
                </c:pt>
                <c:pt idx="2210">
                  <c:v>74</c:v>
                </c:pt>
                <c:pt idx="2211">
                  <c:v>98</c:v>
                </c:pt>
                <c:pt idx="2212">
                  <c:v>77</c:v>
                </c:pt>
                <c:pt idx="2213">
                  <c:v>27</c:v>
                </c:pt>
                <c:pt idx="2214">
                  <c:v>71</c:v>
                </c:pt>
                <c:pt idx="2215">
                  <c:v>43</c:v>
                </c:pt>
                <c:pt idx="2216">
                  <c:v>82</c:v>
                </c:pt>
                <c:pt idx="2217">
                  <c:v>71</c:v>
                </c:pt>
                <c:pt idx="2218">
                  <c:v>55</c:v>
                </c:pt>
                <c:pt idx="2219">
                  <c:v>77</c:v>
                </c:pt>
                <c:pt idx="2220">
                  <c:v>65</c:v>
                </c:pt>
                <c:pt idx="2221">
                  <c:v>77</c:v>
                </c:pt>
                <c:pt idx="2222">
                  <c:v>65</c:v>
                </c:pt>
                <c:pt idx="2223">
                  <c:v>82</c:v>
                </c:pt>
                <c:pt idx="2224">
                  <c:v>68</c:v>
                </c:pt>
                <c:pt idx="2225">
                  <c:v>68</c:v>
                </c:pt>
                <c:pt idx="2226">
                  <c:v>69</c:v>
                </c:pt>
                <c:pt idx="2227">
                  <c:v>61</c:v>
                </c:pt>
                <c:pt idx="2228">
                  <c:v>48</c:v>
                </c:pt>
                <c:pt idx="2229">
                  <c:v>59</c:v>
                </c:pt>
                <c:pt idx="2230">
                  <c:v>77</c:v>
                </c:pt>
                <c:pt idx="2231">
                  <c:v>61</c:v>
                </c:pt>
                <c:pt idx="2232">
                  <c:v>75</c:v>
                </c:pt>
                <c:pt idx="2233">
                  <c:v>60</c:v>
                </c:pt>
                <c:pt idx="2234">
                  <c:v>47</c:v>
                </c:pt>
                <c:pt idx="2235">
                  <c:v>63</c:v>
                </c:pt>
                <c:pt idx="2236">
                  <c:v>71</c:v>
                </c:pt>
                <c:pt idx="2237">
                  <c:v>50</c:v>
                </c:pt>
                <c:pt idx="2238">
                  <c:v>46</c:v>
                </c:pt>
                <c:pt idx="2239">
                  <c:v>63</c:v>
                </c:pt>
                <c:pt idx="2240">
                  <c:v>63</c:v>
                </c:pt>
                <c:pt idx="2241">
                  <c:v>54</c:v>
                </c:pt>
                <c:pt idx="2242">
                  <c:v>30</c:v>
                </c:pt>
                <c:pt idx="2243">
                  <c:v>51</c:v>
                </c:pt>
                <c:pt idx="2244">
                  <c:v>55</c:v>
                </c:pt>
                <c:pt idx="2245">
                  <c:v>67</c:v>
                </c:pt>
                <c:pt idx="2246">
                  <c:v>38</c:v>
                </c:pt>
                <c:pt idx="2247">
                  <c:v>6</c:v>
                </c:pt>
                <c:pt idx="2248">
                  <c:v>53</c:v>
                </c:pt>
                <c:pt idx="2249">
                  <c:v>47</c:v>
                </c:pt>
                <c:pt idx="2250">
                  <c:v>82</c:v>
                </c:pt>
                <c:pt idx="2251">
                  <c:v>47</c:v>
                </c:pt>
                <c:pt idx="2252">
                  <c:v>63</c:v>
                </c:pt>
                <c:pt idx="2253">
                  <c:v>31</c:v>
                </c:pt>
                <c:pt idx="2254">
                  <c:v>52</c:v>
                </c:pt>
                <c:pt idx="2255">
                  <c:v>52</c:v>
                </c:pt>
                <c:pt idx="2256">
                  <c:v>46</c:v>
                </c:pt>
                <c:pt idx="2257">
                  <c:v>42</c:v>
                </c:pt>
                <c:pt idx="2258">
                  <c:v>41</c:v>
                </c:pt>
                <c:pt idx="2259">
                  <c:v>12</c:v>
                </c:pt>
                <c:pt idx="2260">
                  <c:v>32</c:v>
                </c:pt>
                <c:pt idx="2261">
                  <c:v>46</c:v>
                </c:pt>
                <c:pt idx="2262">
                  <c:v>41</c:v>
                </c:pt>
                <c:pt idx="2263">
                  <c:v>37</c:v>
                </c:pt>
                <c:pt idx="2264">
                  <c:v>52</c:v>
                </c:pt>
                <c:pt idx="2265">
                  <c:v>39</c:v>
                </c:pt>
                <c:pt idx="2266">
                  <c:v>39</c:v>
                </c:pt>
                <c:pt idx="2267">
                  <c:v>51</c:v>
                </c:pt>
                <c:pt idx="2268">
                  <c:v>45</c:v>
                </c:pt>
                <c:pt idx="2269">
                  <c:v>35</c:v>
                </c:pt>
                <c:pt idx="2270">
                  <c:v>33</c:v>
                </c:pt>
                <c:pt idx="2271">
                  <c:v>35</c:v>
                </c:pt>
                <c:pt idx="2272">
                  <c:v>47</c:v>
                </c:pt>
                <c:pt idx="2273">
                  <c:v>18</c:v>
                </c:pt>
                <c:pt idx="2274">
                  <c:v>24</c:v>
                </c:pt>
                <c:pt idx="2275">
                  <c:v>48</c:v>
                </c:pt>
                <c:pt idx="2276">
                  <c:v>36</c:v>
                </c:pt>
                <c:pt idx="2277">
                  <c:v>29</c:v>
                </c:pt>
                <c:pt idx="2278">
                  <c:v>18</c:v>
                </c:pt>
                <c:pt idx="2279">
                  <c:v>29</c:v>
                </c:pt>
                <c:pt idx="2280">
                  <c:v>32</c:v>
                </c:pt>
                <c:pt idx="2281">
                  <c:v>23</c:v>
                </c:pt>
                <c:pt idx="2282">
                  <c:v>19</c:v>
                </c:pt>
                <c:pt idx="2283">
                  <c:v>26</c:v>
                </c:pt>
                <c:pt idx="2284">
                  <c:v>14</c:v>
                </c:pt>
                <c:pt idx="2285">
                  <c:v>23</c:v>
                </c:pt>
                <c:pt idx="2286">
                  <c:v>17</c:v>
                </c:pt>
                <c:pt idx="2287">
                  <c:v>6</c:v>
                </c:pt>
                <c:pt idx="2288">
                  <c:v>42</c:v>
                </c:pt>
                <c:pt idx="2289">
                  <c:v>29</c:v>
                </c:pt>
                <c:pt idx="2290">
                  <c:v>46</c:v>
                </c:pt>
                <c:pt idx="2291">
                  <c:v>25</c:v>
                </c:pt>
                <c:pt idx="2292">
                  <c:v>33</c:v>
                </c:pt>
                <c:pt idx="2293">
                  <c:v>20</c:v>
                </c:pt>
                <c:pt idx="2294">
                  <c:v>23</c:v>
                </c:pt>
                <c:pt idx="2295">
                  <c:v>6</c:v>
                </c:pt>
                <c:pt idx="2296">
                  <c:v>8</c:v>
                </c:pt>
                <c:pt idx="2297">
                  <c:v>11</c:v>
                </c:pt>
                <c:pt idx="2298">
                  <c:v>13</c:v>
                </c:pt>
                <c:pt idx="2299">
                  <c:v>2</c:v>
                </c:pt>
                <c:pt idx="2300">
                  <c:v>2</c:v>
                </c:pt>
                <c:pt idx="2301">
                  <c:v>1</c:v>
                </c:pt>
                <c:pt idx="2302">
                  <c:v>1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29</c:v>
                </c:pt>
                <c:pt idx="2308">
                  <c:v>41</c:v>
                </c:pt>
                <c:pt idx="2309">
                  <c:v>39</c:v>
                </c:pt>
                <c:pt idx="2310">
                  <c:v>15</c:v>
                </c:pt>
                <c:pt idx="2311">
                  <c:v>8</c:v>
                </c:pt>
                <c:pt idx="2312">
                  <c:v>15</c:v>
                </c:pt>
                <c:pt idx="2313">
                  <c:v>18</c:v>
                </c:pt>
                <c:pt idx="2314">
                  <c:v>14</c:v>
                </c:pt>
                <c:pt idx="2315">
                  <c:v>16</c:v>
                </c:pt>
                <c:pt idx="2316">
                  <c:v>14</c:v>
                </c:pt>
                <c:pt idx="2317">
                  <c:v>12</c:v>
                </c:pt>
                <c:pt idx="2318">
                  <c:v>18</c:v>
                </c:pt>
                <c:pt idx="2319">
                  <c:v>18</c:v>
                </c:pt>
                <c:pt idx="2320">
                  <c:v>5</c:v>
                </c:pt>
                <c:pt idx="2321">
                  <c:v>9</c:v>
                </c:pt>
                <c:pt idx="2322">
                  <c:v>16</c:v>
                </c:pt>
                <c:pt idx="2323">
                  <c:v>9</c:v>
                </c:pt>
                <c:pt idx="2324">
                  <c:v>7</c:v>
                </c:pt>
                <c:pt idx="2325">
                  <c:v>6</c:v>
                </c:pt>
                <c:pt idx="2326">
                  <c:v>12</c:v>
                </c:pt>
                <c:pt idx="2327">
                  <c:v>5</c:v>
                </c:pt>
                <c:pt idx="2328">
                  <c:v>11</c:v>
                </c:pt>
                <c:pt idx="2329">
                  <c:v>11</c:v>
                </c:pt>
                <c:pt idx="2330">
                  <c:v>8</c:v>
                </c:pt>
                <c:pt idx="2331">
                  <c:v>15</c:v>
                </c:pt>
                <c:pt idx="2332">
                  <c:v>13</c:v>
                </c:pt>
                <c:pt idx="2333">
                  <c:v>6</c:v>
                </c:pt>
                <c:pt idx="2334">
                  <c:v>4</c:v>
                </c:pt>
                <c:pt idx="2335">
                  <c:v>3</c:v>
                </c:pt>
                <c:pt idx="2336">
                  <c:v>6</c:v>
                </c:pt>
                <c:pt idx="2337">
                  <c:v>12</c:v>
                </c:pt>
                <c:pt idx="2338">
                  <c:v>5</c:v>
                </c:pt>
                <c:pt idx="2339">
                  <c:v>3</c:v>
                </c:pt>
                <c:pt idx="2340">
                  <c:v>5</c:v>
                </c:pt>
                <c:pt idx="2341">
                  <c:v>12</c:v>
                </c:pt>
                <c:pt idx="2342">
                  <c:v>9</c:v>
                </c:pt>
                <c:pt idx="2343">
                  <c:v>10</c:v>
                </c:pt>
                <c:pt idx="2344">
                  <c:v>9</c:v>
                </c:pt>
                <c:pt idx="2345">
                  <c:v>4</c:v>
                </c:pt>
                <c:pt idx="2346">
                  <c:v>8</c:v>
                </c:pt>
                <c:pt idx="2347">
                  <c:v>4</c:v>
                </c:pt>
                <c:pt idx="2348">
                  <c:v>6</c:v>
                </c:pt>
                <c:pt idx="2349">
                  <c:v>4</c:v>
                </c:pt>
                <c:pt idx="2350">
                  <c:v>6</c:v>
                </c:pt>
                <c:pt idx="2351">
                  <c:v>4</c:v>
                </c:pt>
                <c:pt idx="2352">
                  <c:v>0</c:v>
                </c:pt>
                <c:pt idx="2353">
                  <c:v>2</c:v>
                </c:pt>
                <c:pt idx="2354">
                  <c:v>3</c:v>
                </c:pt>
                <c:pt idx="2355">
                  <c:v>3</c:v>
                </c:pt>
                <c:pt idx="2356">
                  <c:v>3</c:v>
                </c:pt>
                <c:pt idx="2357">
                  <c:v>4</c:v>
                </c:pt>
                <c:pt idx="2358">
                  <c:v>3</c:v>
                </c:pt>
                <c:pt idx="2359">
                  <c:v>3</c:v>
                </c:pt>
                <c:pt idx="2360">
                  <c:v>2</c:v>
                </c:pt>
                <c:pt idx="2361">
                  <c:v>3</c:v>
                </c:pt>
                <c:pt idx="2362">
                  <c:v>3</c:v>
                </c:pt>
                <c:pt idx="2363">
                  <c:v>2</c:v>
                </c:pt>
                <c:pt idx="2364">
                  <c:v>3</c:v>
                </c:pt>
                <c:pt idx="2365">
                  <c:v>1</c:v>
                </c:pt>
                <c:pt idx="2366">
                  <c:v>28</c:v>
                </c:pt>
                <c:pt idx="2367">
                  <c:v>28</c:v>
                </c:pt>
                <c:pt idx="2368">
                  <c:v>27</c:v>
                </c:pt>
                <c:pt idx="2369">
                  <c:v>15</c:v>
                </c:pt>
                <c:pt idx="2370">
                  <c:v>27</c:v>
                </c:pt>
                <c:pt idx="2371">
                  <c:v>24</c:v>
                </c:pt>
                <c:pt idx="2372">
                  <c:v>31</c:v>
                </c:pt>
                <c:pt idx="2373">
                  <c:v>35</c:v>
                </c:pt>
                <c:pt idx="2374">
                  <c:v>11</c:v>
                </c:pt>
                <c:pt idx="2375">
                  <c:v>7</c:v>
                </c:pt>
                <c:pt idx="2376">
                  <c:v>14</c:v>
                </c:pt>
                <c:pt idx="2377">
                  <c:v>17</c:v>
                </c:pt>
                <c:pt idx="2378">
                  <c:v>1</c:v>
                </c:pt>
                <c:pt idx="2379">
                  <c:v>2</c:v>
                </c:pt>
                <c:pt idx="2380">
                  <c:v>1</c:v>
                </c:pt>
                <c:pt idx="2381">
                  <c:v>6</c:v>
                </c:pt>
                <c:pt idx="2382">
                  <c:v>9</c:v>
                </c:pt>
                <c:pt idx="2383">
                  <c:v>3</c:v>
                </c:pt>
                <c:pt idx="2384">
                  <c:v>3</c:v>
                </c:pt>
                <c:pt idx="2385">
                  <c:v>1</c:v>
                </c:pt>
                <c:pt idx="2386">
                  <c:v>1</c:v>
                </c:pt>
                <c:pt idx="2387">
                  <c:v>1</c:v>
                </c:pt>
                <c:pt idx="2388">
                  <c:v>2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32</c:v>
                </c:pt>
                <c:pt idx="2394">
                  <c:v>10</c:v>
                </c:pt>
                <c:pt idx="2395">
                  <c:v>28</c:v>
                </c:pt>
                <c:pt idx="2396">
                  <c:v>10</c:v>
                </c:pt>
                <c:pt idx="2397">
                  <c:v>9</c:v>
                </c:pt>
                <c:pt idx="2398">
                  <c:v>3</c:v>
                </c:pt>
                <c:pt idx="2399">
                  <c:v>3</c:v>
                </c:pt>
                <c:pt idx="2400">
                  <c:v>1</c:v>
                </c:pt>
                <c:pt idx="2401">
                  <c:v>1</c:v>
                </c:pt>
                <c:pt idx="2402">
                  <c:v>1</c:v>
                </c:pt>
                <c:pt idx="2403">
                  <c:v>1</c:v>
                </c:pt>
                <c:pt idx="2404">
                  <c:v>1</c:v>
                </c:pt>
                <c:pt idx="2405">
                  <c:v>0</c:v>
                </c:pt>
                <c:pt idx="2406">
                  <c:v>1</c:v>
                </c:pt>
                <c:pt idx="2407">
                  <c:v>0</c:v>
                </c:pt>
                <c:pt idx="2408">
                  <c:v>3</c:v>
                </c:pt>
                <c:pt idx="2409">
                  <c:v>10</c:v>
                </c:pt>
                <c:pt idx="2410">
                  <c:v>0</c:v>
                </c:pt>
                <c:pt idx="2411">
                  <c:v>2</c:v>
                </c:pt>
                <c:pt idx="2412">
                  <c:v>0</c:v>
                </c:pt>
                <c:pt idx="2413">
                  <c:v>0</c:v>
                </c:pt>
                <c:pt idx="2414">
                  <c:v>16</c:v>
                </c:pt>
                <c:pt idx="2415">
                  <c:v>2</c:v>
                </c:pt>
                <c:pt idx="2416">
                  <c:v>1</c:v>
                </c:pt>
                <c:pt idx="2417">
                  <c:v>35</c:v>
                </c:pt>
                <c:pt idx="2418">
                  <c:v>27</c:v>
                </c:pt>
                <c:pt idx="2419">
                  <c:v>7</c:v>
                </c:pt>
                <c:pt idx="2420">
                  <c:v>23</c:v>
                </c:pt>
                <c:pt idx="2421">
                  <c:v>24</c:v>
                </c:pt>
                <c:pt idx="2422">
                  <c:v>15</c:v>
                </c:pt>
                <c:pt idx="2423">
                  <c:v>19</c:v>
                </c:pt>
                <c:pt idx="2424">
                  <c:v>16</c:v>
                </c:pt>
                <c:pt idx="2425">
                  <c:v>14</c:v>
                </c:pt>
                <c:pt idx="2426">
                  <c:v>10</c:v>
                </c:pt>
                <c:pt idx="2427">
                  <c:v>7</c:v>
                </c:pt>
                <c:pt idx="2428">
                  <c:v>19</c:v>
                </c:pt>
                <c:pt idx="2429">
                  <c:v>13</c:v>
                </c:pt>
                <c:pt idx="2430">
                  <c:v>8</c:v>
                </c:pt>
                <c:pt idx="2431">
                  <c:v>8</c:v>
                </c:pt>
                <c:pt idx="2432">
                  <c:v>5</c:v>
                </c:pt>
                <c:pt idx="2433">
                  <c:v>5</c:v>
                </c:pt>
                <c:pt idx="2434">
                  <c:v>4</c:v>
                </c:pt>
                <c:pt idx="2435">
                  <c:v>7</c:v>
                </c:pt>
                <c:pt idx="2436">
                  <c:v>6</c:v>
                </c:pt>
                <c:pt idx="2437">
                  <c:v>8</c:v>
                </c:pt>
                <c:pt idx="2438">
                  <c:v>2</c:v>
                </c:pt>
                <c:pt idx="2439">
                  <c:v>7</c:v>
                </c:pt>
                <c:pt idx="2440">
                  <c:v>4</c:v>
                </c:pt>
                <c:pt idx="2441">
                  <c:v>4</c:v>
                </c:pt>
                <c:pt idx="2442">
                  <c:v>4</c:v>
                </c:pt>
                <c:pt idx="2443">
                  <c:v>4</c:v>
                </c:pt>
                <c:pt idx="2444">
                  <c:v>2</c:v>
                </c:pt>
                <c:pt idx="2445">
                  <c:v>3</c:v>
                </c:pt>
                <c:pt idx="2446">
                  <c:v>1</c:v>
                </c:pt>
                <c:pt idx="2447">
                  <c:v>1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59</c:v>
                </c:pt>
                <c:pt idx="2452">
                  <c:v>23</c:v>
                </c:pt>
                <c:pt idx="2453">
                  <c:v>29</c:v>
                </c:pt>
                <c:pt idx="2454">
                  <c:v>18</c:v>
                </c:pt>
                <c:pt idx="2455">
                  <c:v>16</c:v>
                </c:pt>
                <c:pt idx="2456">
                  <c:v>12</c:v>
                </c:pt>
                <c:pt idx="2457">
                  <c:v>15</c:v>
                </c:pt>
                <c:pt idx="2458">
                  <c:v>4</c:v>
                </c:pt>
                <c:pt idx="2459">
                  <c:v>12</c:v>
                </c:pt>
                <c:pt idx="2460">
                  <c:v>8</c:v>
                </c:pt>
                <c:pt idx="2461">
                  <c:v>7</c:v>
                </c:pt>
                <c:pt idx="2462">
                  <c:v>14</c:v>
                </c:pt>
                <c:pt idx="2463">
                  <c:v>16</c:v>
                </c:pt>
                <c:pt idx="2464">
                  <c:v>13</c:v>
                </c:pt>
                <c:pt idx="2465">
                  <c:v>9</c:v>
                </c:pt>
                <c:pt idx="2466">
                  <c:v>9</c:v>
                </c:pt>
                <c:pt idx="2467">
                  <c:v>7</c:v>
                </c:pt>
                <c:pt idx="2468">
                  <c:v>9</c:v>
                </c:pt>
                <c:pt idx="2469">
                  <c:v>6</c:v>
                </c:pt>
                <c:pt idx="2470">
                  <c:v>3</c:v>
                </c:pt>
                <c:pt idx="2471">
                  <c:v>6</c:v>
                </c:pt>
                <c:pt idx="2472">
                  <c:v>4</c:v>
                </c:pt>
                <c:pt idx="2473">
                  <c:v>5</c:v>
                </c:pt>
                <c:pt idx="2474">
                  <c:v>20</c:v>
                </c:pt>
                <c:pt idx="2475">
                  <c:v>21</c:v>
                </c:pt>
                <c:pt idx="2476">
                  <c:v>33</c:v>
                </c:pt>
                <c:pt idx="2477">
                  <c:v>23</c:v>
                </c:pt>
                <c:pt idx="2478">
                  <c:v>15</c:v>
                </c:pt>
                <c:pt idx="2479">
                  <c:v>8</c:v>
                </c:pt>
                <c:pt idx="2480">
                  <c:v>5</c:v>
                </c:pt>
                <c:pt idx="2481">
                  <c:v>8</c:v>
                </c:pt>
                <c:pt idx="2482">
                  <c:v>6</c:v>
                </c:pt>
                <c:pt idx="2483">
                  <c:v>5</c:v>
                </c:pt>
                <c:pt idx="2484">
                  <c:v>5</c:v>
                </c:pt>
                <c:pt idx="2485">
                  <c:v>4</c:v>
                </c:pt>
                <c:pt idx="2486">
                  <c:v>4</c:v>
                </c:pt>
                <c:pt idx="2487">
                  <c:v>21</c:v>
                </c:pt>
                <c:pt idx="2488">
                  <c:v>14</c:v>
                </c:pt>
                <c:pt idx="2489">
                  <c:v>4</c:v>
                </c:pt>
                <c:pt idx="2490">
                  <c:v>6</c:v>
                </c:pt>
                <c:pt idx="2491">
                  <c:v>4</c:v>
                </c:pt>
                <c:pt idx="2492">
                  <c:v>9</c:v>
                </c:pt>
                <c:pt idx="2493">
                  <c:v>5</c:v>
                </c:pt>
                <c:pt idx="2494">
                  <c:v>5</c:v>
                </c:pt>
                <c:pt idx="2495">
                  <c:v>7</c:v>
                </c:pt>
                <c:pt idx="2496">
                  <c:v>5</c:v>
                </c:pt>
                <c:pt idx="2497">
                  <c:v>7</c:v>
                </c:pt>
                <c:pt idx="2498">
                  <c:v>12</c:v>
                </c:pt>
                <c:pt idx="2499">
                  <c:v>9</c:v>
                </c:pt>
                <c:pt idx="2500">
                  <c:v>5</c:v>
                </c:pt>
                <c:pt idx="2501">
                  <c:v>7</c:v>
                </c:pt>
                <c:pt idx="2502">
                  <c:v>7</c:v>
                </c:pt>
                <c:pt idx="2503">
                  <c:v>4</c:v>
                </c:pt>
                <c:pt idx="2504">
                  <c:v>7</c:v>
                </c:pt>
                <c:pt idx="2505">
                  <c:v>20</c:v>
                </c:pt>
                <c:pt idx="2506">
                  <c:v>7</c:v>
                </c:pt>
                <c:pt idx="2507">
                  <c:v>21</c:v>
                </c:pt>
                <c:pt idx="2508">
                  <c:v>5</c:v>
                </c:pt>
                <c:pt idx="2509">
                  <c:v>8</c:v>
                </c:pt>
                <c:pt idx="2510">
                  <c:v>6</c:v>
                </c:pt>
                <c:pt idx="2511">
                  <c:v>9</c:v>
                </c:pt>
                <c:pt idx="2512">
                  <c:v>6</c:v>
                </c:pt>
                <c:pt idx="2513">
                  <c:v>6</c:v>
                </c:pt>
                <c:pt idx="2514">
                  <c:v>4</c:v>
                </c:pt>
                <c:pt idx="2515">
                  <c:v>29</c:v>
                </c:pt>
                <c:pt idx="2516">
                  <c:v>2</c:v>
                </c:pt>
                <c:pt idx="2517">
                  <c:v>3</c:v>
                </c:pt>
                <c:pt idx="2518">
                  <c:v>1</c:v>
                </c:pt>
                <c:pt idx="2519">
                  <c:v>1</c:v>
                </c:pt>
                <c:pt idx="2520">
                  <c:v>1</c:v>
                </c:pt>
                <c:pt idx="2521">
                  <c:v>12</c:v>
                </c:pt>
                <c:pt idx="2522">
                  <c:v>23</c:v>
                </c:pt>
                <c:pt idx="2523">
                  <c:v>13</c:v>
                </c:pt>
                <c:pt idx="2524">
                  <c:v>18</c:v>
                </c:pt>
                <c:pt idx="2525">
                  <c:v>18</c:v>
                </c:pt>
                <c:pt idx="2526">
                  <c:v>25</c:v>
                </c:pt>
                <c:pt idx="2527">
                  <c:v>21</c:v>
                </c:pt>
                <c:pt idx="2528">
                  <c:v>3</c:v>
                </c:pt>
                <c:pt idx="2529">
                  <c:v>1</c:v>
                </c:pt>
                <c:pt idx="2530">
                  <c:v>2</c:v>
                </c:pt>
                <c:pt idx="2531">
                  <c:v>1</c:v>
                </c:pt>
                <c:pt idx="2532">
                  <c:v>1</c:v>
                </c:pt>
                <c:pt idx="2533">
                  <c:v>0</c:v>
                </c:pt>
                <c:pt idx="2534">
                  <c:v>0</c:v>
                </c:pt>
                <c:pt idx="2535">
                  <c:v>20</c:v>
                </c:pt>
                <c:pt idx="2536">
                  <c:v>8</c:v>
                </c:pt>
                <c:pt idx="2537">
                  <c:v>7</c:v>
                </c:pt>
                <c:pt idx="2538">
                  <c:v>2</c:v>
                </c:pt>
                <c:pt idx="2539">
                  <c:v>3</c:v>
                </c:pt>
                <c:pt idx="2540">
                  <c:v>2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19</c:v>
                </c:pt>
                <c:pt idx="2545">
                  <c:v>20</c:v>
                </c:pt>
                <c:pt idx="2546">
                  <c:v>12</c:v>
                </c:pt>
                <c:pt idx="2547">
                  <c:v>2</c:v>
                </c:pt>
                <c:pt idx="2548">
                  <c:v>1</c:v>
                </c:pt>
                <c:pt idx="2549">
                  <c:v>0</c:v>
                </c:pt>
                <c:pt idx="2550">
                  <c:v>14</c:v>
                </c:pt>
                <c:pt idx="2551">
                  <c:v>2</c:v>
                </c:pt>
                <c:pt idx="2552">
                  <c:v>1</c:v>
                </c:pt>
                <c:pt idx="2553">
                  <c:v>0</c:v>
                </c:pt>
                <c:pt idx="2554">
                  <c:v>3</c:v>
                </c:pt>
                <c:pt idx="2555">
                  <c:v>1</c:v>
                </c:pt>
                <c:pt idx="2556">
                  <c:v>1</c:v>
                </c:pt>
                <c:pt idx="2557">
                  <c:v>1</c:v>
                </c:pt>
                <c:pt idx="2558">
                  <c:v>0</c:v>
                </c:pt>
                <c:pt idx="2559">
                  <c:v>3</c:v>
                </c:pt>
                <c:pt idx="2560">
                  <c:v>2</c:v>
                </c:pt>
                <c:pt idx="2561">
                  <c:v>3</c:v>
                </c:pt>
                <c:pt idx="2562">
                  <c:v>0</c:v>
                </c:pt>
                <c:pt idx="2563">
                  <c:v>3</c:v>
                </c:pt>
                <c:pt idx="2564">
                  <c:v>20</c:v>
                </c:pt>
                <c:pt idx="2565">
                  <c:v>0</c:v>
                </c:pt>
                <c:pt idx="2566">
                  <c:v>0</c:v>
                </c:pt>
                <c:pt idx="2567">
                  <c:v>2</c:v>
                </c:pt>
                <c:pt idx="2568">
                  <c:v>1</c:v>
                </c:pt>
                <c:pt idx="2569">
                  <c:v>3</c:v>
                </c:pt>
                <c:pt idx="2570">
                  <c:v>66</c:v>
                </c:pt>
                <c:pt idx="2571">
                  <c:v>0</c:v>
                </c:pt>
                <c:pt idx="2572">
                  <c:v>31</c:v>
                </c:pt>
                <c:pt idx="2573">
                  <c:v>0</c:v>
                </c:pt>
                <c:pt idx="2574">
                  <c:v>0</c:v>
                </c:pt>
                <c:pt idx="2575">
                  <c:v>15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8</c:v>
                </c:pt>
                <c:pt idx="2580">
                  <c:v>7</c:v>
                </c:pt>
                <c:pt idx="2581">
                  <c:v>0</c:v>
                </c:pt>
                <c:pt idx="2582">
                  <c:v>0</c:v>
                </c:pt>
                <c:pt idx="2583">
                  <c:v>13</c:v>
                </c:pt>
                <c:pt idx="2584">
                  <c:v>16</c:v>
                </c:pt>
                <c:pt idx="2585">
                  <c:v>0</c:v>
                </c:pt>
                <c:pt idx="2586">
                  <c:v>13</c:v>
                </c:pt>
                <c:pt idx="2587">
                  <c:v>0</c:v>
                </c:pt>
                <c:pt idx="2588">
                  <c:v>13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9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2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3</c:v>
                </c:pt>
                <c:pt idx="2609">
                  <c:v>0</c:v>
                </c:pt>
                <c:pt idx="2610">
                  <c:v>0</c:v>
                </c:pt>
                <c:pt idx="2611">
                  <c:v>3</c:v>
                </c:pt>
                <c:pt idx="2612">
                  <c:v>0</c:v>
                </c:pt>
                <c:pt idx="2613">
                  <c:v>0</c:v>
                </c:pt>
                <c:pt idx="2614">
                  <c:v>1</c:v>
                </c:pt>
                <c:pt idx="2615">
                  <c:v>0</c:v>
                </c:pt>
                <c:pt idx="2616">
                  <c:v>2</c:v>
                </c:pt>
                <c:pt idx="2617">
                  <c:v>1</c:v>
                </c:pt>
                <c:pt idx="2618">
                  <c:v>1</c:v>
                </c:pt>
                <c:pt idx="2619">
                  <c:v>1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2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1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3701</c:v>
                </c:pt>
                <c:pt idx="2826">
                  <c:v>596</c:v>
                </c:pt>
                <c:pt idx="2827">
                  <c:v>142</c:v>
                </c:pt>
                <c:pt idx="2828">
                  <c:v>758</c:v>
                </c:pt>
                <c:pt idx="2829">
                  <c:v>748</c:v>
                </c:pt>
                <c:pt idx="2830">
                  <c:v>699</c:v>
                </c:pt>
                <c:pt idx="2831">
                  <c:v>429</c:v>
                </c:pt>
                <c:pt idx="2832">
                  <c:v>594</c:v>
                </c:pt>
                <c:pt idx="2833">
                  <c:v>163</c:v>
                </c:pt>
                <c:pt idx="2834">
                  <c:v>410</c:v>
                </c:pt>
                <c:pt idx="2835">
                  <c:v>576</c:v>
                </c:pt>
                <c:pt idx="2836">
                  <c:v>418</c:v>
                </c:pt>
                <c:pt idx="2837">
                  <c:v>368</c:v>
                </c:pt>
                <c:pt idx="2838">
                  <c:v>540</c:v>
                </c:pt>
                <c:pt idx="2839">
                  <c:v>339</c:v>
                </c:pt>
                <c:pt idx="2840">
                  <c:v>368</c:v>
                </c:pt>
                <c:pt idx="2841">
                  <c:v>268</c:v>
                </c:pt>
                <c:pt idx="2842">
                  <c:v>359</c:v>
                </c:pt>
                <c:pt idx="2843">
                  <c:v>309</c:v>
                </c:pt>
                <c:pt idx="2844">
                  <c:v>307</c:v>
                </c:pt>
                <c:pt idx="2845">
                  <c:v>332</c:v>
                </c:pt>
                <c:pt idx="2846">
                  <c:v>409</c:v>
                </c:pt>
                <c:pt idx="2847">
                  <c:v>219</c:v>
                </c:pt>
                <c:pt idx="2848">
                  <c:v>194</c:v>
                </c:pt>
                <c:pt idx="2849">
                  <c:v>361</c:v>
                </c:pt>
                <c:pt idx="2850">
                  <c:v>211</c:v>
                </c:pt>
                <c:pt idx="2851">
                  <c:v>179</c:v>
                </c:pt>
                <c:pt idx="2852">
                  <c:v>265</c:v>
                </c:pt>
                <c:pt idx="2853">
                  <c:v>252</c:v>
                </c:pt>
                <c:pt idx="2854">
                  <c:v>198</c:v>
                </c:pt>
                <c:pt idx="2855">
                  <c:v>264</c:v>
                </c:pt>
                <c:pt idx="2856">
                  <c:v>273</c:v>
                </c:pt>
                <c:pt idx="2857">
                  <c:v>229</c:v>
                </c:pt>
                <c:pt idx="2858">
                  <c:v>305</c:v>
                </c:pt>
                <c:pt idx="2859">
                  <c:v>340</c:v>
                </c:pt>
                <c:pt idx="2860">
                  <c:v>163</c:v>
                </c:pt>
                <c:pt idx="2861">
                  <c:v>100</c:v>
                </c:pt>
                <c:pt idx="2862">
                  <c:v>235</c:v>
                </c:pt>
                <c:pt idx="2863">
                  <c:v>209</c:v>
                </c:pt>
                <c:pt idx="2864">
                  <c:v>271</c:v>
                </c:pt>
                <c:pt idx="2865">
                  <c:v>189</c:v>
                </c:pt>
                <c:pt idx="2866">
                  <c:v>158</c:v>
                </c:pt>
                <c:pt idx="2867">
                  <c:v>126</c:v>
                </c:pt>
                <c:pt idx="2868">
                  <c:v>146</c:v>
                </c:pt>
                <c:pt idx="2869">
                  <c:v>128</c:v>
                </c:pt>
                <c:pt idx="2870">
                  <c:v>118</c:v>
                </c:pt>
                <c:pt idx="2871">
                  <c:v>110</c:v>
                </c:pt>
                <c:pt idx="2872">
                  <c:v>141</c:v>
                </c:pt>
                <c:pt idx="2873">
                  <c:v>131</c:v>
                </c:pt>
                <c:pt idx="2874">
                  <c:v>151</c:v>
                </c:pt>
                <c:pt idx="2875">
                  <c:v>155</c:v>
                </c:pt>
                <c:pt idx="2876">
                  <c:v>197</c:v>
                </c:pt>
                <c:pt idx="2877">
                  <c:v>159</c:v>
                </c:pt>
                <c:pt idx="2878">
                  <c:v>186</c:v>
                </c:pt>
                <c:pt idx="2879">
                  <c:v>208</c:v>
                </c:pt>
                <c:pt idx="2880">
                  <c:v>176</c:v>
                </c:pt>
                <c:pt idx="2881">
                  <c:v>193</c:v>
                </c:pt>
                <c:pt idx="2882">
                  <c:v>121</c:v>
                </c:pt>
                <c:pt idx="2883">
                  <c:v>108</c:v>
                </c:pt>
                <c:pt idx="2884">
                  <c:v>59</c:v>
                </c:pt>
                <c:pt idx="2885">
                  <c:v>169</c:v>
                </c:pt>
                <c:pt idx="2886">
                  <c:v>113</c:v>
                </c:pt>
                <c:pt idx="2887">
                  <c:v>97</c:v>
                </c:pt>
                <c:pt idx="2888">
                  <c:v>201</c:v>
                </c:pt>
                <c:pt idx="2889">
                  <c:v>105</c:v>
                </c:pt>
                <c:pt idx="2890">
                  <c:v>127</c:v>
                </c:pt>
                <c:pt idx="2891">
                  <c:v>113</c:v>
                </c:pt>
                <c:pt idx="2892">
                  <c:v>143</c:v>
                </c:pt>
                <c:pt idx="2893">
                  <c:v>132</c:v>
                </c:pt>
                <c:pt idx="2894">
                  <c:v>114</c:v>
                </c:pt>
                <c:pt idx="2895">
                  <c:v>99</c:v>
                </c:pt>
                <c:pt idx="2896">
                  <c:v>114</c:v>
                </c:pt>
                <c:pt idx="2897">
                  <c:v>138</c:v>
                </c:pt>
                <c:pt idx="2898">
                  <c:v>48</c:v>
                </c:pt>
                <c:pt idx="2899">
                  <c:v>121</c:v>
                </c:pt>
                <c:pt idx="2900">
                  <c:v>104</c:v>
                </c:pt>
                <c:pt idx="2901">
                  <c:v>113</c:v>
                </c:pt>
                <c:pt idx="2902">
                  <c:v>47</c:v>
                </c:pt>
                <c:pt idx="2903">
                  <c:v>82</c:v>
                </c:pt>
                <c:pt idx="2904">
                  <c:v>170</c:v>
                </c:pt>
                <c:pt idx="2905">
                  <c:v>42</c:v>
                </c:pt>
                <c:pt idx="2906">
                  <c:v>131</c:v>
                </c:pt>
                <c:pt idx="2907">
                  <c:v>83</c:v>
                </c:pt>
                <c:pt idx="2908">
                  <c:v>103</c:v>
                </c:pt>
                <c:pt idx="2909">
                  <c:v>144</c:v>
                </c:pt>
                <c:pt idx="2910">
                  <c:v>105</c:v>
                </c:pt>
                <c:pt idx="2911">
                  <c:v>173</c:v>
                </c:pt>
                <c:pt idx="2912">
                  <c:v>98</c:v>
                </c:pt>
                <c:pt idx="2913">
                  <c:v>128</c:v>
                </c:pt>
                <c:pt idx="2914">
                  <c:v>96</c:v>
                </c:pt>
                <c:pt idx="2915">
                  <c:v>89</c:v>
                </c:pt>
                <c:pt idx="2916">
                  <c:v>133</c:v>
                </c:pt>
                <c:pt idx="2917">
                  <c:v>107</c:v>
                </c:pt>
                <c:pt idx="2918">
                  <c:v>80</c:v>
                </c:pt>
                <c:pt idx="2919">
                  <c:v>103</c:v>
                </c:pt>
                <c:pt idx="2920">
                  <c:v>99</c:v>
                </c:pt>
                <c:pt idx="2921">
                  <c:v>75</c:v>
                </c:pt>
                <c:pt idx="2922">
                  <c:v>111</c:v>
                </c:pt>
                <c:pt idx="2923">
                  <c:v>94</c:v>
                </c:pt>
                <c:pt idx="2924">
                  <c:v>95</c:v>
                </c:pt>
                <c:pt idx="2925">
                  <c:v>13</c:v>
                </c:pt>
                <c:pt idx="2926">
                  <c:v>85</c:v>
                </c:pt>
                <c:pt idx="2927">
                  <c:v>26</c:v>
                </c:pt>
                <c:pt idx="2928">
                  <c:v>9</c:v>
                </c:pt>
                <c:pt idx="2929">
                  <c:v>26</c:v>
                </c:pt>
                <c:pt idx="2930">
                  <c:v>13</c:v>
                </c:pt>
                <c:pt idx="2931">
                  <c:v>14</c:v>
                </c:pt>
                <c:pt idx="2932">
                  <c:v>7</c:v>
                </c:pt>
                <c:pt idx="2933">
                  <c:v>9</c:v>
                </c:pt>
                <c:pt idx="2934">
                  <c:v>5</c:v>
                </c:pt>
                <c:pt idx="2935">
                  <c:v>4</c:v>
                </c:pt>
                <c:pt idx="2936">
                  <c:v>65</c:v>
                </c:pt>
                <c:pt idx="2937">
                  <c:v>31</c:v>
                </c:pt>
                <c:pt idx="2938">
                  <c:v>15</c:v>
                </c:pt>
                <c:pt idx="2939">
                  <c:v>82</c:v>
                </c:pt>
                <c:pt idx="2940">
                  <c:v>33</c:v>
                </c:pt>
                <c:pt idx="2941">
                  <c:v>50</c:v>
                </c:pt>
                <c:pt idx="2942">
                  <c:v>4</c:v>
                </c:pt>
                <c:pt idx="2943">
                  <c:v>8</c:v>
                </c:pt>
                <c:pt idx="2944">
                  <c:v>7</c:v>
                </c:pt>
                <c:pt idx="2945">
                  <c:v>3</c:v>
                </c:pt>
                <c:pt idx="2946">
                  <c:v>2</c:v>
                </c:pt>
                <c:pt idx="2947">
                  <c:v>2</c:v>
                </c:pt>
                <c:pt idx="2948">
                  <c:v>1</c:v>
                </c:pt>
                <c:pt idx="2949">
                  <c:v>0</c:v>
                </c:pt>
                <c:pt idx="2950">
                  <c:v>50</c:v>
                </c:pt>
                <c:pt idx="2951">
                  <c:v>68</c:v>
                </c:pt>
                <c:pt idx="2952">
                  <c:v>45</c:v>
                </c:pt>
                <c:pt idx="2953">
                  <c:v>5</c:v>
                </c:pt>
                <c:pt idx="2954">
                  <c:v>3</c:v>
                </c:pt>
                <c:pt idx="2955">
                  <c:v>4</c:v>
                </c:pt>
                <c:pt idx="2956">
                  <c:v>1</c:v>
                </c:pt>
                <c:pt idx="2957">
                  <c:v>23</c:v>
                </c:pt>
                <c:pt idx="2958">
                  <c:v>133</c:v>
                </c:pt>
                <c:pt idx="2959">
                  <c:v>86</c:v>
                </c:pt>
                <c:pt idx="2960">
                  <c:v>20</c:v>
                </c:pt>
                <c:pt idx="2961">
                  <c:v>30</c:v>
                </c:pt>
                <c:pt idx="2962">
                  <c:v>41</c:v>
                </c:pt>
                <c:pt idx="2963">
                  <c:v>22</c:v>
                </c:pt>
                <c:pt idx="2964">
                  <c:v>25</c:v>
                </c:pt>
                <c:pt idx="2965">
                  <c:v>20</c:v>
                </c:pt>
                <c:pt idx="2966">
                  <c:v>10</c:v>
                </c:pt>
                <c:pt idx="2967">
                  <c:v>26</c:v>
                </c:pt>
                <c:pt idx="2968">
                  <c:v>13</c:v>
                </c:pt>
                <c:pt idx="2969">
                  <c:v>12</c:v>
                </c:pt>
                <c:pt idx="2970">
                  <c:v>3</c:v>
                </c:pt>
                <c:pt idx="2971">
                  <c:v>1</c:v>
                </c:pt>
                <c:pt idx="2972">
                  <c:v>1</c:v>
                </c:pt>
                <c:pt idx="2973">
                  <c:v>3</c:v>
                </c:pt>
                <c:pt idx="2974">
                  <c:v>1</c:v>
                </c:pt>
                <c:pt idx="2975">
                  <c:v>1</c:v>
                </c:pt>
                <c:pt idx="2976">
                  <c:v>1</c:v>
                </c:pt>
                <c:pt idx="2977">
                  <c:v>1</c:v>
                </c:pt>
                <c:pt idx="2978">
                  <c:v>54</c:v>
                </c:pt>
                <c:pt idx="2979">
                  <c:v>7</c:v>
                </c:pt>
                <c:pt idx="2980">
                  <c:v>22</c:v>
                </c:pt>
                <c:pt idx="2981">
                  <c:v>2</c:v>
                </c:pt>
                <c:pt idx="2982">
                  <c:v>2</c:v>
                </c:pt>
                <c:pt idx="2983">
                  <c:v>11</c:v>
                </c:pt>
                <c:pt idx="2984">
                  <c:v>47</c:v>
                </c:pt>
                <c:pt idx="2985">
                  <c:v>42</c:v>
                </c:pt>
                <c:pt idx="2986">
                  <c:v>45</c:v>
                </c:pt>
                <c:pt idx="2987">
                  <c:v>55</c:v>
                </c:pt>
                <c:pt idx="2988">
                  <c:v>22</c:v>
                </c:pt>
                <c:pt idx="2989">
                  <c:v>22</c:v>
                </c:pt>
                <c:pt idx="2990">
                  <c:v>12</c:v>
                </c:pt>
                <c:pt idx="2991">
                  <c:v>28</c:v>
                </c:pt>
                <c:pt idx="2992">
                  <c:v>17</c:v>
                </c:pt>
                <c:pt idx="2993">
                  <c:v>4</c:v>
                </c:pt>
                <c:pt idx="2994">
                  <c:v>32</c:v>
                </c:pt>
                <c:pt idx="2995">
                  <c:v>16</c:v>
                </c:pt>
                <c:pt idx="2996">
                  <c:v>16</c:v>
                </c:pt>
                <c:pt idx="2997">
                  <c:v>9</c:v>
                </c:pt>
                <c:pt idx="2998">
                  <c:v>16</c:v>
                </c:pt>
                <c:pt idx="2999">
                  <c:v>14</c:v>
                </c:pt>
                <c:pt idx="3000">
                  <c:v>19</c:v>
                </c:pt>
                <c:pt idx="3001">
                  <c:v>13</c:v>
                </c:pt>
                <c:pt idx="3002">
                  <c:v>13</c:v>
                </c:pt>
                <c:pt idx="3003">
                  <c:v>14</c:v>
                </c:pt>
                <c:pt idx="3004">
                  <c:v>1</c:v>
                </c:pt>
                <c:pt idx="3005">
                  <c:v>3</c:v>
                </c:pt>
                <c:pt idx="3006">
                  <c:v>2</c:v>
                </c:pt>
                <c:pt idx="3007">
                  <c:v>11</c:v>
                </c:pt>
                <c:pt idx="3008">
                  <c:v>4</c:v>
                </c:pt>
                <c:pt idx="3009">
                  <c:v>2</c:v>
                </c:pt>
                <c:pt idx="3010">
                  <c:v>5</c:v>
                </c:pt>
                <c:pt idx="3011">
                  <c:v>5</c:v>
                </c:pt>
                <c:pt idx="3012">
                  <c:v>2</c:v>
                </c:pt>
                <c:pt idx="3013">
                  <c:v>0</c:v>
                </c:pt>
                <c:pt idx="3014">
                  <c:v>3</c:v>
                </c:pt>
                <c:pt idx="3015">
                  <c:v>5</c:v>
                </c:pt>
                <c:pt idx="3016">
                  <c:v>3</c:v>
                </c:pt>
                <c:pt idx="3017">
                  <c:v>2</c:v>
                </c:pt>
                <c:pt idx="3018">
                  <c:v>3</c:v>
                </c:pt>
                <c:pt idx="3019">
                  <c:v>1</c:v>
                </c:pt>
                <c:pt idx="3020">
                  <c:v>3</c:v>
                </c:pt>
                <c:pt idx="3021">
                  <c:v>3</c:v>
                </c:pt>
                <c:pt idx="3022">
                  <c:v>1</c:v>
                </c:pt>
                <c:pt idx="3023">
                  <c:v>1</c:v>
                </c:pt>
                <c:pt idx="3024">
                  <c:v>2</c:v>
                </c:pt>
                <c:pt idx="3025">
                  <c:v>2</c:v>
                </c:pt>
                <c:pt idx="3026">
                  <c:v>2</c:v>
                </c:pt>
                <c:pt idx="3027">
                  <c:v>1</c:v>
                </c:pt>
                <c:pt idx="3028">
                  <c:v>1</c:v>
                </c:pt>
                <c:pt idx="3029">
                  <c:v>0</c:v>
                </c:pt>
                <c:pt idx="3030">
                  <c:v>1</c:v>
                </c:pt>
                <c:pt idx="3031">
                  <c:v>1</c:v>
                </c:pt>
                <c:pt idx="3032">
                  <c:v>1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11</c:v>
                </c:pt>
                <c:pt idx="3041">
                  <c:v>68</c:v>
                </c:pt>
                <c:pt idx="3042">
                  <c:v>56</c:v>
                </c:pt>
                <c:pt idx="3043">
                  <c:v>55</c:v>
                </c:pt>
                <c:pt idx="3044">
                  <c:v>45</c:v>
                </c:pt>
                <c:pt idx="3045">
                  <c:v>47</c:v>
                </c:pt>
                <c:pt idx="3046">
                  <c:v>68</c:v>
                </c:pt>
                <c:pt idx="3047">
                  <c:v>3</c:v>
                </c:pt>
                <c:pt idx="3048">
                  <c:v>11</c:v>
                </c:pt>
                <c:pt idx="3049">
                  <c:v>36</c:v>
                </c:pt>
                <c:pt idx="3050">
                  <c:v>54</c:v>
                </c:pt>
                <c:pt idx="3051">
                  <c:v>28</c:v>
                </c:pt>
                <c:pt idx="3052">
                  <c:v>29</c:v>
                </c:pt>
                <c:pt idx="3053">
                  <c:v>38</c:v>
                </c:pt>
                <c:pt idx="3054">
                  <c:v>13</c:v>
                </c:pt>
                <c:pt idx="3055">
                  <c:v>7</c:v>
                </c:pt>
                <c:pt idx="3056">
                  <c:v>21</c:v>
                </c:pt>
                <c:pt idx="3057">
                  <c:v>13</c:v>
                </c:pt>
                <c:pt idx="3058">
                  <c:v>27</c:v>
                </c:pt>
                <c:pt idx="3059">
                  <c:v>40</c:v>
                </c:pt>
                <c:pt idx="3060">
                  <c:v>13</c:v>
                </c:pt>
                <c:pt idx="3061">
                  <c:v>14</c:v>
                </c:pt>
                <c:pt idx="3062">
                  <c:v>15</c:v>
                </c:pt>
                <c:pt idx="3063">
                  <c:v>4</c:v>
                </c:pt>
                <c:pt idx="3064">
                  <c:v>10</c:v>
                </c:pt>
                <c:pt idx="3065">
                  <c:v>6</c:v>
                </c:pt>
                <c:pt idx="3066">
                  <c:v>14</c:v>
                </c:pt>
                <c:pt idx="3067">
                  <c:v>7</c:v>
                </c:pt>
                <c:pt idx="3068">
                  <c:v>10</c:v>
                </c:pt>
                <c:pt idx="3069">
                  <c:v>20</c:v>
                </c:pt>
                <c:pt idx="3070">
                  <c:v>10</c:v>
                </c:pt>
                <c:pt idx="3071">
                  <c:v>10</c:v>
                </c:pt>
                <c:pt idx="3072">
                  <c:v>7</c:v>
                </c:pt>
                <c:pt idx="3073">
                  <c:v>16</c:v>
                </c:pt>
                <c:pt idx="3074">
                  <c:v>12</c:v>
                </c:pt>
                <c:pt idx="3075">
                  <c:v>5</c:v>
                </c:pt>
                <c:pt idx="3076">
                  <c:v>11</c:v>
                </c:pt>
                <c:pt idx="3077">
                  <c:v>4</c:v>
                </c:pt>
                <c:pt idx="3078">
                  <c:v>50</c:v>
                </c:pt>
                <c:pt idx="3079">
                  <c:v>5</c:v>
                </c:pt>
                <c:pt idx="3080">
                  <c:v>76</c:v>
                </c:pt>
                <c:pt idx="3081">
                  <c:v>100</c:v>
                </c:pt>
                <c:pt idx="3082">
                  <c:v>67</c:v>
                </c:pt>
                <c:pt idx="3083">
                  <c:v>43</c:v>
                </c:pt>
                <c:pt idx="3084">
                  <c:v>58</c:v>
                </c:pt>
                <c:pt idx="3085">
                  <c:v>55</c:v>
                </c:pt>
                <c:pt idx="3086">
                  <c:v>82</c:v>
                </c:pt>
                <c:pt idx="3087">
                  <c:v>53</c:v>
                </c:pt>
                <c:pt idx="3088">
                  <c:v>28</c:v>
                </c:pt>
                <c:pt idx="3089">
                  <c:v>26</c:v>
                </c:pt>
                <c:pt idx="3090">
                  <c:v>27</c:v>
                </c:pt>
                <c:pt idx="3091">
                  <c:v>23</c:v>
                </c:pt>
                <c:pt idx="3092">
                  <c:v>16</c:v>
                </c:pt>
                <c:pt idx="3093">
                  <c:v>24</c:v>
                </c:pt>
                <c:pt idx="3094">
                  <c:v>11</c:v>
                </c:pt>
                <c:pt idx="3095">
                  <c:v>24</c:v>
                </c:pt>
                <c:pt idx="3096">
                  <c:v>12</c:v>
                </c:pt>
                <c:pt idx="3097">
                  <c:v>7</c:v>
                </c:pt>
                <c:pt idx="3098">
                  <c:v>51</c:v>
                </c:pt>
                <c:pt idx="3099">
                  <c:v>32</c:v>
                </c:pt>
                <c:pt idx="3100">
                  <c:v>11</c:v>
                </c:pt>
                <c:pt idx="3101">
                  <c:v>19</c:v>
                </c:pt>
                <c:pt idx="3102">
                  <c:v>22</c:v>
                </c:pt>
                <c:pt idx="3103">
                  <c:v>15</c:v>
                </c:pt>
                <c:pt idx="3104">
                  <c:v>12</c:v>
                </c:pt>
                <c:pt idx="3105">
                  <c:v>12</c:v>
                </c:pt>
                <c:pt idx="3106">
                  <c:v>5</c:v>
                </c:pt>
                <c:pt idx="3107">
                  <c:v>4</c:v>
                </c:pt>
                <c:pt idx="3108">
                  <c:v>54</c:v>
                </c:pt>
                <c:pt idx="3109">
                  <c:v>48</c:v>
                </c:pt>
                <c:pt idx="3110">
                  <c:v>44</c:v>
                </c:pt>
                <c:pt idx="3111">
                  <c:v>51</c:v>
                </c:pt>
                <c:pt idx="3112">
                  <c:v>29</c:v>
                </c:pt>
                <c:pt idx="3113">
                  <c:v>24</c:v>
                </c:pt>
                <c:pt idx="3114">
                  <c:v>30</c:v>
                </c:pt>
                <c:pt idx="3115">
                  <c:v>12</c:v>
                </c:pt>
                <c:pt idx="3116">
                  <c:v>13</c:v>
                </c:pt>
                <c:pt idx="3117">
                  <c:v>13</c:v>
                </c:pt>
                <c:pt idx="3118">
                  <c:v>11</c:v>
                </c:pt>
                <c:pt idx="3119">
                  <c:v>4</c:v>
                </c:pt>
                <c:pt idx="3120">
                  <c:v>10</c:v>
                </c:pt>
                <c:pt idx="3121">
                  <c:v>9</c:v>
                </c:pt>
                <c:pt idx="3122">
                  <c:v>8</c:v>
                </c:pt>
                <c:pt idx="3123">
                  <c:v>6</c:v>
                </c:pt>
                <c:pt idx="3124">
                  <c:v>4</c:v>
                </c:pt>
                <c:pt idx="3125">
                  <c:v>5</c:v>
                </c:pt>
                <c:pt idx="3126">
                  <c:v>5</c:v>
                </c:pt>
                <c:pt idx="3127">
                  <c:v>66</c:v>
                </c:pt>
                <c:pt idx="3128">
                  <c:v>35</c:v>
                </c:pt>
                <c:pt idx="3129">
                  <c:v>39</c:v>
                </c:pt>
                <c:pt idx="3130">
                  <c:v>27</c:v>
                </c:pt>
                <c:pt idx="3131">
                  <c:v>39</c:v>
                </c:pt>
                <c:pt idx="3132">
                  <c:v>11</c:v>
                </c:pt>
                <c:pt idx="3133">
                  <c:v>5</c:v>
                </c:pt>
                <c:pt idx="3134">
                  <c:v>11</c:v>
                </c:pt>
                <c:pt idx="3135">
                  <c:v>13</c:v>
                </c:pt>
                <c:pt idx="3136">
                  <c:v>11</c:v>
                </c:pt>
                <c:pt idx="3137">
                  <c:v>12</c:v>
                </c:pt>
                <c:pt idx="3138">
                  <c:v>4</c:v>
                </c:pt>
                <c:pt idx="3139">
                  <c:v>15</c:v>
                </c:pt>
                <c:pt idx="3140">
                  <c:v>10</c:v>
                </c:pt>
                <c:pt idx="3141">
                  <c:v>10</c:v>
                </c:pt>
                <c:pt idx="3142">
                  <c:v>11</c:v>
                </c:pt>
                <c:pt idx="3143">
                  <c:v>5</c:v>
                </c:pt>
                <c:pt idx="3144">
                  <c:v>8</c:v>
                </c:pt>
                <c:pt idx="3145">
                  <c:v>8</c:v>
                </c:pt>
                <c:pt idx="3146">
                  <c:v>5</c:v>
                </c:pt>
                <c:pt idx="3147">
                  <c:v>8</c:v>
                </c:pt>
                <c:pt idx="3148">
                  <c:v>4</c:v>
                </c:pt>
                <c:pt idx="3149">
                  <c:v>6</c:v>
                </c:pt>
                <c:pt idx="3150">
                  <c:v>5</c:v>
                </c:pt>
                <c:pt idx="3151">
                  <c:v>9</c:v>
                </c:pt>
                <c:pt idx="3152">
                  <c:v>11</c:v>
                </c:pt>
                <c:pt idx="3153">
                  <c:v>5</c:v>
                </c:pt>
                <c:pt idx="3154">
                  <c:v>9</c:v>
                </c:pt>
                <c:pt idx="3155">
                  <c:v>19</c:v>
                </c:pt>
                <c:pt idx="3156">
                  <c:v>6</c:v>
                </c:pt>
                <c:pt idx="3157">
                  <c:v>10</c:v>
                </c:pt>
                <c:pt idx="3158">
                  <c:v>6</c:v>
                </c:pt>
                <c:pt idx="3159">
                  <c:v>112</c:v>
                </c:pt>
                <c:pt idx="3160">
                  <c:v>57</c:v>
                </c:pt>
                <c:pt idx="3161">
                  <c:v>79</c:v>
                </c:pt>
                <c:pt idx="3162">
                  <c:v>118</c:v>
                </c:pt>
                <c:pt idx="3163">
                  <c:v>67</c:v>
                </c:pt>
                <c:pt idx="3164">
                  <c:v>83</c:v>
                </c:pt>
                <c:pt idx="3165">
                  <c:v>56</c:v>
                </c:pt>
                <c:pt idx="3166">
                  <c:v>65</c:v>
                </c:pt>
                <c:pt idx="3167">
                  <c:v>37</c:v>
                </c:pt>
                <c:pt idx="3168">
                  <c:v>90</c:v>
                </c:pt>
                <c:pt idx="3169">
                  <c:v>25</c:v>
                </c:pt>
                <c:pt idx="3170">
                  <c:v>59</c:v>
                </c:pt>
                <c:pt idx="3171">
                  <c:v>72</c:v>
                </c:pt>
                <c:pt idx="3172">
                  <c:v>52</c:v>
                </c:pt>
                <c:pt idx="3173">
                  <c:v>50</c:v>
                </c:pt>
                <c:pt idx="3174">
                  <c:v>65</c:v>
                </c:pt>
                <c:pt idx="3175">
                  <c:v>21</c:v>
                </c:pt>
                <c:pt idx="3176">
                  <c:v>45</c:v>
                </c:pt>
                <c:pt idx="3177">
                  <c:v>19</c:v>
                </c:pt>
                <c:pt idx="3178">
                  <c:v>40</c:v>
                </c:pt>
                <c:pt idx="3179">
                  <c:v>32</c:v>
                </c:pt>
                <c:pt idx="3180">
                  <c:v>57</c:v>
                </c:pt>
                <c:pt idx="3181">
                  <c:v>68</c:v>
                </c:pt>
                <c:pt idx="3182">
                  <c:v>53</c:v>
                </c:pt>
                <c:pt idx="3183">
                  <c:v>54</c:v>
                </c:pt>
                <c:pt idx="3184">
                  <c:v>56</c:v>
                </c:pt>
                <c:pt idx="3185">
                  <c:v>63</c:v>
                </c:pt>
                <c:pt idx="3186">
                  <c:v>31</c:v>
                </c:pt>
                <c:pt idx="3187">
                  <c:v>45</c:v>
                </c:pt>
                <c:pt idx="3188">
                  <c:v>43</c:v>
                </c:pt>
                <c:pt idx="3189">
                  <c:v>26</c:v>
                </c:pt>
                <c:pt idx="3190">
                  <c:v>31</c:v>
                </c:pt>
                <c:pt idx="3191">
                  <c:v>27</c:v>
                </c:pt>
                <c:pt idx="3192">
                  <c:v>38</c:v>
                </c:pt>
                <c:pt idx="3193">
                  <c:v>32</c:v>
                </c:pt>
                <c:pt idx="3194">
                  <c:v>22</c:v>
                </c:pt>
                <c:pt idx="3195">
                  <c:v>34</c:v>
                </c:pt>
                <c:pt idx="3196">
                  <c:v>16</c:v>
                </c:pt>
                <c:pt idx="3197">
                  <c:v>17</c:v>
                </c:pt>
                <c:pt idx="3198">
                  <c:v>29</c:v>
                </c:pt>
                <c:pt idx="3199">
                  <c:v>22</c:v>
                </c:pt>
                <c:pt idx="3200">
                  <c:v>26</c:v>
                </c:pt>
                <c:pt idx="3201">
                  <c:v>21</c:v>
                </c:pt>
                <c:pt idx="3202">
                  <c:v>22</c:v>
                </c:pt>
                <c:pt idx="3203">
                  <c:v>51</c:v>
                </c:pt>
                <c:pt idx="3204">
                  <c:v>23</c:v>
                </c:pt>
                <c:pt idx="3205">
                  <c:v>25</c:v>
                </c:pt>
                <c:pt idx="3206">
                  <c:v>42</c:v>
                </c:pt>
                <c:pt idx="3207">
                  <c:v>16</c:v>
                </c:pt>
                <c:pt idx="3208">
                  <c:v>14</c:v>
                </c:pt>
                <c:pt idx="3209">
                  <c:v>8</c:v>
                </c:pt>
                <c:pt idx="3210">
                  <c:v>6</c:v>
                </c:pt>
                <c:pt idx="3211">
                  <c:v>1</c:v>
                </c:pt>
                <c:pt idx="3212">
                  <c:v>11</c:v>
                </c:pt>
                <c:pt idx="3213">
                  <c:v>9</c:v>
                </c:pt>
                <c:pt idx="3214">
                  <c:v>6</c:v>
                </c:pt>
                <c:pt idx="3215">
                  <c:v>4</c:v>
                </c:pt>
                <c:pt idx="3216">
                  <c:v>2</c:v>
                </c:pt>
                <c:pt idx="3217">
                  <c:v>9</c:v>
                </c:pt>
                <c:pt idx="3218">
                  <c:v>6</c:v>
                </c:pt>
                <c:pt idx="3219">
                  <c:v>5</c:v>
                </c:pt>
                <c:pt idx="3220">
                  <c:v>6</c:v>
                </c:pt>
                <c:pt idx="3221">
                  <c:v>2</c:v>
                </c:pt>
                <c:pt idx="3222">
                  <c:v>6</c:v>
                </c:pt>
                <c:pt idx="3223">
                  <c:v>5</c:v>
                </c:pt>
                <c:pt idx="3224">
                  <c:v>4</c:v>
                </c:pt>
                <c:pt idx="3225">
                  <c:v>3</c:v>
                </c:pt>
                <c:pt idx="3226">
                  <c:v>4</c:v>
                </c:pt>
                <c:pt idx="3227">
                  <c:v>2</c:v>
                </c:pt>
                <c:pt idx="3228">
                  <c:v>0</c:v>
                </c:pt>
                <c:pt idx="3229">
                  <c:v>2</c:v>
                </c:pt>
                <c:pt idx="3230">
                  <c:v>1</c:v>
                </c:pt>
                <c:pt idx="3231">
                  <c:v>2</c:v>
                </c:pt>
                <c:pt idx="3232">
                  <c:v>1</c:v>
                </c:pt>
                <c:pt idx="3233">
                  <c:v>1</c:v>
                </c:pt>
                <c:pt idx="3234">
                  <c:v>1</c:v>
                </c:pt>
                <c:pt idx="3235">
                  <c:v>1</c:v>
                </c:pt>
                <c:pt idx="3236">
                  <c:v>1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1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76</c:v>
                </c:pt>
                <c:pt idx="3246">
                  <c:v>68</c:v>
                </c:pt>
                <c:pt idx="3247">
                  <c:v>80</c:v>
                </c:pt>
                <c:pt idx="3248">
                  <c:v>43</c:v>
                </c:pt>
                <c:pt idx="3249">
                  <c:v>47</c:v>
                </c:pt>
                <c:pt idx="3250">
                  <c:v>39</c:v>
                </c:pt>
                <c:pt idx="3251">
                  <c:v>29</c:v>
                </c:pt>
                <c:pt idx="3252">
                  <c:v>43</c:v>
                </c:pt>
                <c:pt idx="3253">
                  <c:v>33</c:v>
                </c:pt>
                <c:pt idx="3254">
                  <c:v>38</c:v>
                </c:pt>
                <c:pt idx="3255">
                  <c:v>13</c:v>
                </c:pt>
                <c:pt idx="3256">
                  <c:v>46</c:v>
                </c:pt>
                <c:pt idx="3257">
                  <c:v>39</c:v>
                </c:pt>
                <c:pt idx="3258">
                  <c:v>37</c:v>
                </c:pt>
                <c:pt idx="3259">
                  <c:v>35</c:v>
                </c:pt>
                <c:pt idx="3260">
                  <c:v>28</c:v>
                </c:pt>
                <c:pt idx="3261">
                  <c:v>29</c:v>
                </c:pt>
                <c:pt idx="3262">
                  <c:v>28</c:v>
                </c:pt>
                <c:pt idx="3263">
                  <c:v>33</c:v>
                </c:pt>
                <c:pt idx="3264">
                  <c:v>38</c:v>
                </c:pt>
                <c:pt idx="3265">
                  <c:v>12</c:v>
                </c:pt>
                <c:pt idx="3266">
                  <c:v>26</c:v>
                </c:pt>
                <c:pt idx="3267">
                  <c:v>34</c:v>
                </c:pt>
                <c:pt idx="3268">
                  <c:v>19</c:v>
                </c:pt>
                <c:pt idx="3269">
                  <c:v>31</c:v>
                </c:pt>
                <c:pt idx="3270">
                  <c:v>6</c:v>
                </c:pt>
                <c:pt idx="3271">
                  <c:v>14</c:v>
                </c:pt>
                <c:pt idx="3272">
                  <c:v>36</c:v>
                </c:pt>
                <c:pt idx="3273">
                  <c:v>5</c:v>
                </c:pt>
                <c:pt idx="3274">
                  <c:v>1</c:v>
                </c:pt>
                <c:pt idx="3275">
                  <c:v>1</c:v>
                </c:pt>
                <c:pt idx="3276">
                  <c:v>1</c:v>
                </c:pt>
                <c:pt idx="3277">
                  <c:v>1</c:v>
                </c:pt>
                <c:pt idx="3278">
                  <c:v>60</c:v>
                </c:pt>
                <c:pt idx="3279">
                  <c:v>12</c:v>
                </c:pt>
                <c:pt idx="3280">
                  <c:v>22</c:v>
                </c:pt>
                <c:pt idx="3281">
                  <c:v>34</c:v>
                </c:pt>
                <c:pt idx="3282">
                  <c:v>35</c:v>
                </c:pt>
                <c:pt idx="3283">
                  <c:v>17</c:v>
                </c:pt>
                <c:pt idx="3284">
                  <c:v>27</c:v>
                </c:pt>
                <c:pt idx="3285">
                  <c:v>17</c:v>
                </c:pt>
                <c:pt idx="3286">
                  <c:v>8</c:v>
                </c:pt>
                <c:pt idx="3287">
                  <c:v>11</c:v>
                </c:pt>
                <c:pt idx="3288">
                  <c:v>7</c:v>
                </c:pt>
                <c:pt idx="3289">
                  <c:v>3</c:v>
                </c:pt>
                <c:pt idx="3290">
                  <c:v>7</c:v>
                </c:pt>
                <c:pt idx="3291">
                  <c:v>5</c:v>
                </c:pt>
                <c:pt idx="3292">
                  <c:v>3</c:v>
                </c:pt>
                <c:pt idx="3293">
                  <c:v>2</c:v>
                </c:pt>
                <c:pt idx="3294">
                  <c:v>3</c:v>
                </c:pt>
                <c:pt idx="3295">
                  <c:v>80</c:v>
                </c:pt>
                <c:pt idx="3296">
                  <c:v>50</c:v>
                </c:pt>
                <c:pt idx="3297">
                  <c:v>34</c:v>
                </c:pt>
                <c:pt idx="3298">
                  <c:v>17</c:v>
                </c:pt>
                <c:pt idx="3299">
                  <c:v>26</c:v>
                </c:pt>
                <c:pt idx="3300">
                  <c:v>20</c:v>
                </c:pt>
                <c:pt idx="3301">
                  <c:v>10</c:v>
                </c:pt>
                <c:pt idx="3302">
                  <c:v>11</c:v>
                </c:pt>
                <c:pt idx="3303">
                  <c:v>4</c:v>
                </c:pt>
                <c:pt idx="3304">
                  <c:v>5</c:v>
                </c:pt>
                <c:pt idx="3305">
                  <c:v>3</c:v>
                </c:pt>
                <c:pt idx="3306">
                  <c:v>0</c:v>
                </c:pt>
                <c:pt idx="3307">
                  <c:v>0</c:v>
                </c:pt>
                <c:pt idx="3308">
                  <c:v>3</c:v>
                </c:pt>
                <c:pt idx="3309">
                  <c:v>0</c:v>
                </c:pt>
                <c:pt idx="3310">
                  <c:v>82</c:v>
                </c:pt>
                <c:pt idx="3311">
                  <c:v>49</c:v>
                </c:pt>
                <c:pt idx="3312">
                  <c:v>28</c:v>
                </c:pt>
                <c:pt idx="3313">
                  <c:v>23</c:v>
                </c:pt>
                <c:pt idx="3314">
                  <c:v>20</c:v>
                </c:pt>
                <c:pt idx="3315">
                  <c:v>18</c:v>
                </c:pt>
                <c:pt idx="3316">
                  <c:v>6</c:v>
                </c:pt>
                <c:pt idx="3317">
                  <c:v>4</c:v>
                </c:pt>
                <c:pt idx="3318">
                  <c:v>3</c:v>
                </c:pt>
                <c:pt idx="3319">
                  <c:v>2</c:v>
                </c:pt>
                <c:pt idx="3320">
                  <c:v>3</c:v>
                </c:pt>
                <c:pt idx="3321">
                  <c:v>2</c:v>
                </c:pt>
                <c:pt idx="3322">
                  <c:v>0</c:v>
                </c:pt>
                <c:pt idx="3323">
                  <c:v>0</c:v>
                </c:pt>
                <c:pt idx="3324">
                  <c:v>26</c:v>
                </c:pt>
                <c:pt idx="3325">
                  <c:v>1</c:v>
                </c:pt>
                <c:pt idx="3326">
                  <c:v>1</c:v>
                </c:pt>
                <c:pt idx="3327">
                  <c:v>31</c:v>
                </c:pt>
                <c:pt idx="3328">
                  <c:v>21</c:v>
                </c:pt>
                <c:pt idx="3329">
                  <c:v>12</c:v>
                </c:pt>
                <c:pt idx="3330">
                  <c:v>18</c:v>
                </c:pt>
                <c:pt idx="3331">
                  <c:v>3</c:v>
                </c:pt>
                <c:pt idx="3332">
                  <c:v>3</c:v>
                </c:pt>
                <c:pt idx="3333">
                  <c:v>3</c:v>
                </c:pt>
                <c:pt idx="3334">
                  <c:v>3</c:v>
                </c:pt>
                <c:pt idx="3335">
                  <c:v>0</c:v>
                </c:pt>
                <c:pt idx="3336">
                  <c:v>0</c:v>
                </c:pt>
                <c:pt idx="3337">
                  <c:v>4</c:v>
                </c:pt>
                <c:pt idx="3338">
                  <c:v>2</c:v>
                </c:pt>
                <c:pt idx="3339">
                  <c:v>1</c:v>
                </c:pt>
                <c:pt idx="3340">
                  <c:v>14</c:v>
                </c:pt>
                <c:pt idx="3341">
                  <c:v>18</c:v>
                </c:pt>
                <c:pt idx="3342">
                  <c:v>12</c:v>
                </c:pt>
                <c:pt idx="3343">
                  <c:v>19</c:v>
                </c:pt>
                <c:pt idx="3344">
                  <c:v>2</c:v>
                </c:pt>
                <c:pt idx="3345">
                  <c:v>11</c:v>
                </c:pt>
                <c:pt idx="3346">
                  <c:v>8</c:v>
                </c:pt>
                <c:pt idx="3347">
                  <c:v>3</c:v>
                </c:pt>
                <c:pt idx="3348">
                  <c:v>3</c:v>
                </c:pt>
                <c:pt idx="3349">
                  <c:v>0</c:v>
                </c:pt>
                <c:pt idx="3350">
                  <c:v>2</c:v>
                </c:pt>
                <c:pt idx="3351">
                  <c:v>0</c:v>
                </c:pt>
                <c:pt idx="3352">
                  <c:v>2</c:v>
                </c:pt>
                <c:pt idx="3353">
                  <c:v>1</c:v>
                </c:pt>
                <c:pt idx="3354">
                  <c:v>1</c:v>
                </c:pt>
                <c:pt idx="3355">
                  <c:v>24</c:v>
                </c:pt>
                <c:pt idx="3356">
                  <c:v>15</c:v>
                </c:pt>
                <c:pt idx="3357">
                  <c:v>18</c:v>
                </c:pt>
                <c:pt idx="3358">
                  <c:v>12</c:v>
                </c:pt>
                <c:pt idx="3359">
                  <c:v>4</c:v>
                </c:pt>
                <c:pt idx="3360">
                  <c:v>2</c:v>
                </c:pt>
                <c:pt idx="3361">
                  <c:v>6</c:v>
                </c:pt>
                <c:pt idx="3362">
                  <c:v>3</c:v>
                </c:pt>
                <c:pt idx="3363">
                  <c:v>2</c:v>
                </c:pt>
                <c:pt idx="3364">
                  <c:v>3</c:v>
                </c:pt>
                <c:pt idx="3365">
                  <c:v>2</c:v>
                </c:pt>
                <c:pt idx="3366">
                  <c:v>2</c:v>
                </c:pt>
                <c:pt idx="3367">
                  <c:v>1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46</c:v>
                </c:pt>
                <c:pt idx="3373">
                  <c:v>25</c:v>
                </c:pt>
                <c:pt idx="3374">
                  <c:v>31</c:v>
                </c:pt>
                <c:pt idx="3375">
                  <c:v>29</c:v>
                </c:pt>
                <c:pt idx="3376">
                  <c:v>19</c:v>
                </c:pt>
                <c:pt idx="3377">
                  <c:v>33</c:v>
                </c:pt>
                <c:pt idx="3378">
                  <c:v>12</c:v>
                </c:pt>
                <c:pt idx="3379">
                  <c:v>17</c:v>
                </c:pt>
                <c:pt idx="3380">
                  <c:v>10</c:v>
                </c:pt>
                <c:pt idx="3381">
                  <c:v>14</c:v>
                </c:pt>
                <c:pt idx="3382">
                  <c:v>10</c:v>
                </c:pt>
                <c:pt idx="3383">
                  <c:v>14</c:v>
                </c:pt>
                <c:pt idx="3384">
                  <c:v>16</c:v>
                </c:pt>
                <c:pt idx="3385">
                  <c:v>14</c:v>
                </c:pt>
                <c:pt idx="3386">
                  <c:v>11</c:v>
                </c:pt>
                <c:pt idx="3387">
                  <c:v>13</c:v>
                </c:pt>
                <c:pt idx="3388">
                  <c:v>10</c:v>
                </c:pt>
                <c:pt idx="3389">
                  <c:v>9</c:v>
                </c:pt>
                <c:pt idx="3390">
                  <c:v>9</c:v>
                </c:pt>
                <c:pt idx="3391">
                  <c:v>11</c:v>
                </c:pt>
                <c:pt idx="3392">
                  <c:v>12</c:v>
                </c:pt>
                <c:pt idx="3393">
                  <c:v>10</c:v>
                </c:pt>
                <c:pt idx="3394">
                  <c:v>10</c:v>
                </c:pt>
                <c:pt idx="3395">
                  <c:v>9</c:v>
                </c:pt>
                <c:pt idx="3396">
                  <c:v>8</c:v>
                </c:pt>
                <c:pt idx="3397">
                  <c:v>11</c:v>
                </c:pt>
                <c:pt idx="3398">
                  <c:v>7</c:v>
                </c:pt>
                <c:pt idx="3399">
                  <c:v>8</c:v>
                </c:pt>
                <c:pt idx="3400">
                  <c:v>6</c:v>
                </c:pt>
                <c:pt idx="3401">
                  <c:v>10</c:v>
                </c:pt>
                <c:pt idx="3402">
                  <c:v>10</c:v>
                </c:pt>
                <c:pt idx="3403">
                  <c:v>5</c:v>
                </c:pt>
                <c:pt idx="3404">
                  <c:v>2</c:v>
                </c:pt>
                <c:pt idx="3405">
                  <c:v>9</c:v>
                </c:pt>
                <c:pt idx="3406">
                  <c:v>8</c:v>
                </c:pt>
                <c:pt idx="3407">
                  <c:v>9</c:v>
                </c:pt>
                <c:pt idx="3408">
                  <c:v>5</c:v>
                </c:pt>
                <c:pt idx="3409">
                  <c:v>6</c:v>
                </c:pt>
                <c:pt idx="3410">
                  <c:v>8</c:v>
                </c:pt>
                <c:pt idx="3411">
                  <c:v>6</c:v>
                </c:pt>
                <c:pt idx="3412">
                  <c:v>6</c:v>
                </c:pt>
                <c:pt idx="3413">
                  <c:v>0</c:v>
                </c:pt>
                <c:pt idx="3414">
                  <c:v>6</c:v>
                </c:pt>
                <c:pt idx="3415">
                  <c:v>6</c:v>
                </c:pt>
                <c:pt idx="3416">
                  <c:v>5</c:v>
                </c:pt>
                <c:pt idx="3417">
                  <c:v>6</c:v>
                </c:pt>
                <c:pt idx="3418">
                  <c:v>7</c:v>
                </c:pt>
                <c:pt idx="3419">
                  <c:v>0</c:v>
                </c:pt>
                <c:pt idx="3420">
                  <c:v>6</c:v>
                </c:pt>
                <c:pt idx="3421">
                  <c:v>6</c:v>
                </c:pt>
                <c:pt idx="3422">
                  <c:v>6</c:v>
                </c:pt>
                <c:pt idx="3423">
                  <c:v>4</c:v>
                </c:pt>
                <c:pt idx="3424">
                  <c:v>6</c:v>
                </c:pt>
                <c:pt idx="3425">
                  <c:v>6</c:v>
                </c:pt>
                <c:pt idx="3426">
                  <c:v>5</c:v>
                </c:pt>
                <c:pt idx="3427">
                  <c:v>4</c:v>
                </c:pt>
                <c:pt idx="3428">
                  <c:v>4</c:v>
                </c:pt>
                <c:pt idx="3429">
                  <c:v>4</c:v>
                </c:pt>
                <c:pt idx="3430">
                  <c:v>2</c:v>
                </c:pt>
                <c:pt idx="3431">
                  <c:v>5</c:v>
                </c:pt>
                <c:pt idx="3432">
                  <c:v>0</c:v>
                </c:pt>
                <c:pt idx="3433">
                  <c:v>6</c:v>
                </c:pt>
                <c:pt idx="3434">
                  <c:v>4</c:v>
                </c:pt>
                <c:pt idx="3435">
                  <c:v>4</c:v>
                </c:pt>
                <c:pt idx="3436">
                  <c:v>3</c:v>
                </c:pt>
                <c:pt idx="3437">
                  <c:v>1</c:v>
                </c:pt>
                <c:pt idx="3438">
                  <c:v>3</c:v>
                </c:pt>
                <c:pt idx="3439">
                  <c:v>3</c:v>
                </c:pt>
                <c:pt idx="3440">
                  <c:v>0</c:v>
                </c:pt>
                <c:pt idx="3441">
                  <c:v>3</c:v>
                </c:pt>
                <c:pt idx="3442">
                  <c:v>3</c:v>
                </c:pt>
                <c:pt idx="3443">
                  <c:v>3</c:v>
                </c:pt>
                <c:pt idx="3444">
                  <c:v>3</c:v>
                </c:pt>
                <c:pt idx="3445">
                  <c:v>5</c:v>
                </c:pt>
                <c:pt idx="3446">
                  <c:v>1</c:v>
                </c:pt>
                <c:pt idx="3447">
                  <c:v>5</c:v>
                </c:pt>
                <c:pt idx="3448">
                  <c:v>3</c:v>
                </c:pt>
                <c:pt idx="3449">
                  <c:v>4</c:v>
                </c:pt>
                <c:pt idx="3450">
                  <c:v>3</c:v>
                </c:pt>
                <c:pt idx="3451">
                  <c:v>4</c:v>
                </c:pt>
                <c:pt idx="3452">
                  <c:v>3</c:v>
                </c:pt>
                <c:pt idx="3453">
                  <c:v>3</c:v>
                </c:pt>
                <c:pt idx="3454">
                  <c:v>4</c:v>
                </c:pt>
                <c:pt idx="3455">
                  <c:v>3</c:v>
                </c:pt>
                <c:pt idx="3456">
                  <c:v>5</c:v>
                </c:pt>
                <c:pt idx="3457">
                  <c:v>3</c:v>
                </c:pt>
                <c:pt idx="3458">
                  <c:v>0</c:v>
                </c:pt>
                <c:pt idx="3459">
                  <c:v>2</c:v>
                </c:pt>
                <c:pt idx="3460">
                  <c:v>0</c:v>
                </c:pt>
                <c:pt idx="3461">
                  <c:v>2</c:v>
                </c:pt>
                <c:pt idx="3462">
                  <c:v>1</c:v>
                </c:pt>
                <c:pt idx="3463">
                  <c:v>0</c:v>
                </c:pt>
                <c:pt idx="3464">
                  <c:v>0</c:v>
                </c:pt>
                <c:pt idx="3465">
                  <c:v>2</c:v>
                </c:pt>
                <c:pt idx="3466">
                  <c:v>2</c:v>
                </c:pt>
                <c:pt idx="3467">
                  <c:v>3</c:v>
                </c:pt>
                <c:pt idx="3468">
                  <c:v>2</c:v>
                </c:pt>
                <c:pt idx="3469">
                  <c:v>4</c:v>
                </c:pt>
                <c:pt idx="3470">
                  <c:v>3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2</c:v>
                </c:pt>
                <c:pt idx="3483">
                  <c:v>1</c:v>
                </c:pt>
                <c:pt idx="3484">
                  <c:v>1</c:v>
                </c:pt>
                <c:pt idx="3485">
                  <c:v>1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2</c:v>
                </c:pt>
                <c:pt idx="3491">
                  <c:v>2</c:v>
                </c:pt>
                <c:pt idx="3492">
                  <c:v>1</c:v>
                </c:pt>
                <c:pt idx="3493">
                  <c:v>3</c:v>
                </c:pt>
                <c:pt idx="3494">
                  <c:v>2</c:v>
                </c:pt>
                <c:pt idx="3495">
                  <c:v>1</c:v>
                </c:pt>
                <c:pt idx="3496">
                  <c:v>1</c:v>
                </c:pt>
                <c:pt idx="3497">
                  <c:v>1</c:v>
                </c:pt>
                <c:pt idx="3498">
                  <c:v>1</c:v>
                </c:pt>
                <c:pt idx="3499">
                  <c:v>0</c:v>
                </c:pt>
                <c:pt idx="3500">
                  <c:v>1</c:v>
                </c:pt>
                <c:pt idx="3501">
                  <c:v>1</c:v>
                </c:pt>
                <c:pt idx="3502">
                  <c:v>1</c:v>
                </c:pt>
                <c:pt idx="3503">
                  <c:v>0</c:v>
                </c:pt>
                <c:pt idx="3504">
                  <c:v>0</c:v>
                </c:pt>
                <c:pt idx="3505">
                  <c:v>1</c:v>
                </c:pt>
                <c:pt idx="3506">
                  <c:v>1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1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3</c:v>
                </c:pt>
                <c:pt idx="3542">
                  <c:v>0</c:v>
                </c:pt>
                <c:pt idx="3543">
                  <c:v>2</c:v>
                </c:pt>
                <c:pt idx="3544">
                  <c:v>0</c:v>
                </c:pt>
                <c:pt idx="3545">
                  <c:v>1</c:v>
                </c:pt>
                <c:pt idx="3546">
                  <c:v>1</c:v>
                </c:pt>
                <c:pt idx="3547">
                  <c:v>1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3</c:v>
                </c:pt>
                <c:pt idx="3587">
                  <c:v>3</c:v>
                </c:pt>
                <c:pt idx="3588">
                  <c:v>2</c:v>
                </c:pt>
                <c:pt idx="3589">
                  <c:v>1</c:v>
                </c:pt>
                <c:pt idx="3590">
                  <c:v>3</c:v>
                </c:pt>
                <c:pt idx="3591">
                  <c:v>0</c:v>
                </c:pt>
                <c:pt idx="3592">
                  <c:v>0</c:v>
                </c:pt>
                <c:pt idx="3593">
                  <c:v>2</c:v>
                </c:pt>
                <c:pt idx="3594">
                  <c:v>0</c:v>
                </c:pt>
                <c:pt idx="3595">
                  <c:v>1</c:v>
                </c:pt>
                <c:pt idx="3596">
                  <c:v>1</c:v>
                </c:pt>
                <c:pt idx="3597">
                  <c:v>0</c:v>
                </c:pt>
                <c:pt idx="3598">
                  <c:v>0</c:v>
                </c:pt>
                <c:pt idx="3599">
                  <c:v>1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1</c:v>
                </c:pt>
                <c:pt idx="3618">
                  <c:v>2</c:v>
                </c:pt>
                <c:pt idx="3619">
                  <c:v>0</c:v>
                </c:pt>
                <c:pt idx="3620">
                  <c:v>1</c:v>
                </c:pt>
                <c:pt idx="3621">
                  <c:v>1</c:v>
                </c:pt>
                <c:pt idx="3622">
                  <c:v>0</c:v>
                </c:pt>
                <c:pt idx="3623">
                  <c:v>0</c:v>
                </c:pt>
                <c:pt idx="3624">
                  <c:v>2</c:v>
                </c:pt>
                <c:pt idx="3625">
                  <c:v>2</c:v>
                </c:pt>
                <c:pt idx="3626">
                  <c:v>1</c:v>
                </c:pt>
                <c:pt idx="3627">
                  <c:v>0</c:v>
                </c:pt>
                <c:pt idx="3628">
                  <c:v>1</c:v>
                </c:pt>
                <c:pt idx="3629">
                  <c:v>2</c:v>
                </c:pt>
                <c:pt idx="3630">
                  <c:v>0</c:v>
                </c:pt>
                <c:pt idx="3631">
                  <c:v>0</c:v>
                </c:pt>
                <c:pt idx="3632">
                  <c:v>1</c:v>
                </c:pt>
                <c:pt idx="3633">
                  <c:v>2</c:v>
                </c:pt>
                <c:pt idx="3634">
                  <c:v>1</c:v>
                </c:pt>
                <c:pt idx="3635">
                  <c:v>1</c:v>
                </c:pt>
                <c:pt idx="3636">
                  <c:v>2</c:v>
                </c:pt>
                <c:pt idx="3637">
                  <c:v>4</c:v>
                </c:pt>
                <c:pt idx="3638">
                  <c:v>2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2</c:v>
                </c:pt>
                <c:pt idx="3643">
                  <c:v>1</c:v>
                </c:pt>
                <c:pt idx="3644">
                  <c:v>1</c:v>
                </c:pt>
                <c:pt idx="3645">
                  <c:v>0</c:v>
                </c:pt>
                <c:pt idx="3646">
                  <c:v>2</c:v>
                </c:pt>
                <c:pt idx="3647">
                  <c:v>2</c:v>
                </c:pt>
                <c:pt idx="3648">
                  <c:v>1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2</c:v>
                </c:pt>
                <c:pt idx="3653">
                  <c:v>2</c:v>
                </c:pt>
                <c:pt idx="3654">
                  <c:v>1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3320</c:v>
                </c:pt>
                <c:pt idx="3753">
                  <c:v>845</c:v>
                </c:pt>
                <c:pt idx="3754">
                  <c:v>1091</c:v>
                </c:pt>
                <c:pt idx="3755">
                  <c:v>251</c:v>
                </c:pt>
                <c:pt idx="3756">
                  <c:v>771</c:v>
                </c:pt>
                <c:pt idx="3757">
                  <c:v>564</c:v>
                </c:pt>
                <c:pt idx="3758">
                  <c:v>883</c:v>
                </c:pt>
                <c:pt idx="3759">
                  <c:v>991</c:v>
                </c:pt>
                <c:pt idx="3760">
                  <c:v>1085</c:v>
                </c:pt>
                <c:pt idx="3761">
                  <c:v>640</c:v>
                </c:pt>
                <c:pt idx="3762">
                  <c:v>728</c:v>
                </c:pt>
                <c:pt idx="3763">
                  <c:v>603</c:v>
                </c:pt>
                <c:pt idx="3764">
                  <c:v>888</c:v>
                </c:pt>
                <c:pt idx="3765">
                  <c:v>500</c:v>
                </c:pt>
                <c:pt idx="3766">
                  <c:v>943</c:v>
                </c:pt>
                <c:pt idx="3767">
                  <c:v>481</c:v>
                </c:pt>
                <c:pt idx="3768">
                  <c:v>457</c:v>
                </c:pt>
                <c:pt idx="3769">
                  <c:v>301</c:v>
                </c:pt>
                <c:pt idx="3770">
                  <c:v>432</c:v>
                </c:pt>
                <c:pt idx="3771">
                  <c:v>392</c:v>
                </c:pt>
                <c:pt idx="3772">
                  <c:v>453</c:v>
                </c:pt>
                <c:pt idx="3773">
                  <c:v>486</c:v>
                </c:pt>
                <c:pt idx="3774">
                  <c:v>499</c:v>
                </c:pt>
                <c:pt idx="3775">
                  <c:v>478</c:v>
                </c:pt>
                <c:pt idx="3776">
                  <c:v>386</c:v>
                </c:pt>
                <c:pt idx="3777">
                  <c:v>490</c:v>
                </c:pt>
                <c:pt idx="3778">
                  <c:v>475</c:v>
                </c:pt>
                <c:pt idx="3779">
                  <c:v>457</c:v>
                </c:pt>
                <c:pt idx="3780">
                  <c:v>468</c:v>
                </c:pt>
                <c:pt idx="3781">
                  <c:v>374</c:v>
                </c:pt>
                <c:pt idx="3782">
                  <c:v>345</c:v>
                </c:pt>
                <c:pt idx="3783">
                  <c:v>344</c:v>
                </c:pt>
                <c:pt idx="3784">
                  <c:v>366</c:v>
                </c:pt>
                <c:pt idx="3785">
                  <c:v>262</c:v>
                </c:pt>
                <c:pt idx="3786">
                  <c:v>610</c:v>
                </c:pt>
                <c:pt idx="3787">
                  <c:v>278</c:v>
                </c:pt>
                <c:pt idx="3788">
                  <c:v>397</c:v>
                </c:pt>
                <c:pt idx="3789">
                  <c:v>424</c:v>
                </c:pt>
                <c:pt idx="3790">
                  <c:v>424</c:v>
                </c:pt>
                <c:pt idx="3791">
                  <c:v>391</c:v>
                </c:pt>
                <c:pt idx="3792">
                  <c:v>280</c:v>
                </c:pt>
                <c:pt idx="3793">
                  <c:v>517</c:v>
                </c:pt>
                <c:pt idx="3794">
                  <c:v>251</c:v>
                </c:pt>
                <c:pt idx="3795">
                  <c:v>331</c:v>
                </c:pt>
                <c:pt idx="3796">
                  <c:v>294</c:v>
                </c:pt>
                <c:pt idx="3797">
                  <c:v>317</c:v>
                </c:pt>
                <c:pt idx="3798">
                  <c:v>219</c:v>
                </c:pt>
                <c:pt idx="3799">
                  <c:v>217</c:v>
                </c:pt>
                <c:pt idx="3800">
                  <c:v>165</c:v>
                </c:pt>
                <c:pt idx="3801">
                  <c:v>198</c:v>
                </c:pt>
                <c:pt idx="3802">
                  <c:v>317</c:v>
                </c:pt>
                <c:pt idx="3803">
                  <c:v>250</c:v>
                </c:pt>
                <c:pt idx="3804">
                  <c:v>441</c:v>
                </c:pt>
                <c:pt idx="3805">
                  <c:v>321</c:v>
                </c:pt>
                <c:pt idx="3806">
                  <c:v>290</c:v>
                </c:pt>
                <c:pt idx="3807">
                  <c:v>192</c:v>
                </c:pt>
                <c:pt idx="3808">
                  <c:v>335</c:v>
                </c:pt>
                <c:pt idx="3809">
                  <c:v>218</c:v>
                </c:pt>
                <c:pt idx="3810">
                  <c:v>207</c:v>
                </c:pt>
                <c:pt idx="3811">
                  <c:v>203</c:v>
                </c:pt>
                <c:pt idx="3812">
                  <c:v>183</c:v>
                </c:pt>
                <c:pt idx="3813">
                  <c:v>232</c:v>
                </c:pt>
                <c:pt idx="3814">
                  <c:v>270</c:v>
                </c:pt>
                <c:pt idx="3815">
                  <c:v>253</c:v>
                </c:pt>
                <c:pt idx="3816">
                  <c:v>274</c:v>
                </c:pt>
                <c:pt idx="3817">
                  <c:v>169</c:v>
                </c:pt>
                <c:pt idx="3818">
                  <c:v>39</c:v>
                </c:pt>
                <c:pt idx="3819">
                  <c:v>202</c:v>
                </c:pt>
                <c:pt idx="3820">
                  <c:v>160</c:v>
                </c:pt>
                <c:pt idx="3821">
                  <c:v>199</c:v>
                </c:pt>
                <c:pt idx="3822">
                  <c:v>158</c:v>
                </c:pt>
                <c:pt idx="3823">
                  <c:v>207</c:v>
                </c:pt>
                <c:pt idx="3824">
                  <c:v>193</c:v>
                </c:pt>
                <c:pt idx="3825">
                  <c:v>152</c:v>
                </c:pt>
                <c:pt idx="3826">
                  <c:v>223</c:v>
                </c:pt>
                <c:pt idx="3827">
                  <c:v>192</c:v>
                </c:pt>
                <c:pt idx="3828">
                  <c:v>190</c:v>
                </c:pt>
                <c:pt idx="3829">
                  <c:v>188</c:v>
                </c:pt>
                <c:pt idx="3830">
                  <c:v>158</c:v>
                </c:pt>
                <c:pt idx="3831">
                  <c:v>177</c:v>
                </c:pt>
                <c:pt idx="3832">
                  <c:v>194</c:v>
                </c:pt>
                <c:pt idx="3833">
                  <c:v>171</c:v>
                </c:pt>
                <c:pt idx="3834">
                  <c:v>194</c:v>
                </c:pt>
                <c:pt idx="3835">
                  <c:v>206</c:v>
                </c:pt>
                <c:pt idx="3836">
                  <c:v>164</c:v>
                </c:pt>
                <c:pt idx="3837">
                  <c:v>165</c:v>
                </c:pt>
                <c:pt idx="3838">
                  <c:v>174</c:v>
                </c:pt>
                <c:pt idx="3839">
                  <c:v>185</c:v>
                </c:pt>
                <c:pt idx="3840">
                  <c:v>182</c:v>
                </c:pt>
                <c:pt idx="3841">
                  <c:v>156</c:v>
                </c:pt>
                <c:pt idx="3842">
                  <c:v>20</c:v>
                </c:pt>
                <c:pt idx="3843">
                  <c:v>191</c:v>
                </c:pt>
                <c:pt idx="3844">
                  <c:v>159</c:v>
                </c:pt>
                <c:pt idx="3845">
                  <c:v>180</c:v>
                </c:pt>
                <c:pt idx="3846">
                  <c:v>247</c:v>
                </c:pt>
                <c:pt idx="3847">
                  <c:v>244</c:v>
                </c:pt>
                <c:pt idx="3848">
                  <c:v>176</c:v>
                </c:pt>
                <c:pt idx="3849">
                  <c:v>178</c:v>
                </c:pt>
                <c:pt idx="3850">
                  <c:v>174</c:v>
                </c:pt>
                <c:pt idx="3851">
                  <c:v>36</c:v>
                </c:pt>
                <c:pt idx="3852">
                  <c:v>67</c:v>
                </c:pt>
                <c:pt idx="3853">
                  <c:v>61</c:v>
                </c:pt>
                <c:pt idx="3854">
                  <c:v>75</c:v>
                </c:pt>
                <c:pt idx="3855">
                  <c:v>49</c:v>
                </c:pt>
                <c:pt idx="3856">
                  <c:v>31</c:v>
                </c:pt>
                <c:pt idx="3857">
                  <c:v>5</c:v>
                </c:pt>
                <c:pt idx="3858">
                  <c:v>115</c:v>
                </c:pt>
                <c:pt idx="3859">
                  <c:v>14</c:v>
                </c:pt>
                <c:pt idx="3860">
                  <c:v>103</c:v>
                </c:pt>
                <c:pt idx="3861">
                  <c:v>91</c:v>
                </c:pt>
                <c:pt idx="3862">
                  <c:v>83</c:v>
                </c:pt>
                <c:pt idx="3863">
                  <c:v>52</c:v>
                </c:pt>
                <c:pt idx="3864">
                  <c:v>25</c:v>
                </c:pt>
                <c:pt idx="3865">
                  <c:v>15</c:v>
                </c:pt>
                <c:pt idx="3866">
                  <c:v>9</c:v>
                </c:pt>
                <c:pt idx="3867">
                  <c:v>2</c:v>
                </c:pt>
                <c:pt idx="3868">
                  <c:v>3</c:v>
                </c:pt>
                <c:pt idx="3869">
                  <c:v>2</c:v>
                </c:pt>
                <c:pt idx="3870">
                  <c:v>103</c:v>
                </c:pt>
                <c:pt idx="3871">
                  <c:v>118</c:v>
                </c:pt>
                <c:pt idx="3872">
                  <c:v>118</c:v>
                </c:pt>
                <c:pt idx="3873">
                  <c:v>8</c:v>
                </c:pt>
                <c:pt idx="3874">
                  <c:v>5</c:v>
                </c:pt>
                <c:pt idx="3875">
                  <c:v>10</c:v>
                </c:pt>
                <c:pt idx="3876">
                  <c:v>294</c:v>
                </c:pt>
                <c:pt idx="3877">
                  <c:v>23</c:v>
                </c:pt>
                <c:pt idx="3878">
                  <c:v>78</c:v>
                </c:pt>
                <c:pt idx="3879">
                  <c:v>34</c:v>
                </c:pt>
                <c:pt idx="3880">
                  <c:v>78</c:v>
                </c:pt>
                <c:pt idx="3881">
                  <c:v>50</c:v>
                </c:pt>
                <c:pt idx="3882">
                  <c:v>48</c:v>
                </c:pt>
                <c:pt idx="3883">
                  <c:v>49</c:v>
                </c:pt>
                <c:pt idx="3884">
                  <c:v>13</c:v>
                </c:pt>
                <c:pt idx="3885">
                  <c:v>7</c:v>
                </c:pt>
                <c:pt idx="3886">
                  <c:v>11</c:v>
                </c:pt>
                <c:pt idx="3887">
                  <c:v>6</c:v>
                </c:pt>
                <c:pt idx="3888">
                  <c:v>0</c:v>
                </c:pt>
                <c:pt idx="3889">
                  <c:v>0</c:v>
                </c:pt>
                <c:pt idx="3890">
                  <c:v>2</c:v>
                </c:pt>
                <c:pt idx="3891">
                  <c:v>101</c:v>
                </c:pt>
                <c:pt idx="3892">
                  <c:v>9</c:v>
                </c:pt>
                <c:pt idx="3893">
                  <c:v>148</c:v>
                </c:pt>
                <c:pt idx="3894">
                  <c:v>140</c:v>
                </c:pt>
                <c:pt idx="3895">
                  <c:v>96</c:v>
                </c:pt>
                <c:pt idx="3896">
                  <c:v>64</c:v>
                </c:pt>
                <c:pt idx="3897">
                  <c:v>89</c:v>
                </c:pt>
                <c:pt idx="3898">
                  <c:v>49</c:v>
                </c:pt>
                <c:pt idx="3899">
                  <c:v>12</c:v>
                </c:pt>
                <c:pt idx="3900">
                  <c:v>21</c:v>
                </c:pt>
                <c:pt idx="3901">
                  <c:v>14</c:v>
                </c:pt>
                <c:pt idx="3902">
                  <c:v>16</c:v>
                </c:pt>
                <c:pt idx="3903">
                  <c:v>12</c:v>
                </c:pt>
                <c:pt idx="3904">
                  <c:v>16</c:v>
                </c:pt>
                <c:pt idx="3905">
                  <c:v>7</c:v>
                </c:pt>
                <c:pt idx="3906">
                  <c:v>7</c:v>
                </c:pt>
                <c:pt idx="3907">
                  <c:v>5</c:v>
                </c:pt>
                <c:pt idx="3908">
                  <c:v>6</c:v>
                </c:pt>
                <c:pt idx="3909">
                  <c:v>5</c:v>
                </c:pt>
                <c:pt idx="3910">
                  <c:v>4</c:v>
                </c:pt>
                <c:pt idx="3911">
                  <c:v>3</c:v>
                </c:pt>
                <c:pt idx="3912">
                  <c:v>3</c:v>
                </c:pt>
                <c:pt idx="3913">
                  <c:v>2</c:v>
                </c:pt>
                <c:pt idx="3914">
                  <c:v>1</c:v>
                </c:pt>
                <c:pt idx="3915">
                  <c:v>2</c:v>
                </c:pt>
                <c:pt idx="3916">
                  <c:v>1</c:v>
                </c:pt>
                <c:pt idx="3917">
                  <c:v>135</c:v>
                </c:pt>
                <c:pt idx="3918">
                  <c:v>57</c:v>
                </c:pt>
                <c:pt idx="3919">
                  <c:v>29</c:v>
                </c:pt>
                <c:pt idx="3920">
                  <c:v>23</c:v>
                </c:pt>
                <c:pt idx="3921">
                  <c:v>20</c:v>
                </c:pt>
                <c:pt idx="3922">
                  <c:v>1</c:v>
                </c:pt>
                <c:pt idx="3923">
                  <c:v>6</c:v>
                </c:pt>
                <c:pt idx="3924">
                  <c:v>133</c:v>
                </c:pt>
                <c:pt idx="3925">
                  <c:v>139</c:v>
                </c:pt>
                <c:pt idx="3926">
                  <c:v>145</c:v>
                </c:pt>
                <c:pt idx="3927">
                  <c:v>92</c:v>
                </c:pt>
                <c:pt idx="3928">
                  <c:v>37</c:v>
                </c:pt>
                <c:pt idx="3929">
                  <c:v>4</c:v>
                </c:pt>
                <c:pt idx="3930">
                  <c:v>6</c:v>
                </c:pt>
                <c:pt idx="3931">
                  <c:v>28</c:v>
                </c:pt>
                <c:pt idx="3932">
                  <c:v>21</c:v>
                </c:pt>
                <c:pt idx="3933">
                  <c:v>22</c:v>
                </c:pt>
                <c:pt idx="3934">
                  <c:v>15</c:v>
                </c:pt>
                <c:pt idx="3935">
                  <c:v>14</c:v>
                </c:pt>
                <c:pt idx="3936">
                  <c:v>2</c:v>
                </c:pt>
                <c:pt idx="3937">
                  <c:v>9</c:v>
                </c:pt>
                <c:pt idx="3938">
                  <c:v>12</c:v>
                </c:pt>
                <c:pt idx="3939">
                  <c:v>7</c:v>
                </c:pt>
                <c:pt idx="3940">
                  <c:v>2</c:v>
                </c:pt>
                <c:pt idx="3941">
                  <c:v>4</c:v>
                </c:pt>
                <c:pt idx="3942">
                  <c:v>13</c:v>
                </c:pt>
                <c:pt idx="3943">
                  <c:v>5</c:v>
                </c:pt>
                <c:pt idx="3944">
                  <c:v>76</c:v>
                </c:pt>
                <c:pt idx="3945">
                  <c:v>70</c:v>
                </c:pt>
                <c:pt idx="3946">
                  <c:v>34</c:v>
                </c:pt>
                <c:pt idx="3947">
                  <c:v>20</c:v>
                </c:pt>
                <c:pt idx="3948">
                  <c:v>25</c:v>
                </c:pt>
                <c:pt idx="3949">
                  <c:v>26</c:v>
                </c:pt>
                <c:pt idx="3950">
                  <c:v>10</c:v>
                </c:pt>
                <c:pt idx="3951">
                  <c:v>11</c:v>
                </c:pt>
                <c:pt idx="3952">
                  <c:v>17</c:v>
                </c:pt>
                <c:pt idx="3953">
                  <c:v>11</c:v>
                </c:pt>
                <c:pt idx="3954">
                  <c:v>33</c:v>
                </c:pt>
                <c:pt idx="3955">
                  <c:v>21</c:v>
                </c:pt>
                <c:pt idx="3956">
                  <c:v>14</c:v>
                </c:pt>
                <c:pt idx="3957">
                  <c:v>15</c:v>
                </c:pt>
                <c:pt idx="3958">
                  <c:v>9</c:v>
                </c:pt>
                <c:pt idx="3959">
                  <c:v>13</c:v>
                </c:pt>
                <c:pt idx="3960">
                  <c:v>7</c:v>
                </c:pt>
                <c:pt idx="3961">
                  <c:v>4</c:v>
                </c:pt>
                <c:pt idx="3962">
                  <c:v>10</c:v>
                </c:pt>
                <c:pt idx="3963">
                  <c:v>10</c:v>
                </c:pt>
                <c:pt idx="3964">
                  <c:v>7</c:v>
                </c:pt>
                <c:pt idx="3965">
                  <c:v>5</c:v>
                </c:pt>
                <c:pt idx="3966">
                  <c:v>8</c:v>
                </c:pt>
                <c:pt idx="3967">
                  <c:v>9</c:v>
                </c:pt>
                <c:pt idx="3968">
                  <c:v>7</c:v>
                </c:pt>
                <c:pt idx="3969">
                  <c:v>7</c:v>
                </c:pt>
                <c:pt idx="3970">
                  <c:v>7</c:v>
                </c:pt>
                <c:pt idx="3971">
                  <c:v>5</c:v>
                </c:pt>
                <c:pt idx="3972">
                  <c:v>4</c:v>
                </c:pt>
                <c:pt idx="3973">
                  <c:v>4</c:v>
                </c:pt>
                <c:pt idx="3974">
                  <c:v>4</c:v>
                </c:pt>
                <c:pt idx="3975">
                  <c:v>3</c:v>
                </c:pt>
                <c:pt idx="3976">
                  <c:v>3</c:v>
                </c:pt>
                <c:pt idx="3977">
                  <c:v>3</c:v>
                </c:pt>
                <c:pt idx="3978">
                  <c:v>2</c:v>
                </c:pt>
                <c:pt idx="3979">
                  <c:v>1</c:v>
                </c:pt>
                <c:pt idx="3980">
                  <c:v>1</c:v>
                </c:pt>
                <c:pt idx="3981">
                  <c:v>1</c:v>
                </c:pt>
                <c:pt idx="3982">
                  <c:v>2</c:v>
                </c:pt>
                <c:pt idx="3983">
                  <c:v>2</c:v>
                </c:pt>
                <c:pt idx="3984">
                  <c:v>0</c:v>
                </c:pt>
                <c:pt idx="3985">
                  <c:v>0</c:v>
                </c:pt>
                <c:pt idx="3986">
                  <c:v>0</c:v>
                </c:pt>
                <c:pt idx="3987">
                  <c:v>0</c:v>
                </c:pt>
                <c:pt idx="3988">
                  <c:v>0</c:v>
                </c:pt>
                <c:pt idx="3989">
                  <c:v>0</c:v>
                </c:pt>
                <c:pt idx="3990">
                  <c:v>3</c:v>
                </c:pt>
                <c:pt idx="3991">
                  <c:v>143</c:v>
                </c:pt>
                <c:pt idx="3992">
                  <c:v>111</c:v>
                </c:pt>
                <c:pt idx="3993">
                  <c:v>81</c:v>
                </c:pt>
                <c:pt idx="3994">
                  <c:v>71</c:v>
                </c:pt>
                <c:pt idx="3995">
                  <c:v>98</c:v>
                </c:pt>
                <c:pt idx="3996">
                  <c:v>84</c:v>
                </c:pt>
                <c:pt idx="3997">
                  <c:v>85</c:v>
                </c:pt>
                <c:pt idx="3998">
                  <c:v>84</c:v>
                </c:pt>
                <c:pt idx="3999">
                  <c:v>31</c:v>
                </c:pt>
                <c:pt idx="4000">
                  <c:v>55</c:v>
                </c:pt>
                <c:pt idx="4001">
                  <c:v>39</c:v>
                </c:pt>
                <c:pt idx="4002">
                  <c:v>21</c:v>
                </c:pt>
                <c:pt idx="4003">
                  <c:v>16</c:v>
                </c:pt>
                <c:pt idx="4004">
                  <c:v>18</c:v>
                </c:pt>
                <c:pt idx="4005">
                  <c:v>15</c:v>
                </c:pt>
                <c:pt idx="4006">
                  <c:v>41</c:v>
                </c:pt>
                <c:pt idx="4007">
                  <c:v>26</c:v>
                </c:pt>
                <c:pt idx="4008">
                  <c:v>25</c:v>
                </c:pt>
                <c:pt idx="4009">
                  <c:v>24</c:v>
                </c:pt>
                <c:pt idx="4010">
                  <c:v>15</c:v>
                </c:pt>
                <c:pt idx="4011">
                  <c:v>24</c:v>
                </c:pt>
                <c:pt idx="4012">
                  <c:v>15</c:v>
                </c:pt>
                <c:pt idx="4013">
                  <c:v>30</c:v>
                </c:pt>
                <c:pt idx="4014">
                  <c:v>3</c:v>
                </c:pt>
                <c:pt idx="4015">
                  <c:v>10</c:v>
                </c:pt>
                <c:pt idx="4016">
                  <c:v>11</c:v>
                </c:pt>
                <c:pt idx="4017">
                  <c:v>8</c:v>
                </c:pt>
                <c:pt idx="4018">
                  <c:v>7</c:v>
                </c:pt>
                <c:pt idx="4019">
                  <c:v>6</c:v>
                </c:pt>
                <c:pt idx="4020">
                  <c:v>8</c:v>
                </c:pt>
                <c:pt idx="4021">
                  <c:v>21</c:v>
                </c:pt>
                <c:pt idx="4022">
                  <c:v>8</c:v>
                </c:pt>
                <c:pt idx="4023">
                  <c:v>4</c:v>
                </c:pt>
                <c:pt idx="4024">
                  <c:v>4</c:v>
                </c:pt>
                <c:pt idx="4025">
                  <c:v>1</c:v>
                </c:pt>
                <c:pt idx="4026">
                  <c:v>1</c:v>
                </c:pt>
                <c:pt idx="4027">
                  <c:v>7</c:v>
                </c:pt>
                <c:pt idx="4028">
                  <c:v>8</c:v>
                </c:pt>
                <c:pt idx="4029">
                  <c:v>1</c:v>
                </c:pt>
                <c:pt idx="4030">
                  <c:v>65</c:v>
                </c:pt>
                <c:pt idx="4031">
                  <c:v>36</c:v>
                </c:pt>
                <c:pt idx="4032">
                  <c:v>63</c:v>
                </c:pt>
                <c:pt idx="4033">
                  <c:v>79</c:v>
                </c:pt>
                <c:pt idx="4034">
                  <c:v>102</c:v>
                </c:pt>
                <c:pt idx="4035">
                  <c:v>136</c:v>
                </c:pt>
                <c:pt idx="4036">
                  <c:v>135</c:v>
                </c:pt>
                <c:pt idx="4037">
                  <c:v>107</c:v>
                </c:pt>
                <c:pt idx="4038">
                  <c:v>113</c:v>
                </c:pt>
                <c:pt idx="4039">
                  <c:v>120</c:v>
                </c:pt>
                <c:pt idx="4040">
                  <c:v>85</c:v>
                </c:pt>
                <c:pt idx="4041">
                  <c:v>118</c:v>
                </c:pt>
                <c:pt idx="4042">
                  <c:v>104</c:v>
                </c:pt>
                <c:pt idx="4043">
                  <c:v>100</c:v>
                </c:pt>
                <c:pt idx="4044">
                  <c:v>16</c:v>
                </c:pt>
                <c:pt idx="4045">
                  <c:v>55</c:v>
                </c:pt>
                <c:pt idx="4046">
                  <c:v>54</c:v>
                </c:pt>
                <c:pt idx="4047">
                  <c:v>24</c:v>
                </c:pt>
                <c:pt idx="4048">
                  <c:v>28</c:v>
                </c:pt>
                <c:pt idx="4049">
                  <c:v>60</c:v>
                </c:pt>
                <c:pt idx="4050">
                  <c:v>18</c:v>
                </c:pt>
                <c:pt idx="4051">
                  <c:v>21</c:v>
                </c:pt>
                <c:pt idx="4052">
                  <c:v>10</c:v>
                </c:pt>
                <c:pt idx="4053">
                  <c:v>14</c:v>
                </c:pt>
                <c:pt idx="4054">
                  <c:v>11</c:v>
                </c:pt>
                <c:pt idx="4055">
                  <c:v>9</c:v>
                </c:pt>
                <c:pt idx="4056">
                  <c:v>7</c:v>
                </c:pt>
                <c:pt idx="4057">
                  <c:v>4</c:v>
                </c:pt>
                <c:pt idx="4058">
                  <c:v>137</c:v>
                </c:pt>
                <c:pt idx="4059">
                  <c:v>42</c:v>
                </c:pt>
                <c:pt idx="4060">
                  <c:v>21</c:v>
                </c:pt>
                <c:pt idx="4061">
                  <c:v>10</c:v>
                </c:pt>
                <c:pt idx="4062">
                  <c:v>12</c:v>
                </c:pt>
                <c:pt idx="4063">
                  <c:v>4</c:v>
                </c:pt>
                <c:pt idx="4064">
                  <c:v>5</c:v>
                </c:pt>
                <c:pt idx="4065">
                  <c:v>7</c:v>
                </c:pt>
                <c:pt idx="4066">
                  <c:v>4</c:v>
                </c:pt>
                <c:pt idx="4067">
                  <c:v>7</c:v>
                </c:pt>
                <c:pt idx="4068">
                  <c:v>8</c:v>
                </c:pt>
                <c:pt idx="4069">
                  <c:v>10</c:v>
                </c:pt>
                <c:pt idx="4070">
                  <c:v>15</c:v>
                </c:pt>
                <c:pt idx="4071">
                  <c:v>16</c:v>
                </c:pt>
                <c:pt idx="4072">
                  <c:v>6</c:v>
                </c:pt>
                <c:pt idx="4073">
                  <c:v>14</c:v>
                </c:pt>
                <c:pt idx="4074">
                  <c:v>11</c:v>
                </c:pt>
                <c:pt idx="4075">
                  <c:v>19</c:v>
                </c:pt>
                <c:pt idx="4076">
                  <c:v>7</c:v>
                </c:pt>
                <c:pt idx="4077">
                  <c:v>13</c:v>
                </c:pt>
                <c:pt idx="4078">
                  <c:v>13</c:v>
                </c:pt>
                <c:pt idx="4079">
                  <c:v>6</c:v>
                </c:pt>
                <c:pt idx="4080">
                  <c:v>6</c:v>
                </c:pt>
                <c:pt idx="4081">
                  <c:v>7</c:v>
                </c:pt>
                <c:pt idx="4082">
                  <c:v>7</c:v>
                </c:pt>
                <c:pt idx="4083">
                  <c:v>6</c:v>
                </c:pt>
                <c:pt idx="4084">
                  <c:v>7</c:v>
                </c:pt>
                <c:pt idx="4085">
                  <c:v>4</c:v>
                </c:pt>
                <c:pt idx="4086">
                  <c:v>6</c:v>
                </c:pt>
                <c:pt idx="4087">
                  <c:v>4</c:v>
                </c:pt>
                <c:pt idx="4088">
                  <c:v>4</c:v>
                </c:pt>
                <c:pt idx="4089">
                  <c:v>93</c:v>
                </c:pt>
                <c:pt idx="4090">
                  <c:v>16</c:v>
                </c:pt>
                <c:pt idx="4091">
                  <c:v>5</c:v>
                </c:pt>
                <c:pt idx="4092">
                  <c:v>13</c:v>
                </c:pt>
                <c:pt idx="4093">
                  <c:v>9</c:v>
                </c:pt>
                <c:pt idx="4094">
                  <c:v>8</c:v>
                </c:pt>
                <c:pt idx="4095">
                  <c:v>8</c:v>
                </c:pt>
                <c:pt idx="4096">
                  <c:v>14</c:v>
                </c:pt>
                <c:pt idx="4097">
                  <c:v>4</c:v>
                </c:pt>
                <c:pt idx="4098">
                  <c:v>8</c:v>
                </c:pt>
                <c:pt idx="4099">
                  <c:v>8</c:v>
                </c:pt>
                <c:pt idx="4100">
                  <c:v>10</c:v>
                </c:pt>
                <c:pt idx="4101">
                  <c:v>7</c:v>
                </c:pt>
                <c:pt idx="4102">
                  <c:v>4</c:v>
                </c:pt>
                <c:pt idx="4103">
                  <c:v>6</c:v>
                </c:pt>
                <c:pt idx="4104">
                  <c:v>4</c:v>
                </c:pt>
                <c:pt idx="4105">
                  <c:v>9</c:v>
                </c:pt>
                <c:pt idx="4106">
                  <c:v>4</c:v>
                </c:pt>
                <c:pt idx="4107">
                  <c:v>7</c:v>
                </c:pt>
                <c:pt idx="4108">
                  <c:v>5</c:v>
                </c:pt>
                <c:pt idx="4109">
                  <c:v>4</c:v>
                </c:pt>
                <c:pt idx="4110">
                  <c:v>4</c:v>
                </c:pt>
                <c:pt idx="4111">
                  <c:v>5</c:v>
                </c:pt>
                <c:pt idx="4112">
                  <c:v>5</c:v>
                </c:pt>
                <c:pt idx="4113">
                  <c:v>4</c:v>
                </c:pt>
                <c:pt idx="4114">
                  <c:v>4</c:v>
                </c:pt>
                <c:pt idx="4115">
                  <c:v>4</c:v>
                </c:pt>
                <c:pt idx="4116">
                  <c:v>4</c:v>
                </c:pt>
                <c:pt idx="4117">
                  <c:v>4</c:v>
                </c:pt>
                <c:pt idx="4118">
                  <c:v>81</c:v>
                </c:pt>
                <c:pt idx="4119">
                  <c:v>19</c:v>
                </c:pt>
                <c:pt idx="4120">
                  <c:v>4</c:v>
                </c:pt>
                <c:pt idx="4121">
                  <c:v>4</c:v>
                </c:pt>
                <c:pt idx="4122">
                  <c:v>7</c:v>
                </c:pt>
                <c:pt idx="4123">
                  <c:v>18</c:v>
                </c:pt>
                <c:pt idx="4124">
                  <c:v>14</c:v>
                </c:pt>
                <c:pt idx="4125">
                  <c:v>9</c:v>
                </c:pt>
                <c:pt idx="4126">
                  <c:v>4</c:v>
                </c:pt>
                <c:pt idx="4127">
                  <c:v>208</c:v>
                </c:pt>
                <c:pt idx="4128">
                  <c:v>186</c:v>
                </c:pt>
                <c:pt idx="4129">
                  <c:v>112</c:v>
                </c:pt>
                <c:pt idx="4130">
                  <c:v>206</c:v>
                </c:pt>
                <c:pt idx="4131">
                  <c:v>141</c:v>
                </c:pt>
                <c:pt idx="4132">
                  <c:v>132</c:v>
                </c:pt>
                <c:pt idx="4133">
                  <c:v>46</c:v>
                </c:pt>
                <c:pt idx="4134">
                  <c:v>142</c:v>
                </c:pt>
                <c:pt idx="4135">
                  <c:v>139</c:v>
                </c:pt>
                <c:pt idx="4136">
                  <c:v>102</c:v>
                </c:pt>
                <c:pt idx="4137">
                  <c:v>124</c:v>
                </c:pt>
                <c:pt idx="4138">
                  <c:v>133</c:v>
                </c:pt>
                <c:pt idx="4139">
                  <c:v>168</c:v>
                </c:pt>
                <c:pt idx="4140">
                  <c:v>126</c:v>
                </c:pt>
                <c:pt idx="4141">
                  <c:v>133</c:v>
                </c:pt>
                <c:pt idx="4142">
                  <c:v>126</c:v>
                </c:pt>
                <c:pt idx="4143">
                  <c:v>189</c:v>
                </c:pt>
                <c:pt idx="4144">
                  <c:v>131</c:v>
                </c:pt>
                <c:pt idx="4145">
                  <c:v>114</c:v>
                </c:pt>
                <c:pt idx="4146">
                  <c:v>163</c:v>
                </c:pt>
                <c:pt idx="4147">
                  <c:v>115</c:v>
                </c:pt>
                <c:pt idx="4148">
                  <c:v>126</c:v>
                </c:pt>
                <c:pt idx="4149">
                  <c:v>106</c:v>
                </c:pt>
                <c:pt idx="4150">
                  <c:v>90</c:v>
                </c:pt>
                <c:pt idx="4151">
                  <c:v>100</c:v>
                </c:pt>
                <c:pt idx="4152">
                  <c:v>119</c:v>
                </c:pt>
                <c:pt idx="4153">
                  <c:v>88</c:v>
                </c:pt>
                <c:pt idx="4154">
                  <c:v>87</c:v>
                </c:pt>
                <c:pt idx="4155">
                  <c:v>60</c:v>
                </c:pt>
                <c:pt idx="4156">
                  <c:v>87</c:v>
                </c:pt>
                <c:pt idx="4157">
                  <c:v>95</c:v>
                </c:pt>
                <c:pt idx="4158">
                  <c:v>31</c:v>
                </c:pt>
                <c:pt idx="4159">
                  <c:v>57</c:v>
                </c:pt>
                <c:pt idx="4160">
                  <c:v>50</c:v>
                </c:pt>
                <c:pt idx="4161">
                  <c:v>66</c:v>
                </c:pt>
                <c:pt idx="4162">
                  <c:v>68</c:v>
                </c:pt>
                <c:pt idx="4163">
                  <c:v>51</c:v>
                </c:pt>
                <c:pt idx="4164">
                  <c:v>51</c:v>
                </c:pt>
                <c:pt idx="4165">
                  <c:v>17</c:v>
                </c:pt>
                <c:pt idx="4166">
                  <c:v>56</c:v>
                </c:pt>
                <c:pt idx="4167">
                  <c:v>30</c:v>
                </c:pt>
                <c:pt idx="4168">
                  <c:v>42</c:v>
                </c:pt>
                <c:pt idx="4169">
                  <c:v>28</c:v>
                </c:pt>
                <c:pt idx="4170">
                  <c:v>49</c:v>
                </c:pt>
                <c:pt idx="4171">
                  <c:v>26</c:v>
                </c:pt>
                <c:pt idx="4172">
                  <c:v>37</c:v>
                </c:pt>
                <c:pt idx="4173">
                  <c:v>53</c:v>
                </c:pt>
                <c:pt idx="4174">
                  <c:v>50</c:v>
                </c:pt>
                <c:pt idx="4175">
                  <c:v>25</c:v>
                </c:pt>
                <c:pt idx="4176">
                  <c:v>26</c:v>
                </c:pt>
                <c:pt idx="4177">
                  <c:v>26</c:v>
                </c:pt>
                <c:pt idx="4178">
                  <c:v>37</c:v>
                </c:pt>
                <c:pt idx="4179">
                  <c:v>33</c:v>
                </c:pt>
                <c:pt idx="4180">
                  <c:v>39</c:v>
                </c:pt>
                <c:pt idx="4181">
                  <c:v>14</c:v>
                </c:pt>
                <c:pt idx="4182">
                  <c:v>33</c:v>
                </c:pt>
                <c:pt idx="4183">
                  <c:v>30</c:v>
                </c:pt>
                <c:pt idx="4184">
                  <c:v>18</c:v>
                </c:pt>
                <c:pt idx="4185">
                  <c:v>17</c:v>
                </c:pt>
                <c:pt idx="4186">
                  <c:v>9</c:v>
                </c:pt>
                <c:pt idx="4187">
                  <c:v>27</c:v>
                </c:pt>
                <c:pt idx="4188">
                  <c:v>17</c:v>
                </c:pt>
                <c:pt idx="4189">
                  <c:v>19</c:v>
                </c:pt>
                <c:pt idx="4190">
                  <c:v>23</c:v>
                </c:pt>
                <c:pt idx="4191">
                  <c:v>24</c:v>
                </c:pt>
                <c:pt idx="4192">
                  <c:v>99</c:v>
                </c:pt>
                <c:pt idx="4193">
                  <c:v>142</c:v>
                </c:pt>
                <c:pt idx="4194">
                  <c:v>108</c:v>
                </c:pt>
                <c:pt idx="4195">
                  <c:v>134</c:v>
                </c:pt>
                <c:pt idx="4196">
                  <c:v>151</c:v>
                </c:pt>
                <c:pt idx="4197">
                  <c:v>103</c:v>
                </c:pt>
                <c:pt idx="4198">
                  <c:v>125</c:v>
                </c:pt>
                <c:pt idx="4199">
                  <c:v>96</c:v>
                </c:pt>
                <c:pt idx="4200">
                  <c:v>175</c:v>
                </c:pt>
                <c:pt idx="4201">
                  <c:v>72</c:v>
                </c:pt>
                <c:pt idx="4202">
                  <c:v>87</c:v>
                </c:pt>
                <c:pt idx="4203">
                  <c:v>114</c:v>
                </c:pt>
                <c:pt idx="4204">
                  <c:v>94</c:v>
                </c:pt>
                <c:pt idx="4205">
                  <c:v>92</c:v>
                </c:pt>
                <c:pt idx="4206">
                  <c:v>89</c:v>
                </c:pt>
                <c:pt idx="4207">
                  <c:v>82</c:v>
                </c:pt>
                <c:pt idx="4208">
                  <c:v>145</c:v>
                </c:pt>
                <c:pt idx="4209">
                  <c:v>99</c:v>
                </c:pt>
                <c:pt idx="4210">
                  <c:v>61</c:v>
                </c:pt>
                <c:pt idx="4211">
                  <c:v>64</c:v>
                </c:pt>
                <c:pt idx="4212">
                  <c:v>61</c:v>
                </c:pt>
                <c:pt idx="4213">
                  <c:v>22</c:v>
                </c:pt>
                <c:pt idx="4214">
                  <c:v>13</c:v>
                </c:pt>
                <c:pt idx="4215">
                  <c:v>9</c:v>
                </c:pt>
                <c:pt idx="4216">
                  <c:v>15</c:v>
                </c:pt>
                <c:pt idx="4217">
                  <c:v>8</c:v>
                </c:pt>
                <c:pt idx="4218">
                  <c:v>5</c:v>
                </c:pt>
                <c:pt idx="4219">
                  <c:v>1</c:v>
                </c:pt>
                <c:pt idx="4220">
                  <c:v>0</c:v>
                </c:pt>
                <c:pt idx="4221">
                  <c:v>0</c:v>
                </c:pt>
                <c:pt idx="4222">
                  <c:v>3</c:v>
                </c:pt>
                <c:pt idx="4223">
                  <c:v>1</c:v>
                </c:pt>
                <c:pt idx="4224">
                  <c:v>1</c:v>
                </c:pt>
                <c:pt idx="4225">
                  <c:v>0</c:v>
                </c:pt>
                <c:pt idx="4226">
                  <c:v>152</c:v>
                </c:pt>
                <c:pt idx="4227">
                  <c:v>75</c:v>
                </c:pt>
                <c:pt idx="4228">
                  <c:v>112</c:v>
                </c:pt>
                <c:pt idx="4229">
                  <c:v>84</c:v>
                </c:pt>
                <c:pt idx="4230">
                  <c:v>47</c:v>
                </c:pt>
                <c:pt idx="4231">
                  <c:v>46</c:v>
                </c:pt>
                <c:pt idx="4232">
                  <c:v>49</c:v>
                </c:pt>
                <c:pt idx="4233">
                  <c:v>31</c:v>
                </c:pt>
                <c:pt idx="4234">
                  <c:v>49</c:v>
                </c:pt>
                <c:pt idx="4235">
                  <c:v>26</c:v>
                </c:pt>
                <c:pt idx="4236">
                  <c:v>25</c:v>
                </c:pt>
                <c:pt idx="4237">
                  <c:v>5</c:v>
                </c:pt>
                <c:pt idx="4238">
                  <c:v>29</c:v>
                </c:pt>
                <c:pt idx="4239">
                  <c:v>16</c:v>
                </c:pt>
                <c:pt idx="4240">
                  <c:v>4</c:v>
                </c:pt>
                <c:pt idx="4241">
                  <c:v>7</c:v>
                </c:pt>
                <c:pt idx="4242">
                  <c:v>2</c:v>
                </c:pt>
                <c:pt idx="4243">
                  <c:v>5</c:v>
                </c:pt>
                <c:pt idx="4244">
                  <c:v>4</c:v>
                </c:pt>
                <c:pt idx="4245">
                  <c:v>2</c:v>
                </c:pt>
                <c:pt idx="4246">
                  <c:v>1</c:v>
                </c:pt>
                <c:pt idx="4247">
                  <c:v>2</c:v>
                </c:pt>
                <c:pt idx="4248">
                  <c:v>2</c:v>
                </c:pt>
                <c:pt idx="4249">
                  <c:v>1</c:v>
                </c:pt>
                <c:pt idx="4250">
                  <c:v>0</c:v>
                </c:pt>
                <c:pt idx="4251">
                  <c:v>42</c:v>
                </c:pt>
                <c:pt idx="4252">
                  <c:v>6</c:v>
                </c:pt>
                <c:pt idx="4253">
                  <c:v>44</c:v>
                </c:pt>
                <c:pt idx="4254">
                  <c:v>37</c:v>
                </c:pt>
                <c:pt idx="4255">
                  <c:v>49</c:v>
                </c:pt>
                <c:pt idx="4256">
                  <c:v>35</c:v>
                </c:pt>
                <c:pt idx="4257">
                  <c:v>24</c:v>
                </c:pt>
                <c:pt idx="4258">
                  <c:v>33</c:v>
                </c:pt>
                <c:pt idx="4259">
                  <c:v>27</c:v>
                </c:pt>
                <c:pt idx="4260">
                  <c:v>16</c:v>
                </c:pt>
                <c:pt idx="4261">
                  <c:v>10</c:v>
                </c:pt>
                <c:pt idx="4262">
                  <c:v>23</c:v>
                </c:pt>
                <c:pt idx="4263">
                  <c:v>7</c:v>
                </c:pt>
                <c:pt idx="4264">
                  <c:v>10</c:v>
                </c:pt>
                <c:pt idx="4265">
                  <c:v>7</c:v>
                </c:pt>
                <c:pt idx="4266">
                  <c:v>10</c:v>
                </c:pt>
                <c:pt idx="4267">
                  <c:v>3</c:v>
                </c:pt>
                <c:pt idx="4268">
                  <c:v>8</c:v>
                </c:pt>
                <c:pt idx="4269">
                  <c:v>1</c:v>
                </c:pt>
                <c:pt idx="4270">
                  <c:v>3</c:v>
                </c:pt>
                <c:pt idx="4271">
                  <c:v>1</c:v>
                </c:pt>
                <c:pt idx="4272">
                  <c:v>0</c:v>
                </c:pt>
                <c:pt idx="4273">
                  <c:v>0</c:v>
                </c:pt>
                <c:pt idx="4274">
                  <c:v>0</c:v>
                </c:pt>
                <c:pt idx="4275">
                  <c:v>3</c:v>
                </c:pt>
                <c:pt idx="4276">
                  <c:v>92</c:v>
                </c:pt>
                <c:pt idx="4277">
                  <c:v>106</c:v>
                </c:pt>
                <c:pt idx="4278">
                  <c:v>66</c:v>
                </c:pt>
                <c:pt idx="4279">
                  <c:v>45</c:v>
                </c:pt>
                <c:pt idx="4280">
                  <c:v>41</c:v>
                </c:pt>
                <c:pt idx="4281">
                  <c:v>20</c:v>
                </c:pt>
                <c:pt idx="4282">
                  <c:v>11</c:v>
                </c:pt>
                <c:pt idx="4283">
                  <c:v>8</c:v>
                </c:pt>
                <c:pt idx="4284">
                  <c:v>3</c:v>
                </c:pt>
                <c:pt idx="4285">
                  <c:v>4</c:v>
                </c:pt>
                <c:pt idx="4286">
                  <c:v>3</c:v>
                </c:pt>
                <c:pt idx="4287">
                  <c:v>3</c:v>
                </c:pt>
                <c:pt idx="4288">
                  <c:v>1</c:v>
                </c:pt>
                <c:pt idx="4289">
                  <c:v>1</c:v>
                </c:pt>
                <c:pt idx="4290">
                  <c:v>0</c:v>
                </c:pt>
                <c:pt idx="4291">
                  <c:v>0</c:v>
                </c:pt>
                <c:pt idx="4292">
                  <c:v>39</c:v>
                </c:pt>
                <c:pt idx="4293">
                  <c:v>36</c:v>
                </c:pt>
                <c:pt idx="4294">
                  <c:v>37</c:v>
                </c:pt>
                <c:pt idx="4295">
                  <c:v>20</c:v>
                </c:pt>
                <c:pt idx="4296">
                  <c:v>6</c:v>
                </c:pt>
                <c:pt idx="4297">
                  <c:v>22</c:v>
                </c:pt>
                <c:pt idx="4298">
                  <c:v>9</c:v>
                </c:pt>
                <c:pt idx="4299">
                  <c:v>3</c:v>
                </c:pt>
                <c:pt idx="4300">
                  <c:v>5</c:v>
                </c:pt>
                <c:pt idx="4301">
                  <c:v>3</c:v>
                </c:pt>
                <c:pt idx="4302">
                  <c:v>2</c:v>
                </c:pt>
                <c:pt idx="4303">
                  <c:v>3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47</c:v>
                </c:pt>
                <c:pt idx="4310">
                  <c:v>76</c:v>
                </c:pt>
                <c:pt idx="4311">
                  <c:v>59</c:v>
                </c:pt>
                <c:pt idx="4312">
                  <c:v>34</c:v>
                </c:pt>
                <c:pt idx="4313">
                  <c:v>33</c:v>
                </c:pt>
                <c:pt idx="4314">
                  <c:v>55</c:v>
                </c:pt>
                <c:pt idx="4315">
                  <c:v>11</c:v>
                </c:pt>
                <c:pt idx="4316">
                  <c:v>8</c:v>
                </c:pt>
                <c:pt idx="4317">
                  <c:v>19</c:v>
                </c:pt>
                <c:pt idx="4318">
                  <c:v>12</c:v>
                </c:pt>
                <c:pt idx="4319">
                  <c:v>14</c:v>
                </c:pt>
                <c:pt idx="4320">
                  <c:v>3</c:v>
                </c:pt>
                <c:pt idx="4321">
                  <c:v>5</c:v>
                </c:pt>
                <c:pt idx="4322">
                  <c:v>7</c:v>
                </c:pt>
                <c:pt idx="4323">
                  <c:v>6</c:v>
                </c:pt>
                <c:pt idx="4324">
                  <c:v>0</c:v>
                </c:pt>
                <c:pt idx="4325">
                  <c:v>2</c:v>
                </c:pt>
                <c:pt idx="4326">
                  <c:v>3</c:v>
                </c:pt>
                <c:pt idx="4327">
                  <c:v>2</c:v>
                </c:pt>
                <c:pt idx="4328">
                  <c:v>1</c:v>
                </c:pt>
                <c:pt idx="4329">
                  <c:v>1</c:v>
                </c:pt>
                <c:pt idx="4330">
                  <c:v>1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55</c:v>
                </c:pt>
                <c:pt idx="4335">
                  <c:v>51</c:v>
                </c:pt>
                <c:pt idx="4336">
                  <c:v>59</c:v>
                </c:pt>
                <c:pt idx="4337">
                  <c:v>17</c:v>
                </c:pt>
                <c:pt idx="4338">
                  <c:v>22</c:v>
                </c:pt>
                <c:pt idx="4339">
                  <c:v>6</c:v>
                </c:pt>
                <c:pt idx="4340">
                  <c:v>1</c:v>
                </c:pt>
                <c:pt idx="4341">
                  <c:v>1</c:v>
                </c:pt>
                <c:pt idx="4342">
                  <c:v>0</c:v>
                </c:pt>
                <c:pt idx="4343">
                  <c:v>0</c:v>
                </c:pt>
                <c:pt idx="4344">
                  <c:v>13</c:v>
                </c:pt>
                <c:pt idx="4345">
                  <c:v>9</c:v>
                </c:pt>
                <c:pt idx="4346">
                  <c:v>6</c:v>
                </c:pt>
                <c:pt idx="4347">
                  <c:v>0</c:v>
                </c:pt>
                <c:pt idx="4348">
                  <c:v>9</c:v>
                </c:pt>
                <c:pt idx="4349">
                  <c:v>3</c:v>
                </c:pt>
                <c:pt idx="4350">
                  <c:v>0</c:v>
                </c:pt>
                <c:pt idx="4351">
                  <c:v>23</c:v>
                </c:pt>
                <c:pt idx="4352">
                  <c:v>48</c:v>
                </c:pt>
                <c:pt idx="4353">
                  <c:v>38</c:v>
                </c:pt>
                <c:pt idx="4354">
                  <c:v>13</c:v>
                </c:pt>
                <c:pt idx="4355">
                  <c:v>0</c:v>
                </c:pt>
                <c:pt idx="4356">
                  <c:v>3</c:v>
                </c:pt>
                <c:pt idx="4357">
                  <c:v>19</c:v>
                </c:pt>
                <c:pt idx="4358">
                  <c:v>14</c:v>
                </c:pt>
                <c:pt idx="4359">
                  <c:v>3</c:v>
                </c:pt>
                <c:pt idx="4360">
                  <c:v>4</c:v>
                </c:pt>
                <c:pt idx="4361">
                  <c:v>0</c:v>
                </c:pt>
                <c:pt idx="4362">
                  <c:v>6</c:v>
                </c:pt>
                <c:pt idx="4363">
                  <c:v>5</c:v>
                </c:pt>
                <c:pt idx="4364">
                  <c:v>1</c:v>
                </c:pt>
                <c:pt idx="4365">
                  <c:v>3</c:v>
                </c:pt>
                <c:pt idx="4366">
                  <c:v>3</c:v>
                </c:pt>
                <c:pt idx="4367">
                  <c:v>2</c:v>
                </c:pt>
                <c:pt idx="4368">
                  <c:v>2</c:v>
                </c:pt>
                <c:pt idx="4369">
                  <c:v>2</c:v>
                </c:pt>
                <c:pt idx="4370">
                  <c:v>1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77</c:v>
                </c:pt>
                <c:pt idx="4379">
                  <c:v>22</c:v>
                </c:pt>
                <c:pt idx="4380">
                  <c:v>112</c:v>
                </c:pt>
                <c:pt idx="4381">
                  <c:v>513</c:v>
                </c:pt>
                <c:pt idx="4382">
                  <c:v>723</c:v>
                </c:pt>
                <c:pt idx="4383">
                  <c:v>881</c:v>
                </c:pt>
                <c:pt idx="4384">
                  <c:v>346</c:v>
                </c:pt>
                <c:pt idx="4385">
                  <c:v>533</c:v>
                </c:pt>
                <c:pt idx="4386">
                  <c:v>575</c:v>
                </c:pt>
                <c:pt idx="4387">
                  <c:v>652</c:v>
                </c:pt>
                <c:pt idx="4388">
                  <c:v>431</c:v>
                </c:pt>
                <c:pt idx="4389">
                  <c:v>462</c:v>
                </c:pt>
                <c:pt idx="4390">
                  <c:v>585</c:v>
                </c:pt>
                <c:pt idx="4391">
                  <c:v>575</c:v>
                </c:pt>
                <c:pt idx="4392">
                  <c:v>462</c:v>
                </c:pt>
                <c:pt idx="4393">
                  <c:v>343</c:v>
                </c:pt>
                <c:pt idx="4394">
                  <c:v>434</c:v>
                </c:pt>
                <c:pt idx="4395">
                  <c:v>518</c:v>
                </c:pt>
                <c:pt idx="4396">
                  <c:v>447</c:v>
                </c:pt>
                <c:pt idx="4397">
                  <c:v>331</c:v>
                </c:pt>
                <c:pt idx="4398">
                  <c:v>252</c:v>
                </c:pt>
                <c:pt idx="4399">
                  <c:v>873</c:v>
                </c:pt>
                <c:pt idx="4400">
                  <c:v>428</c:v>
                </c:pt>
                <c:pt idx="4401">
                  <c:v>352</c:v>
                </c:pt>
                <c:pt idx="4402">
                  <c:v>258</c:v>
                </c:pt>
                <c:pt idx="4403">
                  <c:v>323</c:v>
                </c:pt>
                <c:pt idx="4404">
                  <c:v>548</c:v>
                </c:pt>
                <c:pt idx="4405">
                  <c:v>308</c:v>
                </c:pt>
                <c:pt idx="4406">
                  <c:v>275</c:v>
                </c:pt>
                <c:pt idx="4407">
                  <c:v>316</c:v>
                </c:pt>
                <c:pt idx="4408">
                  <c:v>344</c:v>
                </c:pt>
                <c:pt idx="4409">
                  <c:v>300</c:v>
                </c:pt>
                <c:pt idx="4410">
                  <c:v>295</c:v>
                </c:pt>
                <c:pt idx="4411">
                  <c:v>437</c:v>
                </c:pt>
                <c:pt idx="4412">
                  <c:v>466</c:v>
                </c:pt>
                <c:pt idx="4413">
                  <c:v>284</c:v>
                </c:pt>
                <c:pt idx="4414">
                  <c:v>234</c:v>
                </c:pt>
                <c:pt idx="4415">
                  <c:v>173</c:v>
                </c:pt>
                <c:pt idx="4416">
                  <c:v>261</c:v>
                </c:pt>
                <c:pt idx="4417">
                  <c:v>200</c:v>
                </c:pt>
                <c:pt idx="4418">
                  <c:v>264</c:v>
                </c:pt>
                <c:pt idx="4419">
                  <c:v>217</c:v>
                </c:pt>
                <c:pt idx="4420">
                  <c:v>306</c:v>
                </c:pt>
                <c:pt idx="4421">
                  <c:v>176</c:v>
                </c:pt>
                <c:pt idx="4422">
                  <c:v>183</c:v>
                </c:pt>
                <c:pt idx="4423">
                  <c:v>201</c:v>
                </c:pt>
                <c:pt idx="4424">
                  <c:v>224</c:v>
                </c:pt>
                <c:pt idx="4425">
                  <c:v>348</c:v>
                </c:pt>
                <c:pt idx="4426">
                  <c:v>134</c:v>
                </c:pt>
                <c:pt idx="4427">
                  <c:v>176</c:v>
                </c:pt>
                <c:pt idx="4428">
                  <c:v>143</c:v>
                </c:pt>
                <c:pt idx="4429">
                  <c:v>301</c:v>
                </c:pt>
                <c:pt idx="4430">
                  <c:v>259</c:v>
                </c:pt>
                <c:pt idx="4431">
                  <c:v>164</c:v>
                </c:pt>
                <c:pt idx="4432">
                  <c:v>238</c:v>
                </c:pt>
                <c:pt idx="4433">
                  <c:v>193</c:v>
                </c:pt>
                <c:pt idx="4434">
                  <c:v>170</c:v>
                </c:pt>
                <c:pt idx="4435">
                  <c:v>191</c:v>
                </c:pt>
                <c:pt idx="4436">
                  <c:v>156</c:v>
                </c:pt>
                <c:pt idx="4437">
                  <c:v>138</c:v>
                </c:pt>
                <c:pt idx="4438">
                  <c:v>189</c:v>
                </c:pt>
                <c:pt idx="4439">
                  <c:v>177</c:v>
                </c:pt>
                <c:pt idx="4440">
                  <c:v>214</c:v>
                </c:pt>
                <c:pt idx="4441">
                  <c:v>133</c:v>
                </c:pt>
                <c:pt idx="4442">
                  <c:v>190</c:v>
                </c:pt>
                <c:pt idx="4443">
                  <c:v>152</c:v>
                </c:pt>
                <c:pt idx="4444">
                  <c:v>163</c:v>
                </c:pt>
                <c:pt idx="4445">
                  <c:v>171</c:v>
                </c:pt>
                <c:pt idx="4446">
                  <c:v>160</c:v>
                </c:pt>
                <c:pt idx="4447">
                  <c:v>166</c:v>
                </c:pt>
                <c:pt idx="4448">
                  <c:v>162</c:v>
                </c:pt>
                <c:pt idx="4449">
                  <c:v>109</c:v>
                </c:pt>
                <c:pt idx="4450">
                  <c:v>182</c:v>
                </c:pt>
                <c:pt idx="4451">
                  <c:v>171</c:v>
                </c:pt>
                <c:pt idx="4452">
                  <c:v>105</c:v>
                </c:pt>
                <c:pt idx="4453">
                  <c:v>151</c:v>
                </c:pt>
                <c:pt idx="4454">
                  <c:v>137</c:v>
                </c:pt>
                <c:pt idx="4455">
                  <c:v>141</c:v>
                </c:pt>
                <c:pt idx="4456">
                  <c:v>164</c:v>
                </c:pt>
                <c:pt idx="4457">
                  <c:v>133</c:v>
                </c:pt>
                <c:pt idx="4458">
                  <c:v>150</c:v>
                </c:pt>
                <c:pt idx="4459">
                  <c:v>101</c:v>
                </c:pt>
                <c:pt idx="4460">
                  <c:v>109</c:v>
                </c:pt>
                <c:pt idx="4461">
                  <c:v>120</c:v>
                </c:pt>
                <c:pt idx="4462">
                  <c:v>122</c:v>
                </c:pt>
                <c:pt idx="4463">
                  <c:v>110</c:v>
                </c:pt>
                <c:pt idx="4464">
                  <c:v>89</c:v>
                </c:pt>
                <c:pt idx="4465">
                  <c:v>158</c:v>
                </c:pt>
                <c:pt idx="4466">
                  <c:v>90</c:v>
                </c:pt>
                <c:pt idx="4467">
                  <c:v>124</c:v>
                </c:pt>
                <c:pt idx="4468">
                  <c:v>124</c:v>
                </c:pt>
                <c:pt idx="4469">
                  <c:v>122</c:v>
                </c:pt>
                <c:pt idx="4470">
                  <c:v>111</c:v>
                </c:pt>
                <c:pt idx="4471">
                  <c:v>109</c:v>
                </c:pt>
                <c:pt idx="4472">
                  <c:v>101</c:v>
                </c:pt>
                <c:pt idx="4473">
                  <c:v>94</c:v>
                </c:pt>
                <c:pt idx="4474">
                  <c:v>128</c:v>
                </c:pt>
                <c:pt idx="4475">
                  <c:v>112</c:v>
                </c:pt>
                <c:pt idx="4476">
                  <c:v>149</c:v>
                </c:pt>
                <c:pt idx="4477">
                  <c:v>86</c:v>
                </c:pt>
                <c:pt idx="4478">
                  <c:v>122</c:v>
                </c:pt>
                <c:pt idx="4479">
                  <c:v>118</c:v>
                </c:pt>
                <c:pt idx="4480">
                  <c:v>66</c:v>
                </c:pt>
                <c:pt idx="4481">
                  <c:v>46</c:v>
                </c:pt>
                <c:pt idx="4482">
                  <c:v>41</c:v>
                </c:pt>
                <c:pt idx="4483">
                  <c:v>22</c:v>
                </c:pt>
                <c:pt idx="4484">
                  <c:v>1</c:v>
                </c:pt>
                <c:pt idx="4485">
                  <c:v>30</c:v>
                </c:pt>
                <c:pt idx="4486">
                  <c:v>21</c:v>
                </c:pt>
                <c:pt idx="4487">
                  <c:v>9</c:v>
                </c:pt>
                <c:pt idx="4488">
                  <c:v>3</c:v>
                </c:pt>
                <c:pt idx="4489">
                  <c:v>143</c:v>
                </c:pt>
                <c:pt idx="4490">
                  <c:v>77</c:v>
                </c:pt>
                <c:pt idx="4491">
                  <c:v>81</c:v>
                </c:pt>
                <c:pt idx="4492">
                  <c:v>17</c:v>
                </c:pt>
                <c:pt idx="4493">
                  <c:v>8</c:v>
                </c:pt>
                <c:pt idx="4494">
                  <c:v>4</c:v>
                </c:pt>
                <c:pt idx="4495">
                  <c:v>0</c:v>
                </c:pt>
                <c:pt idx="4496">
                  <c:v>28</c:v>
                </c:pt>
                <c:pt idx="4497">
                  <c:v>11</c:v>
                </c:pt>
                <c:pt idx="4498">
                  <c:v>6</c:v>
                </c:pt>
                <c:pt idx="4499">
                  <c:v>114</c:v>
                </c:pt>
                <c:pt idx="4500">
                  <c:v>104</c:v>
                </c:pt>
                <c:pt idx="4501">
                  <c:v>65</c:v>
                </c:pt>
                <c:pt idx="4502">
                  <c:v>47</c:v>
                </c:pt>
                <c:pt idx="4503">
                  <c:v>34</c:v>
                </c:pt>
                <c:pt idx="4504">
                  <c:v>22</c:v>
                </c:pt>
                <c:pt idx="4505">
                  <c:v>2</c:v>
                </c:pt>
                <c:pt idx="4506">
                  <c:v>2</c:v>
                </c:pt>
                <c:pt idx="4507">
                  <c:v>55</c:v>
                </c:pt>
                <c:pt idx="4508">
                  <c:v>59</c:v>
                </c:pt>
                <c:pt idx="4509">
                  <c:v>45</c:v>
                </c:pt>
                <c:pt idx="4510">
                  <c:v>59</c:v>
                </c:pt>
                <c:pt idx="4511">
                  <c:v>32</c:v>
                </c:pt>
                <c:pt idx="4512">
                  <c:v>29</c:v>
                </c:pt>
                <c:pt idx="4513">
                  <c:v>32</c:v>
                </c:pt>
                <c:pt idx="4514">
                  <c:v>23</c:v>
                </c:pt>
                <c:pt idx="4515">
                  <c:v>16</c:v>
                </c:pt>
                <c:pt idx="4516">
                  <c:v>3</c:v>
                </c:pt>
                <c:pt idx="4517">
                  <c:v>8</c:v>
                </c:pt>
                <c:pt idx="4518">
                  <c:v>3</c:v>
                </c:pt>
                <c:pt idx="4519">
                  <c:v>0</c:v>
                </c:pt>
                <c:pt idx="4520">
                  <c:v>101</c:v>
                </c:pt>
                <c:pt idx="4521">
                  <c:v>24</c:v>
                </c:pt>
                <c:pt idx="4522">
                  <c:v>85</c:v>
                </c:pt>
                <c:pt idx="4523">
                  <c:v>93</c:v>
                </c:pt>
                <c:pt idx="4524">
                  <c:v>101</c:v>
                </c:pt>
                <c:pt idx="4525">
                  <c:v>71</c:v>
                </c:pt>
                <c:pt idx="4526">
                  <c:v>78</c:v>
                </c:pt>
                <c:pt idx="4527">
                  <c:v>58</c:v>
                </c:pt>
                <c:pt idx="4528">
                  <c:v>56</c:v>
                </c:pt>
                <c:pt idx="4529">
                  <c:v>44</c:v>
                </c:pt>
                <c:pt idx="4530">
                  <c:v>33</c:v>
                </c:pt>
                <c:pt idx="4531">
                  <c:v>32</c:v>
                </c:pt>
                <c:pt idx="4532">
                  <c:v>34</c:v>
                </c:pt>
                <c:pt idx="4533">
                  <c:v>21</c:v>
                </c:pt>
                <c:pt idx="4534">
                  <c:v>20</c:v>
                </c:pt>
                <c:pt idx="4535">
                  <c:v>29</c:v>
                </c:pt>
                <c:pt idx="4536">
                  <c:v>18</c:v>
                </c:pt>
                <c:pt idx="4537">
                  <c:v>15</c:v>
                </c:pt>
                <c:pt idx="4538">
                  <c:v>15</c:v>
                </c:pt>
                <c:pt idx="4539">
                  <c:v>9</c:v>
                </c:pt>
                <c:pt idx="4540">
                  <c:v>13</c:v>
                </c:pt>
                <c:pt idx="4541">
                  <c:v>14</c:v>
                </c:pt>
                <c:pt idx="4542">
                  <c:v>5</c:v>
                </c:pt>
                <c:pt idx="4543">
                  <c:v>4</c:v>
                </c:pt>
                <c:pt idx="4544">
                  <c:v>12</c:v>
                </c:pt>
                <c:pt idx="4545">
                  <c:v>5</c:v>
                </c:pt>
                <c:pt idx="4546">
                  <c:v>8</c:v>
                </c:pt>
                <c:pt idx="4547">
                  <c:v>7</c:v>
                </c:pt>
                <c:pt idx="4548">
                  <c:v>5</c:v>
                </c:pt>
                <c:pt idx="4549">
                  <c:v>6</c:v>
                </c:pt>
                <c:pt idx="4550">
                  <c:v>2</c:v>
                </c:pt>
                <c:pt idx="4551">
                  <c:v>0</c:v>
                </c:pt>
                <c:pt idx="4552">
                  <c:v>0</c:v>
                </c:pt>
                <c:pt idx="4553">
                  <c:v>0</c:v>
                </c:pt>
                <c:pt idx="4554">
                  <c:v>0</c:v>
                </c:pt>
                <c:pt idx="4555">
                  <c:v>100</c:v>
                </c:pt>
                <c:pt idx="4556">
                  <c:v>38</c:v>
                </c:pt>
                <c:pt idx="4557">
                  <c:v>16</c:v>
                </c:pt>
                <c:pt idx="4558">
                  <c:v>19</c:v>
                </c:pt>
                <c:pt idx="4559">
                  <c:v>22</c:v>
                </c:pt>
                <c:pt idx="4560">
                  <c:v>23</c:v>
                </c:pt>
                <c:pt idx="4561">
                  <c:v>15</c:v>
                </c:pt>
                <c:pt idx="4562">
                  <c:v>13</c:v>
                </c:pt>
                <c:pt idx="4563">
                  <c:v>12</c:v>
                </c:pt>
                <c:pt idx="4564">
                  <c:v>7</c:v>
                </c:pt>
                <c:pt idx="4565">
                  <c:v>6</c:v>
                </c:pt>
                <c:pt idx="4566">
                  <c:v>6</c:v>
                </c:pt>
                <c:pt idx="4567">
                  <c:v>6</c:v>
                </c:pt>
                <c:pt idx="4568">
                  <c:v>6</c:v>
                </c:pt>
                <c:pt idx="4569">
                  <c:v>12</c:v>
                </c:pt>
                <c:pt idx="4570">
                  <c:v>3</c:v>
                </c:pt>
                <c:pt idx="4571">
                  <c:v>1</c:v>
                </c:pt>
                <c:pt idx="4572">
                  <c:v>0</c:v>
                </c:pt>
                <c:pt idx="4573">
                  <c:v>0</c:v>
                </c:pt>
                <c:pt idx="4574">
                  <c:v>1</c:v>
                </c:pt>
                <c:pt idx="4575">
                  <c:v>3</c:v>
                </c:pt>
                <c:pt idx="4576">
                  <c:v>1</c:v>
                </c:pt>
                <c:pt idx="4577">
                  <c:v>0</c:v>
                </c:pt>
                <c:pt idx="4578">
                  <c:v>8</c:v>
                </c:pt>
                <c:pt idx="4579">
                  <c:v>1</c:v>
                </c:pt>
                <c:pt idx="4580">
                  <c:v>116</c:v>
                </c:pt>
                <c:pt idx="4581">
                  <c:v>28</c:v>
                </c:pt>
                <c:pt idx="4582">
                  <c:v>52</c:v>
                </c:pt>
                <c:pt idx="4583">
                  <c:v>57</c:v>
                </c:pt>
                <c:pt idx="4584">
                  <c:v>37</c:v>
                </c:pt>
                <c:pt idx="4585">
                  <c:v>37</c:v>
                </c:pt>
                <c:pt idx="4586">
                  <c:v>56</c:v>
                </c:pt>
                <c:pt idx="4587">
                  <c:v>34</c:v>
                </c:pt>
                <c:pt idx="4588">
                  <c:v>50</c:v>
                </c:pt>
                <c:pt idx="4589">
                  <c:v>33</c:v>
                </c:pt>
                <c:pt idx="4590">
                  <c:v>13</c:v>
                </c:pt>
                <c:pt idx="4591">
                  <c:v>25</c:v>
                </c:pt>
                <c:pt idx="4592">
                  <c:v>10</c:v>
                </c:pt>
                <c:pt idx="4593">
                  <c:v>25</c:v>
                </c:pt>
                <c:pt idx="4594">
                  <c:v>32</c:v>
                </c:pt>
                <c:pt idx="4595">
                  <c:v>3</c:v>
                </c:pt>
                <c:pt idx="4596">
                  <c:v>12</c:v>
                </c:pt>
                <c:pt idx="4597">
                  <c:v>12</c:v>
                </c:pt>
                <c:pt idx="4598">
                  <c:v>12</c:v>
                </c:pt>
                <c:pt idx="4599">
                  <c:v>10</c:v>
                </c:pt>
                <c:pt idx="4600">
                  <c:v>3</c:v>
                </c:pt>
                <c:pt idx="4601">
                  <c:v>8</c:v>
                </c:pt>
                <c:pt idx="4602">
                  <c:v>1</c:v>
                </c:pt>
                <c:pt idx="4603">
                  <c:v>14</c:v>
                </c:pt>
                <c:pt idx="4604">
                  <c:v>6</c:v>
                </c:pt>
                <c:pt idx="4605">
                  <c:v>8</c:v>
                </c:pt>
                <c:pt idx="4606">
                  <c:v>10</c:v>
                </c:pt>
                <c:pt idx="4607">
                  <c:v>3</c:v>
                </c:pt>
                <c:pt idx="4608">
                  <c:v>5</c:v>
                </c:pt>
                <c:pt idx="4609">
                  <c:v>14</c:v>
                </c:pt>
                <c:pt idx="4610">
                  <c:v>4</c:v>
                </c:pt>
                <c:pt idx="4611">
                  <c:v>8</c:v>
                </c:pt>
                <c:pt idx="4612">
                  <c:v>9</c:v>
                </c:pt>
                <c:pt idx="4613">
                  <c:v>4</c:v>
                </c:pt>
                <c:pt idx="4614">
                  <c:v>3</c:v>
                </c:pt>
                <c:pt idx="4615">
                  <c:v>1</c:v>
                </c:pt>
                <c:pt idx="4616">
                  <c:v>5</c:v>
                </c:pt>
                <c:pt idx="4617">
                  <c:v>0</c:v>
                </c:pt>
                <c:pt idx="4618">
                  <c:v>4</c:v>
                </c:pt>
                <c:pt idx="4619">
                  <c:v>4</c:v>
                </c:pt>
                <c:pt idx="4620">
                  <c:v>4</c:v>
                </c:pt>
                <c:pt idx="4621">
                  <c:v>3</c:v>
                </c:pt>
                <c:pt idx="4622">
                  <c:v>8</c:v>
                </c:pt>
                <c:pt idx="4623">
                  <c:v>3</c:v>
                </c:pt>
                <c:pt idx="4624">
                  <c:v>3</c:v>
                </c:pt>
                <c:pt idx="4625">
                  <c:v>6</c:v>
                </c:pt>
                <c:pt idx="4626">
                  <c:v>3</c:v>
                </c:pt>
                <c:pt idx="4627">
                  <c:v>2</c:v>
                </c:pt>
                <c:pt idx="4628">
                  <c:v>0</c:v>
                </c:pt>
                <c:pt idx="4629">
                  <c:v>0</c:v>
                </c:pt>
                <c:pt idx="4630">
                  <c:v>3</c:v>
                </c:pt>
                <c:pt idx="4631">
                  <c:v>5</c:v>
                </c:pt>
                <c:pt idx="4632">
                  <c:v>2</c:v>
                </c:pt>
                <c:pt idx="4633">
                  <c:v>1</c:v>
                </c:pt>
                <c:pt idx="4634">
                  <c:v>3</c:v>
                </c:pt>
                <c:pt idx="4635">
                  <c:v>4</c:v>
                </c:pt>
                <c:pt idx="4636">
                  <c:v>2</c:v>
                </c:pt>
                <c:pt idx="4637">
                  <c:v>1</c:v>
                </c:pt>
                <c:pt idx="4638">
                  <c:v>2</c:v>
                </c:pt>
                <c:pt idx="4639">
                  <c:v>1</c:v>
                </c:pt>
                <c:pt idx="4640">
                  <c:v>3</c:v>
                </c:pt>
                <c:pt idx="4641">
                  <c:v>1</c:v>
                </c:pt>
                <c:pt idx="4642">
                  <c:v>1</c:v>
                </c:pt>
                <c:pt idx="4643">
                  <c:v>2</c:v>
                </c:pt>
                <c:pt idx="4644">
                  <c:v>0</c:v>
                </c:pt>
                <c:pt idx="4645">
                  <c:v>2</c:v>
                </c:pt>
                <c:pt idx="4646">
                  <c:v>1</c:v>
                </c:pt>
                <c:pt idx="4647">
                  <c:v>2</c:v>
                </c:pt>
                <c:pt idx="4648">
                  <c:v>2</c:v>
                </c:pt>
                <c:pt idx="4649">
                  <c:v>0</c:v>
                </c:pt>
                <c:pt idx="4650">
                  <c:v>1</c:v>
                </c:pt>
                <c:pt idx="4651">
                  <c:v>0</c:v>
                </c:pt>
                <c:pt idx="4652">
                  <c:v>1</c:v>
                </c:pt>
                <c:pt idx="4653">
                  <c:v>1</c:v>
                </c:pt>
                <c:pt idx="4654">
                  <c:v>1</c:v>
                </c:pt>
                <c:pt idx="4655">
                  <c:v>1</c:v>
                </c:pt>
                <c:pt idx="4656">
                  <c:v>1</c:v>
                </c:pt>
                <c:pt idx="4657">
                  <c:v>1</c:v>
                </c:pt>
                <c:pt idx="4658">
                  <c:v>0</c:v>
                </c:pt>
                <c:pt idx="4659">
                  <c:v>0</c:v>
                </c:pt>
                <c:pt idx="4660">
                  <c:v>0</c:v>
                </c:pt>
                <c:pt idx="4661">
                  <c:v>0</c:v>
                </c:pt>
                <c:pt idx="4662">
                  <c:v>0</c:v>
                </c:pt>
                <c:pt idx="4663">
                  <c:v>0</c:v>
                </c:pt>
                <c:pt idx="4664">
                  <c:v>0</c:v>
                </c:pt>
                <c:pt idx="4665">
                  <c:v>0</c:v>
                </c:pt>
                <c:pt idx="4666">
                  <c:v>0</c:v>
                </c:pt>
                <c:pt idx="4667">
                  <c:v>0</c:v>
                </c:pt>
                <c:pt idx="4668">
                  <c:v>0</c:v>
                </c:pt>
                <c:pt idx="4669">
                  <c:v>107</c:v>
                </c:pt>
                <c:pt idx="4670">
                  <c:v>85</c:v>
                </c:pt>
                <c:pt idx="4671">
                  <c:v>96</c:v>
                </c:pt>
                <c:pt idx="4672">
                  <c:v>89</c:v>
                </c:pt>
                <c:pt idx="4673">
                  <c:v>37</c:v>
                </c:pt>
                <c:pt idx="4674">
                  <c:v>31</c:v>
                </c:pt>
                <c:pt idx="4675">
                  <c:v>66</c:v>
                </c:pt>
                <c:pt idx="4676">
                  <c:v>101</c:v>
                </c:pt>
                <c:pt idx="4677">
                  <c:v>111</c:v>
                </c:pt>
                <c:pt idx="4678">
                  <c:v>99</c:v>
                </c:pt>
                <c:pt idx="4679">
                  <c:v>146</c:v>
                </c:pt>
                <c:pt idx="4680">
                  <c:v>111</c:v>
                </c:pt>
                <c:pt idx="4681">
                  <c:v>73</c:v>
                </c:pt>
                <c:pt idx="4682">
                  <c:v>90</c:v>
                </c:pt>
                <c:pt idx="4683">
                  <c:v>88</c:v>
                </c:pt>
                <c:pt idx="4684">
                  <c:v>56</c:v>
                </c:pt>
                <c:pt idx="4685">
                  <c:v>80</c:v>
                </c:pt>
                <c:pt idx="4686">
                  <c:v>47</c:v>
                </c:pt>
                <c:pt idx="4687">
                  <c:v>80</c:v>
                </c:pt>
                <c:pt idx="4688">
                  <c:v>76</c:v>
                </c:pt>
                <c:pt idx="4689">
                  <c:v>69</c:v>
                </c:pt>
                <c:pt idx="4690">
                  <c:v>57</c:v>
                </c:pt>
                <c:pt idx="4691">
                  <c:v>1</c:v>
                </c:pt>
                <c:pt idx="4692">
                  <c:v>62</c:v>
                </c:pt>
                <c:pt idx="4693">
                  <c:v>20</c:v>
                </c:pt>
                <c:pt idx="4694">
                  <c:v>42</c:v>
                </c:pt>
                <c:pt idx="4695">
                  <c:v>13</c:v>
                </c:pt>
                <c:pt idx="4696">
                  <c:v>49</c:v>
                </c:pt>
                <c:pt idx="4697">
                  <c:v>48</c:v>
                </c:pt>
                <c:pt idx="4698">
                  <c:v>10</c:v>
                </c:pt>
                <c:pt idx="4699">
                  <c:v>13</c:v>
                </c:pt>
                <c:pt idx="4700">
                  <c:v>71</c:v>
                </c:pt>
                <c:pt idx="4701">
                  <c:v>36</c:v>
                </c:pt>
                <c:pt idx="4702">
                  <c:v>43</c:v>
                </c:pt>
                <c:pt idx="4703">
                  <c:v>30</c:v>
                </c:pt>
                <c:pt idx="4704">
                  <c:v>19</c:v>
                </c:pt>
                <c:pt idx="4705">
                  <c:v>11</c:v>
                </c:pt>
                <c:pt idx="4706">
                  <c:v>16</c:v>
                </c:pt>
                <c:pt idx="4707">
                  <c:v>10</c:v>
                </c:pt>
                <c:pt idx="4708">
                  <c:v>11</c:v>
                </c:pt>
                <c:pt idx="4709">
                  <c:v>5</c:v>
                </c:pt>
                <c:pt idx="4710">
                  <c:v>5</c:v>
                </c:pt>
                <c:pt idx="4711">
                  <c:v>4</c:v>
                </c:pt>
                <c:pt idx="4712">
                  <c:v>11</c:v>
                </c:pt>
                <c:pt idx="4713">
                  <c:v>9</c:v>
                </c:pt>
                <c:pt idx="4714">
                  <c:v>11</c:v>
                </c:pt>
                <c:pt idx="4715">
                  <c:v>4</c:v>
                </c:pt>
                <c:pt idx="4716">
                  <c:v>4</c:v>
                </c:pt>
                <c:pt idx="4717">
                  <c:v>48</c:v>
                </c:pt>
                <c:pt idx="4718">
                  <c:v>61</c:v>
                </c:pt>
                <c:pt idx="4719">
                  <c:v>38</c:v>
                </c:pt>
                <c:pt idx="4720">
                  <c:v>23</c:v>
                </c:pt>
                <c:pt idx="4721">
                  <c:v>34</c:v>
                </c:pt>
                <c:pt idx="4722">
                  <c:v>17</c:v>
                </c:pt>
                <c:pt idx="4723">
                  <c:v>13</c:v>
                </c:pt>
                <c:pt idx="4724">
                  <c:v>13</c:v>
                </c:pt>
                <c:pt idx="4725">
                  <c:v>14</c:v>
                </c:pt>
                <c:pt idx="4726">
                  <c:v>11</c:v>
                </c:pt>
                <c:pt idx="4727">
                  <c:v>9</c:v>
                </c:pt>
                <c:pt idx="4728">
                  <c:v>4</c:v>
                </c:pt>
                <c:pt idx="4729">
                  <c:v>8</c:v>
                </c:pt>
                <c:pt idx="4730">
                  <c:v>5</c:v>
                </c:pt>
                <c:pt idx="4731">
                  <c:v>5</c:v>
                </c:pt>
                <c:pt idx="4732">
                  <c:v>4</c:v>
                </c:pt>
                <c:pt idx="4733">
                  <c:v>92</c:v>
                </c:pt>
                <c:pt idx="4734">
                  <c:v>49</c:v>
                </c:pt>
                <c:pt idx="4735">
                  <c:v>42</c:v>
                </c:pt>
                <c:pt idx="4736">
                  <c:v>38</c:v>
                </c:pt>
                <c:pt idx="4737">
                  <c:v>47</c:v>
                </c:pt>
                <c:pt idx="4738">
                  <c:v>21</c:v>
                </c:pt>
                <c:pt idx="4739">
                  <c:v>22</c:v>
                </c:pt>
                <c:pt idx="4740">
                  <c:v>18</c:v>
                </c:pt>
                <c:pt idx="4741">
                  <c:v>17</c:v>
                </c:pt>
                <c:pt idx="4742">
                  <c:v>4</c:v>
                </c:pt>
                <c:pt idx="4743">
                  <c:v>8</c:v>
                </c:pt>
                <c:pt idx="4744">
                  <c:v>5</c:v>
                </c:pt>
                <c:pt idx="4745">
                  <c:v>4</c:v>
                </c:pt>
                <c:pt idx="4746">
                  <c:v>10</c:v>
                </c:pt>
                <c:pt idx="4747">
                  <c:v>4</c:v>
                </c:pt>
                <c:pt idx="4748">
                  <c:v>9</c:v>
                </c:pt>
                <c:pt idx="4749">
                  <c:v>7</c:v>
                </c:pt>
                <c:pt idx="4750">
                  <c:v>5</c:v>
                </c:pt>
                <c:pt idx="4751">
                  <c:v>8</c:v>
                </c:pt>
                <c:pt idx="4752">
                  <c:v>5</c:v>
                </c:pt>
                <c:pt idx="4753">
                  <c:v>5</c:v>
                </c:pt>
                <c:pt idx="4754">
                  <c:v>7</c:v>
                </c:pt>
                <c:pt idx="4755">
                  <c:v>4</c:v>
                </c:pt>
                <c:pt idx="4756">
                  <c:v>7</c:v>
                </c:pt>
                <c:pt idx="4757">
                  <c:v>4</c:v>
                </c:pt>
                <c:pt idx="4758">
                  <c:v>6</c:v>
                </c:pt>
                <c:pt idx="4759">
                  <c:v>7</c:v>
                </c:pt>
                <c:pt idx="4760">
                  <c:v>4</c:v>
                </c:pt>
                <c:pt idx="4761">
                  <c:v>6</c:v>
                </c:pt>
                <c:pt idx="4762">
                  <c:v>4</c:v>
                </c:pt>
                <c:pt idx="4763">
                  <c:v>6</c:v>
                </c:pt>
                <c:pt idx="4764">
                  <c:v>4</c:v>
                </c:pt>
                <c:pt idx="4765">
                  <c:v>4</c:v>
                </c:pt>
                <c:pt idx="4766">
                  <c:v>4</c:v>
                </c:pt>
                <c:pt idx="4767">
                  <c:v>4</c:v>
                </c:pt>
                <c:pt idx="4768">
                  <c:v>4</c:v>
                </c:pt>
                <c:pt idx="4769">
                  <c:v>71</c:v>
                </c:pt>
                <c:pt idx="4770">
                  <c:v>52</c:v>
                </c:pt>
                <c:pt idx="4771">
                  <c:v>13</c:v>
                </c:pt>
                <c:pt idx="4772">
                  <c:v>18</c:v>
                </c:pt>
                <c:pt idx="4773">
                  <c:v>5</c:v>
                </c:pt>
                <c:pt idx="4774">
                  <c:v>8</c:v>
                </c:pt>
                <c:pt idx="4775">
                  <c:v>13</c:v>
                </c:pt>
                <c:pt idx="4776">
                  <c:v>15</c:v>
                </c:pt>
                <c:pt idx="4777">
                  <c:v>5</c:v>
                </c:pt>
                <c:pt idx="4778">
                  <c:v>5</c:v>
                </c:pt>
                <c:pt idx="4779">
                  <c:v>5</c:v>
                </c:pt>
                <c:pt idx="4780">
                  <c:v>13</c:v>
                </c:pt>
                <c:pt idx="4781">
                  <c:v>6</c:v>
                </c:pt>
                <c:pt idx="4782">
                  <c:v>107</c:v>
                </c:pt>
                <c:pt idx="4783">
                  <c:v>176</c:v>
                </c:pt>
                <c:pt idx="4784">
                  <c:v>72</c:v>
                </c:pt>
                <c:pt idx="4785">
                  <c:v>108</c:v>
                </c:pt>
                <c:pt idx="4786">
                  <c:v>132</c:v>
                </c:pt>
                <c:pt idx="4787">
                  <c:v>90</c:v>
                </c:pt>
                <c:pt idx="4788">
                  <c:v>70</c:v>
                </c:pt>
                <c:pt idx="4789">
                  <c:v>92</c:v>
                </c:pt>
                <c:pt idx="4790">
                  <c:v>116</c:v>
                </c:pt>
                <c:pt idx="4791">
                  <c:v>68</c:v>
                </c:pt>
                <c:pt idx="4792">
                  <c:v>57</c:v>
                </c:pt>
                <c:pt idx="4793">
                  <c:v>50</c:v>
                </c:pt>
                <c:pt idx="4794">
                  <c:v>68</c:v>
                </c:pt>
                <c:pt idx="4795">
                  <c:v>62</c:v>
                </c:pt>
                <c:pt idx="4796">
                  <c:v>63</c:v>
                </c:pt>
                <c:pt idx="4797">
                  <c:v>54</c:v>
                </c:pt>
                <c:pt idx="4798">
                  <c:v>100</c:v>
                </c:pt>
                <c:pt idx="4799">
                  <c:v>150</c:v>
                </c:pt>
                <c:pt idx="4800">
                  <c:v>108</c:v>
                </c:pt>
                <c:pt idx="4801">
                  <c:v>97</c:v>
                </c:pt>
                <c:pt idx="4802">
                  <c:v>92</c:v>
                </c:pt>
                <c:pt idx="4803">
                  <c:v>81</c:v>
                </c:pt>
                <c:pt idx="4804">
                  <c:v>90</c:v>
                </c:pt>
                <c:pt idx="4805">
                  <c:v>70</c:v>
                </c:pt>
                <c:pt idx="4806">
                  <c:v>62</c:v>
                </c:pt>
                <c:pt idx="4807">
                  <c:v>66</c:v>
                </c:pt>
                <c:pt idx="4808">
                  <c:v>23</c:v>
                </c:pt>
                <c:pt idx="4809">
                  <c:v>62</c:v>
                </c:pt>
                <c:pt idx="4810">
                  <c:v>49</c:v>
                </c:pt>
                <c:pt idx="4811">
                  <c:v>83</c:v>
                </c:pt>
                <c:pt idx="4812">
                  <c:v>32</c:v>
                </c:pt>
                <c:pt idx="4813">
                  <c:v>55</c:v>
                </c:pt>
                <c:pt idx="4814">
                  <c:v>35</c:v>
                </c:pt>
                <c:pt idx="4815">
                  <c:v>39</c:v>
                </c:pt>
                <c:pt idx="4816">
                  <c:v>46</c:v>
                </c:pt>
                <c:pt idx="4817">
                  <c:v>52</c:v>
                </c:pt>
                <c:pt idx="4818">
                  <c:v>41</c:v>
                </c:pt>
                <c:pt idx="4819">
                  <c:v>47</c:v>
                </c:pt>
                <c:pt idx="4820">
                  <c:v>35</c:v>
                </c:pt>
                <c:pt idx="4821">
                  <c:v>59</c:v>
                </c:pt>
                <c:pt idx="4822">
                  <c:v>47</c:v>
                </c:pt>
                <c:pt idx="4823">
                  <c:v>40</c:v>
                </c:pt>
                <c:pt idx="4824">
                  <c:v>40</c:v>
                </c:pt>
                <c:pt idx="4825">
                  <c:v>40</c:v>
                </c:pt>
                <c:pt idx="4826">
                  <c:v>53</c:v>
                </c:pt>
                <c:pt idx="4827">
                  <c:v>1</c:v>
                </c:pt>
                <c:pt idx="4828">
                  <c:v>1</c:v>
                </c:pt>
                <c:pt idx="4829">
                  <c:v>1</c:v>
                </c:pt>
                <c:pt idx="4830">
                  <c:v>1</c:v>
                </c:pt>
                <c:pt idx="4831">
                  <c:v>0</c:v>
                </c:pt>
                <c:pt idx="4832">
                  <c:v>119</c:v>
                </c:pt>
                <c:pt idx="4833">
                  <c:v>87</c:v>
                </c:pt>
                <c:pt idx="4834">
                  <c:v>85</c:v>
                </c:pt>
                <c:pt idx="4835">
                  <c:v>65</c:v>
                </c:pt>
                <c:pt idx="4836">
                  <c:v>76</c:v>
                </c:pt>
                <c:pt idx="4837">
                  <c:v>54</c:v>
                </c:pt>
                <c:pt idx="4838">
                  <c:v>66</c:v>
                </c:pt>
                <c:pt idx="4839">
                  <c:v>56</c:v>
                </c:pt>
                <c:pt idx="4840">
                  <c:v>71</c:v>
                </c:pt>
                <c:pt idx="4841">
                  <c:v>56</c:v>
                </c:pt>
                <c:pt idx="4842">
                  <c:v>59</c:v>
                </c:pt>
                <c:pt idx="4843">
                  <c:v>46</c:v>
                </c:pt>
                <c:pt idx="4844">
                  <c:v>82</c:v>
                </c:pt>
                <c:pt idx="4845">
                  <c:v>70</c:v>
                </c:pt>
                <c:pt idx="4846">
                  <c:v>57</c:v>
                </c:pt>
                <c:pt idx="4847">
                  <c:v>96</c:v>
                </c:pt>
                <c:pt idx="4848">
                  <c:v>54</c:v>
                </c:pt>
                <c:pt idx="4849">
                  <c:v>75</c:v>
                </c:pt>
                <c:pt idx="4850">
                  <c:v>50</c:v>
                </c:pt>
                <c:pt idx="4851">
                  <c:v>47</c:v>
                </c:pt>
                <c:pt idx="4852">
                  <c:v>54</c:v>
                </c:pt>
                <c:pt idx="4853">
                  <c:v>55</c:v>
                </c:pt>
                <c:pt idx="4854">
                  <c:v>60</c:v>
                </c:pt>
                <c:pt idx="4855">
                  <c:v>59</c:v>
                </c:pt>
                <c:pt idx="4856">
                  <c:v>15</c:v>
                </c:pt>
                <c:pt idx="4857">
                  <c:v>58</c:v>
                </c:pt>
                <c:pt idx="4858">
                  <c:v>14</c:v>
                </c:pt>
                <c:pt idx="4859">
                  <c:v>38</c:v>
                </c:pt>
                <c:pt idx="4860">
                  <c:v>45</c:v>
                </c:pt>
                <c:pt idx="4861">
                  <c:v>29</c:v>
                </c:pt>
                <c:pt idx="4862">
                  <c:v>27</c:v>
                </c:pt>
                <c:pt idx="4863">
                  <c:v>31</c:v>
                </c:pt>
                <c:pt idx="4864">
                  <c:v>47</c:v>
                </c:pt>
                <c:pt idx="4865">
                  <c:v>78</c:v>
                </c:pt>
                <c:pt idx="4866">
                  <c:v>40</c:v>
                </c:pt>
                <c:pt idx="4867">
                  <c:v>58</c:v>
                </c:pt>
                <c:pt idx="4868">
                  <c:v>55</c:v>
                </c:pt>
                <c:pt idx="4869">
                  <c:v>47</c:v>
                </c:pt>
                <c:pt idx="4870">
                  <c:v>45</c:v>
                </c:pt>
                <c:pt idx="4871">
                  <c:v>33</c:v>
                </c:pt>
                <c:pt idx="4872">
                  <c:v>34</c:v>
                </c:pt>
                <c:pt idx="4873">
                  <c:v>42</c:v>
                </c:pt>
                <c:pt idx="4874">
                  <c:v>36</c:v>
                </c:pt>
                <c:pt idx="4875">
                  <c:v>36</c:v>
                </c:pt>
                <c:pt idx="4876">
                  <c:v>30</c:v>
                </c:pt>
                <c:pt idx="4877">
                  <c:v>9</c:v>
                </c:pt>
                <c:pt idx="4878">
                  <c:v>17</c:v>
                </c:pt>
                <c:pt idx="4879">
                  <c:v>21</c:v>
                </c:pt>
                <c:pt idx="4880">
                  <c:v>12</c:v>
                </c:pt>
                <c:pt idx="4881">
                  <c:v>15</c:v>
                </c:pt>
                <c:pt idx="4882">
                  <c:v>12</c:v>
                </c:pt>
                <c:pt idx="4883">
                  <c:v>17</c:v>
                </c:pt>
                <c:pt idx="4884">
                  <c:v>12</c:v>
                </c:pt>
                <c:pt idx="4885">
                  <c:v>4</c:v>
                </c:pt>
                <c:pt idx="4886">
                  <c:v>9</c:v>
                </c:pt>
                <c:pt idx="4887">
                  <c:v>1</c:v>
                </c:pt>
                <c:pt idx="4888">
                  <c:v>3</c:v>
                </c:pt>
                <c:pt idx="4889">
                  <c:v>6</c:v>
                </c:pt>
                <c:pt idx="4890">
                  <c:v>1</c:v>
                </c:pt>
                <c:pt idx="4891">
                  <c:v>0</c:v>
                </c:pt>
                <c:pt idx="4892">
                  <c:v>105</c:v>
                </c:pt>
                <c:pt idx="4893">
                  <c:v>76</c:v>
                </c:pt>
                <c:pt idx="4894">
                  <c:v>79</c:v>
                </c:pt>
                <c:pt idx="4895">
                  <c:v>51</c:v>
                </c:pt>
                <c:pt idx="4896">
                  <c:v>45</c:v>
                </c:pt>
                <c:pt idx="4897">
                  <c:v>24</c:v>
                </c:pt>
                <c:pt idx="4898">
                  <c:v>31</c:v>
                </c:pt>
                <c:pt idx="4899">
                  <c:v>26</c:v>
                </c:pt>
                <c:pt idx="4900">
                  <c:v>21</c:v>
                </c:pt>
                <c:pt idx="4901">
                  <c:v>34</c:v>
                </c:pt>
                <c:pt idx="4902">
                  <c:v>31</c:v>
                </c:pt>
                <c:pt idx="4903">
                  <c:v>22</c:v>
                </c:pt>
                <c:pt idx="4904">
                  <c:v>19</c:v>
                </c:pt>
                <c:pt idx="4905">
                  <c:v>18</c:v>
                </c:pt>
                <c:pt idx="4906">
                  <c:v>14</c:v>
                </c:pt>
                <c:pt idx="4907">
                  <c:v>16</c:v>
                </c:pt>
                <c:pt idx="4908">
                  <c:v>15</c:v>
                </c:pt>
                <c:pt idx="4909">
                  <c:v>13</c:v>
                </c:pt>
                <c:pt idx="4910">
                  <c:v>3</c:v>
                </c:pt>
                <c:pt idx="4911">
                  <c:v>0</c:v>
                </c:pt>
                <c:pt idx="4912">
                  <c:v>15</c:v>
                </c:pt>
                <c:pt idx="4913">
                  <c:v>9</c:v>
                </c:pt>
                <c:pt idx="4914">
                  <c:v>9</c:v>
                </c:pt>
                <c:pt idx="4915">
                  <c:v>4</c:v>
                </c:pt>
                <c:pt idx="4916">
                  <c:v>5</c:v>
                </c:pt>
                <c:pt idx="4917">
                  <c:v>1</c:v>
                </c:pt>
                <c:pt idx="4918">
                  <c:v>7</c:v>
                </c:pt>
                <c:pt idx="4919">
                  <c:v>3</c:v>
                </c:pt>
                <c:pt idx="4920">
                  <c:v>3</c:v>
                </c:pt>
                <c:pt idx="4921">
                  <c:v>4</c:v>
                </c:pt>
                <c:pt idx="4922">
                  <c:v>1</c:v>
                </c:pt>
                <c:pt idx="4923">
                  <c:v>2</c:v>
                </c:pt>
                <c:pt idx="4924">
                  <c:v>3</c:v>
                </c:pt>
                <c:pt idx="4925">
                  <c:v>1</c:v>
                </c:pt>
                <c:pt idx="4926">
                  <c:v>0</c:v>
                </c:pt>
                <c:pt idx="4927">
                  <c:v>55</c:v>
                </c:pt>
                <c:pt idx="4928">
                  <c:v>38</c:v>
                </c:pt>
                <c:pt idx="4929">
                  <c:v>20</c:v>
                </c:pt>
                <c:pt idx="4930">
                  <c:v>16</c:v>
                </c:pt>
                <c:pt idx="4931">
                  <c:v>9</c:v>
                </c:pt>
                <c:pt idx="4932">
                  <c:v>2</c:v>
                </c:pt>
                <c:pt idx="4933">
                  <c:v>2</c:v>
                </c:pt>
                <c:pt idx="4934">
                  <c:v>3</c:v>
                </c:pt>
                <c:pt idx="4935">
                  <c:v>3</c:v>
                </c:pt>
                <c:pt idx="4936">
                  <c:v>2</c:v>
                </c:pt>
                <c:pt idx="4937">
                  <c:v>1</c:v>
                </c:pt>
                <c:pt idx="4938">
                  <c:v>0</c:v>
                </c:pt>
                <c:pt idx="4939">
                  <c:v>0</c:v>
                </c:pt>
                <c:pt idx="4940">
                  <c:v>27</c:v>
                </c:pt>
                <c:pt idx="4941">
                  <c:v>16</c:v>
                </c:pt>
                <c:pt idx="4942">
                  <c:v>40</c:v>
                </c:pt>
                <c:pt idx="4943">
                  <c:v>32</c:v>
                </c:pt>
                <c:pt idx="4944">
                  <c:v>13</c:v>
                </c:pt>
                <c:pt idx="4945">
                  <c:v>5</c:v>
                </c:pt>
                <c:pt idx="4946">
                  <c:v>26</c:v>
                </c:pt>
                <c:pt idx="4947">
                  <c:v>20</c:v>
                </c:pt>
                <c:pt idx="4948">
                  <c:v>9</c:v>
                </c:pt>
                <c:pt idx="4949">
                  <c:v>17</c:v>
                </c:pt>
                <c:pt idx="4950">
                  <c:v>2</c:v>
                </c:pt>
                <c:pt idx="4951">
                  <c:v>9</c:v>
                </c:pt>
                <c:pt idx="4952">
                  <c:v>6</c:v>
                </c:pt>
                <c:pt idx="4953">
                  <c:v>3</c:v>
                </c:pt>
                <c:pt idx="4954">
                  <c:v>1</c:v>
                </c:pt>
                <c:pt idx="4955">
                  <c:v>5</c:v>
                </c:pt>
                <c:pt idx="4956">
                  <c:v>1</c:v>
                </c:pt>
                <c:pt idx="4957">
                  <c:v>2</c:v>
                </c:pt>
                <c:pt idx="4958">
                  <c:v>1</c:v>
                </c:pt>
                <c:pt idx="4959">
                  <c:v>1</c:v>
                </c:pt>
                <c:pt idx="4960">
                  <c:v>1</c:v>
                </c:pt>
                <c:pt idx="4961">
                  <c:v>1</c:v>
                </c:pt>
                <c:pt idx="4962">
                  <c:v>2</c:v>
                </c:pt>
                <c:pt idx="4963">
                  <c:v>0</c:v>
                </c:pt>
                <c:pt idx="4964">
                  <c:v>1</c:v>
                </c:pt>
                <c:pt idx="4965">
                  <c:v>1</c:v>
                </c:pt>
                <c:pt idx="4966">
                  <c:v>1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30</c:v>
                </c:pt>
                <c:pt idx="4971">
                  <c:v>43</c:v>
                </c:pt>
                <c:pt idx="4972">
                  <c:v>1</c:v>
                </c:pt>
                <c:pt idx="4973">
                  <c:v>14</c:v>
                </c:pt>
                <c:pt idx="4974">
                  <c:v>15</c:v>
                </c:pt>
                <c:pt idx="4975">
                  <c:v>9</c:v>
                </c:pt>
                <c:pt idx="4976">
                  <c:v>11</c:v>
                </c:pt>
                <c:pt idx="4977">
                  <c:v>6</c:v>
                </c:pt>
                <c:pt idx="4978">
                  <c:v>0</c:v>
                </c:pt>
                <c:pt idx="4979">
                  <c:v>8</c:v>
                </c:pt>
                <c:pt idx="4980">
                  <c:v>5</c:v>
                </c:pt>
                <c:pt idx="4981">
                  <c:v>1</c:v>
                </c:pt>
                <c:pt idx="4982">
                  <c:v>0</c:v>
                </c:pt>
                <c:pt idx="4983">
                  <c:v>0</c:v>
                </c:pt>
                <c:pt idx="4984">
                  <c:v>0</c:v>
                </c:pt>
                <c:pt idx="4985">
                  <c:v>73</c:v>
                </c:pt>
                <c:pt idx="4986">
                  <c:v>48</c:v>
                </c:pt>
                <c:pt idx="4987">
                  <c:v>9</c:v>
                </c:pt>
                <c:pt idx="4988">
                  <c:v>5</c:v>
                </c:pt>
                <c:pt idx="4989">
                  <c:v>1</c:v>
                </c:pt>
                <c:pt idx="4990">
                  <c:v>24</c:v>
                </c:pt>
                <c:pt idx="4991">
                  <c:v>12</c:v>
                </c:pt>
                <c:pt idx="4992">
                  <c:v>17</c:v>
                </c:pt>
                <c:pt idx="4993">
                  <c:v>6</c:v>
                </c:pt>
                <c:pt idx="4994">
                  <c:v>1</c:v>
                </c:pt>
                <c:pt idx="4995">
                  <c:v>9</c:v>
                </c:pt>
                <c:pt idx="4996">
                  <c:v>1</c:v>
                </c:pt>
                <c:pt idx="4997">
                  <c:v>0</c:v>
                </c:pt>
                <c:pt idx="4998">
                  <c:v>0</c:v>
                </c:pt>
                <c:pt idx="4999">
                  <c:v>16</c:v>
                </c:pt>
                <c:pt idx="5000">
                  <c:v>0</c:v>
                </c:pt>
                <c:pt idx="5001">
                  <c:v>1</c:v>
                </c:pt>
                <c:pt idx="5002">
                  <c:v>1</c:v>
                </c:pt>
                <c:pt idx="5003">
                  <c:v>0</c:v>
                </c:pt>
                <c:pt idx="5004">
                  <c:v>0</c:v>
                </c:pt>
                <c:pt idx="5005">
                  <c:v>7</c:v>
                </c:pt>
                <c:pt idx="5006">
                  <c:v>6</c:v>
                </c:pt>
                <c:pt idx="5007">
                  <c:v>0</c:v>
                </c:pt>
                <c:pt idx="5008">
                  <c:v>25</c:v>
                </c:pt>
                <c:pt idx="5009">
                  <c:v>6</c:v>
                </c:pt>
                <c:pt idx="5010">
                  <c:v>0</c:v>
                </c:pt>
                <c:pt idx="5011">
                  <c:v>27</c:v>
                </c:pt>
                <c:pt idx="5012">
                  <c:v>11</c:v>
                </c:pt>
                <c:pt idx="5013">
                  <c:v>8</c:v>
                </c:pt>
                <c:pt idx="5014">
                  <c:v>1</c:v>
                </c:pt>
                <c:pt idx="5015">
                  <c:v>0</c:v>
                </c:pt>
                <c:pt idx="5016">
                  <c:v>56</c:v>
                </c:pt>
                <c:pt idx="5017">
                  <c:v>48</c:v>
                </c:pt>
                <c:pt idx="5018">
                  <c:v>21</c:v>
                </c:pt>
                <c:pt idx="5019">
                  <c:v>38</c:v>
                </c:pt>
                <c:pt idx="5020">
                  <c:v>44</c:v>
                </c:pt>
                <c:pt idx="5021">
                  <c:v>48</c:v>
                </c:pt>
                <c:pt idx="5022">
                  <c:v>13</c:v>
                </c:pt>
                <c:pt idx="5023">
                  <c:v>30</c:v>
                </c:pt>
                <c:pt idx="5024">
                  <c:v>17</c:v>
                </c:pt>
                <c:pt idx="5025">
                  <c:v>0</c:v>
                </c:pt>
                <c:pt idx="5026">
                  <c:v>17</c:v>
                </c:pt>
                <c:pt idx="5027">
                  <c:v>17</c:v>
                </c:pt>
                <c:pt idx="5028">
                  <c:v>26</c:v>
                </c:pt>
                <c:pt idx="5029">
                  <c:v>17</c:v>
                </c:pt>
                <c:pt idx="5030">
                  <c:v>12</c:v>
                </c:pt>
                <c:pt idx="5031">
                  <c:v>4</c:v>
                </c:pt>
                <c:pt idx="5032">
                  <c:v>14</c:v>
                </c:pt>
                <c:pt idx="5033">
                  <c:v>8</c:v>
                </c:pt>
                <c:pt idx="5034">
                  <c:v>13</c:v>
                </c:pt>
                <c:pt idx="5035">
                  <c:v>2</c:v>
                </c:pt>
                <c:pt idx="5036">
                  <c:v>6</c:v>
                </c:pt>
                <c:pt idx="5037">
                  <c:v>5</c:v>
                </c:pt>
                <c:pt idx="5038">
                  <c:v>12</c:v>
                </c:pt>
                <c:pt idx="5039">
                  <c:v>29</c:v>
                </c:pt>
                <c:pt idx="5040">
                  <c:v>884</c:v>
                </c:pt>
                <c:pt idx="5041">
                  <c:v>670</c:v>
                </c:pt>
                <c:pt idx="5042">
                  <c:v>1199</c:v>
                </c:pt>
                <c:pt idx="5043">
                  <c:v>1379</c:v>
                </c:pt>
                <c:pt idx="5044">
                  <c:v>276</c:v>
                </c:pt>
                <c:pt idx="5045">
                  <c:v>1318</c:v>
                </c:pt>
                <c:pt idx="5046">
                  <c:v>1449</c:v>
                </c:pt>
                <c:pt idx="5047">
                  <c:v>1511</c:v>
                </c:pt>
                <c:pt idx="5048">
                  <c:v>1272</c:v>
                </c:pt>
                <c:pt idx="5049">
                  <c:v>1351</c:v>
                </c:pt>
                <c:pt idx="5050">
                  <c:v>1954</c:v>
                </c:pt>
                <c:pt idx="5051">
                  <c:v>595</c:v>
                </c:pt>
                <c:pt idx="5052">
                  <c:v>622</c:v>
                </c:pt>
                <c:pt idx="5053">
                  <c:v>1461</c:v>
                </c:pt>
                <c:pt idx="5054">
                  <c:v>1117</c:v>
                </c:pt>
                <c:pt idx="5055">
                  <c:v>998</c:v>
                </c:pt>
                <c:pt idx="5056">
                  <c:v>1145</c:v>
                </c:pt>
                <c:pt idx="5057">
                  <c:v>3626</c:v>
                </c:pt>
                <c:pt idx="5058">
                  <c:v>1422</c:v>
                </c:pt>
                <c:pt idx="5059">
                  <c:v>1345</c:v>
                </c:pt>
                <c:pt idx="5060">
                  <c:v>977</c:v>
                </c:pt>
                <c:pt idx="5061">
                  <c:v>952</c:v>
                </c:pt>
                <c:pt idx="5062">
                  <c:v>1298</c:v>
                </c:pt>
                <c:pt idx="5063">
                  <c:v>711</c:v>
                </c:pt>
                <c:pt idx="5064">
                  <c:v>592</c:v>
                </c:pt>
                <c:pt idx="5065">
                  <c:v>1649</c:v>
                </c:pt>
                <c:pt idx="5066">
                  <c:v>1770</c:v>
                </c:pt>
                <c:pt idx="5067">
                  <c:v>2192</c:v>
                </c:pt>
                <c:pt idx="5068">
                  <c:v>2207</c:v>
                </c:pt>
                <c:pt idx="5069">
                  <c:v>1273</c:v>
                </c:pt>
                <c:pt idx="5070">
                  <c:v>1426</c:v>
                </c:pt>
                <c:pt idx="5071">
                  <c:v>681</c:v>
                </c:pt>
                <c:pt idx="5072">
                  <c:v>1324</c:v>
                </c:pt>
                <c:pt idx="5073">
                  <c:v>1698</c:v>
                </c:pt>
                <c:pt idx="5074">
                  <c:v>1599</c:v>
                </c:pt>
                <c:pt idx="5075">
                  <c:v>913</c:v>
                </c:pt>
                <c:pt idx="5076">
                  <c:v>1335</c:v>
                </c:pt>
                <c:pt idx="5077">
                  <c:v>735</c:v>
                </c:pt>
                <c:pt idx="5078">
                  <c:v>1665</c:v>
                </c:pt>
                <c:pt idx="5079">
                  <c:v>1199</c:v>
                </c:pt>
                <c:pt idx="5080">
                  <c:v>1176</c:v>
                </c:pt>
                <c:pt idx="5081">
                  <c:v>3027</c:v>
                </c:pt>
                <c:pt idx="5082">
                  <c:v>3499</c:v>
                </c:pt>
                <c:pt idx="5083">
                  <c:v>791</c:v>
                </c:pt>
                <c:pt idx="5084">
                  <c:v>1835</c:v>
                </c:pt>
                <c:pt idx="5085">
                  <c:v>1749</c:v>
                </c:pt>
                <c:pt idx="5086">
                  <c:v>1196</c:v>
                </c:pt>
                <c:pt idx="5087">
                  <c:v>136</c:v>
                </c:pt>
                <c:pt idx="5088">
                  <c:v>430</c:v>
                </c:pt>
                <c:pt idx="5089">
                  <c:v>134</c:v>
                </c:pt>
                <c:pt idx="5090">
                  <c:v>709</c:v>
                </c:pt>
                <c:pt idx="5091">
                  <c:v>301</c:v>
                </c:pt>
                <c:pt idx="5092">
                  <c:v>214</c:v>
                </c:pt>
                <c:pt idx="5093">
                  <c:v>86</c:v>
                </c:pt>
                <c:pt idx="5094">
                  <c:v>321</c:v>
                </c:pt>
                <c:pt idx="5095">
                  <c:v>634</c:v>
                </c:pt>
                <c:pt idx="5096">
                  <c:v>550</c:v>
                </c:pt>
                <c:pt idx="5097">
                  <c:v>323</c:v>
                </c:pt>
                <c:pt idx="5098">
                  <c:v>287</c:v>
                </c:pt>
                <c:pt idx="5099">
                  <c:v>245</c:v>
                </c:pt>
                <c:pt idx="5100">
                  <c:v>142</c:v>
                </c:pt>
                <c:pt idx="5101">
                  <c:v>716</c:v>
                </c:pt>
                <c:pt idx="5102">
                  <c:v>618</c:v>
                </c:pt>
                <c:pt idx="5103">
                  <c:v>614</c:v>
                </c:pt>
                <c:pt idx="5104">
                  <c:v>458</c:v>
                </c:pt>
                <c:pt idx="5105">
                  <c:v>379</c:v>
                </c:pt>
                <c:pt idx="5106">
                  <c:v>290</c:v>
                </c:pt>
                <c:pt idx="5107">
                  <c:v>249</c:v>
                </c:pt>
                <c:pt idx="5108">
                  <c:v>66</c:v>
                </c:pt>
                <c:pt idx="5109">
                  <c:v>55</c:v>
                </c:pt>
                <c:pt idx="5110">
                  <c:v>45</c:v>
                </c:pt>
                <c:pt idx="5111">
                  <c:v>631</c:v>
                </c:pt>
                <c:pt idx="5112">
                  <c:v>463</c:v>
                </c:pt>
                <c:pt idx="5113">
                  <c:v>530</c:v>
                </c:pt>
                <c:pt idx="5114">
                  <c:v>197</c:v>
                </c:pt>
                <c:pt idx="5115">
                  <c:v>990</c:v>
                </c:pt>
                <c:pt idx="5116">
                  <c:v>1034</c:v>
                </c:pt>
                <c:pt idx="5117">
                  <c:v>806</c:v>
                </c:pt>
                <c:pt idx="5118">
                  <c:v>787</c:v>
                </c:pt>
                <c:pt idx="5119">
                  <c:v>506</c:v>
                </c:pt>
                <c:pt idx="5120">
                  <c:v>514</c:v>
                </c:pt>
                <c:pt idx="5121">
                  <c:v>483</c:v>
                </c:pt>
                <c:pt idx="5122">
                  <c:v>644</c:v>
                </c:pt>
                <c:pt idx="5123">
                  <c:v>360</c:v>
                </c:pt>
                <c:pt idx="5124">
                  <c:v>359</c:v>
                </c:pt>
                <c:pt idx="5125">
                  <c:v>395</c:v>
                </c:pt>
                <c:pt idx="5126">
                  <c:v>275</c:v>
                </c:pt>
                <c:pt idx="5127">
                  <c:v>283</c:v>
                </c:pt>
                <c:pt idx="5128">
                  <c:v>278</c:v>
                </c:pt>
                <c:pt idx="5129">
                  <c:v>244</c:v>
                </c:pt>
                <c:pt idx="5130">
                  <c:v>247</c:v>
                </c:pt>
                <c:pt idx="5131">
                  <c:v>171</c:v>
                </c:pt>
                <c:pt idx="5132">
                  <c:v>200</c:v>
                </c:pt>
                <c:pt idx="5133">
                  <c:v>188</c:v>
                </c:pt>
                <c:pt idx="5134">
                  <c:v>93</c:v>
                </c:pt>
                <c:pt idx="5135">
                  <c:v>107</c:v>
                </c:pt>
                <c:pt idx="5136">
                  <c:v>105</c:v>
                </c:pt>
                <c:pt idx="5137">
                  <c:v>212</c:v>
                </c:pt>
                <c:pt idx="5138">
                  <c:v>124</c:v>
                </c:pt>
                <c:pt idx="5139">
                  <c:v>102</c:v>
                </c:pt>
                <c:pt idx="5140">
                  <c:v>112</c:v>
                </c:pt>
                <c:pt idx="5141">
                  <c:v>71</c:v>
                </c:pt>
                <c:pt idx="5142">
                  <c:v>67</c:v>
                </c:pt>
                <c:pt idx="5143">
                  <c:v>38</c:v>
                </c:pt>
                <c:pt idx="5144">
                  <c:v>1</c:v>
                </c:pt>
                <c:pt idx="5145">
                  <c:v>624</c:v>
                </c:pt>
                <c:pt idx="5146">
                  <c:v>427</c:v>
                </c:pt>
                <c:pt idx="5147">
                  <c:v>208</c:v>
                </c:pt>
                <c:pt idx="5148">
                  <c:v>963</c:v>
                </c:pt>
                <c:pt idx="5149">
                  <c:v>67</c:v>
                </c:pt>
                <c:pt idx="5150">
                  <c:v>41</c:v>
                </c:pt>
                <c:pt idx="5151">
                  <c:v>55</c:v>
                </c:pt>
                <c:pt idx="5152">
                  <c:v>16</c:v>
                </c:pt>
                <c:pt idx="5153">
                  <c:v>1102</c:v>
                </c:pt>
                <c:pt idx="5154">
                  <c:v>876</c:v>
                </c:pt>
                <c:pt idx="5155">
                  <c:v>653</c:v>
                </c:pt>
                <c:pt idx="5156">
                  <c:v>814</c:v>
                </c:pt>
                <c:pt idx="5157">
                  <c:v>691</c:v>
                </c:pt>
                <c:pt idx="5158">
                  <c:v>717</c:v>
                </c:pt>
                <c:pt idx="5159">
                  <c:v>620</c:v>
                </c:pt>
                <c:pt idx="5160">
                  <c:v>588</c:v>
                </c:pt>
                <c:pt idx="5161">
                  <c:v>652</c:v>
                </c:pt>
                <c:pt idx="5162">
                  <c:v>354</c:v>
                </c:pt>
                <c:pt idx="5163">
                  <c:v>292</c:v>
                </c:pt>
                <c:pt idx="5164">
                  <c:v>171</c:v>
                </c:pt>
                <c:pt idx="5165">
                  <c:v>241</c:v>
                </c:pt>
                <c:pt idx="5166">
                  <c:v>106</c:v>
                </c:pt>
                <c:pt idx="5167">
                  <c:v>134</c:v>
                </c:pt>
                <c:pt idx="5168">
                  <c:v>188</c:v>
                </c:pt>
                <c:pt idx="5169">
                  <c:v>49</c:v>
                </c:pt>
                <c:pt idx="5170">
                  <c:v>149</c:v>
                </c:pt>
                <c:pt idx="5171">
                  <c:v>170</c:v>
                </c:pt>
                <c:pt idx="5172">
                  <c:v>87</c:v>
                </c:pt>
                <c:pt idx="5173">
                  <c:v>97</c:v>
                </c:pt>
                <c:pt idx="5174">
                  <c:v>129</c:v>
                </c:pt>
                <c:pt idx="5175">
                  <c:v>117</c:v>
                </c:pt>
                <c:pt idx="5176">
                  <c:v>75</c:v>
                </c:pt>
                <c:pt idx="5177">
                  <c:v>28</c:v>
                </c:pt>
                <c:pt idx="5178">
                  <c:v>43</c:v>
                </c:pt>
                <c:pt idx="5179">
                  <c:v>34</c:v>
                </c:pt>
                <c:pt idx="5180">
                  <c:v>964</c:v>
                </c:pt>
                <c:pt idx="5181">
                  <c:v>46</c:v>
                </c:pt>
                <c:pt idx="5182">
                  <c:v>28</c:v>
                </c:pt>
                <c:pt idx="5183">
                  <c:v>4</c:v>
                </c:pt>
                <c:pt idx="5184">
                  <c:v>5</c:v>
                </c:pt>
                <c:pt idx="5185">
                  <c:v>3</c:v>
                </c:pt>
                <c:pt idx="5186">
                  <c:v>2</c:v>
                </c:pt>
                <c:pt idx="5187">
                  <c:v>3</c:v>
                </c:pt>
                <c:pt idx="5188">
                  <c:v>3</c:v>
                </c:pt>
                <c:pt idx="5189">
                  <c:v>1</c:v>
                </c:pt>
                <c:pt idx="5190">
                  <c:v>2</c:v>
                </c:pt>
                <c:pt idx="5191">
                  <c:v>2</c:v>
                </c:pt>
                <c:pt idx="5192">
                  <c:v>2</c:v>
                </c:pt>
                <c:pt idx="5193">
                  <c:v>2</c:v>
                </c:pt>
                <c:pt idx="5194">
                  <c:v>1</c:v>
                </c:pt>
                <c:pt idx="5195">
                  <c:v>2</c:v>
                </c:pt>
                <c:pt idx="5196">
                  <c:v>1</c:v>
                </c:pt>
                <c:pt idx="5197">
                  <c:v>1</c:v>
                </c:pt>
                <c:pt idx="5198">
                  <c:v>1</c:v>
                </c:pt>
                <c:pt idx="5199">
                  <c:v>1</c:v>
                </c:pt>
                <c:pt idx="5200">
                  <c:v>1</c:v>
                </c:pt>
                <c:pt idx="5201">
                  <c:v>0</c:v>
                </c:pt>
                <c:pt idx="5202">
                  <c:v>0</c:v>
                </c:pt>
                <c:pt idx="5203">
                  <c:v>0</c:v>
                </c:pt>
                <c:pt idx="5204">
                  <c:v>0</c:v>
                </c:pt>
                <c:pt idx="5205">
                  <c:v>0</c:v>
                </c:pt>
                <c:pt idx="5206">
                  <c:v>30</c:v>
                </c:pt>
                <c:pt idx="5207">
                  <c:v>3</c:v>
                </c:pt>
                <c:pt idx="5208">
                  <c:v>1</c:v>
                </c:pt>
                <c:pt idx="5209">
                  <c:v>1</c:v>
                </c:pt>
                <c:pt idx="5210">
                  <c:v>5</c:v>
                </c:pt>
                <c:pt idx="5211">
                  <c:v>6</c:v>
                </c:pt>
                <c:pt idx="5212">
                  <c:v>7</c:v>
                </c:pt>
                <c:pt idx="5213">
                  <c:v>11</c:v>
                </c:pt>
                <c:pt idx="5214">
                  <c:v>2</c:v>
                </c:pt>
                <c:pt idx="5215">
                  <c:v>0</c:v>
                </c:pt>
                <c:pt idx="5216">
                  <c:v>0</c:v>
                </c:pt>
                <c:pt idx="5217">
                  <c:v>548</c:v>
                </c:pt>
                <c:pt idx="5218">
                  <c:v>743</c:v>
                </c:pt>
                <c:pt idx="5219">
                  <c:v>659</c:v>
                </c:pt>
                <c:pt idx="5220">
                  <c:v>686</c:v>
                </c:pt>
                <c:pt idx="5221">
                  <c:v>561</c:v>
                </c:pt>
                <c:pt idx="5222">
                  <c:v>477</c:v>
                </c:pt>
                <c:pt idx="5223">
                  <c:v>432</c:v>
                </c:pt>
                <c:pt idx="5224">
                  <c:v>487</c:v>
                </c:pt>
                <c:pt idx="5225">
                  <c:v>354</c:v>
                </c:pt>
                <c:pt idx="5226">
                  <c:v>342</c:v>
                </c:pt>
                <c:pt idx="5227">
                  <c:v>279</c:v>
                </c:pt>
                <c:pt idx="5228">
                  <c:v>199</c:v>
                </c:pt>
                <c:pt idx="5229">
                  <c:v>267</c:v>
                </c:pt>
                <c:pt idx="5230">
                  <c:v>278</c:v>
                </c:pt>
                <c:pt idx="5231">
                  <c:v>315</c:v>
                </c:pt>
                <c:pt idx="5232">
                  <c:v>142</c:v>
                </c:pt>
                <c:pt idx="5233">
                  <c:v>224</c:v>
                </c:pt>
                <c:pt idx="5234">
                  <c:v>221</c:v>
                </c:pt>
                <c:pt idx="5235">
                  <c:v>254</c:v>
                </c:pt>
                <c:pt idx="5236">
                  <c:v>223</c:v>
                </c:pt>
                <c:pt idx="5237">
                  <c:v>228</c:v>
                </c:pt>
                <c:pt idx="5238">
                  <c:v>193</c:v>
                </c:pt>
                <c:pt idx="5239">
                  <c:v>206</c:v>
                </c:pt>
                <c:pt idx="5240">
                  <c:v>161</c:v>
                </c:pt>
                <c:pt idx="5241">
                  <c:v>115</c:v>
                </c:pt>
                <c:pt idx="5242">
                  <c:v>185</c:v>
                </c:pt>
                <c:pt idx="5243">
                  <c:v>200</c:v>
                </c:pt>
                <c:pt idx="5244">
                  <c:v>197</c:v>
                </c:pt>
                <c:pt idx="5245">
                  <c:v>221</c:v>
                </c:pt>
                <c:pt idx="5246">
                  <c:v>185</c:v>
                </c:pt>
                <c:pt idx="5247">
                  <c:v>116</c:v>
                </c:pt>
                <c:pt idx="5248">
                  <c:v>160</c:v>
                </c:pt>
                <c:pt idx="5249">
                  <c:v>132</c:v>
                </c:pt>
                <c:pt idx="5250">
                  <c:v>155</c:v>
                </c:pt>
                <c:pt idx="5251">
                  <c:v>99</c:v>
                </c:pt>
                <c:pt idx="5252">
                  <c:v>107</c:v>
                </c:pt>
                <c:pt idx="5253">
                  <c:v>85</c:v>
                </c:pt>
                <c:pt idx="5254">
                  <c:v>142</c:v>
                </c:pt>
                <c:pt idx="5255">
                  <c:v>130</c:v>
                </c:pt>
                <c:pt idx="5256">
                  <c:v>146</c:v>
                </c:pt>
                <c:pt idx="5257">
                  <c:v>116</c:v>
                </c:pt>
                <c:pt idx="5258">
                  <c:v>93</c:v>
                </c:pt>
                <c:pt idx="5259">
                  <c:v>107</c:v>
                </c:pt>
                <c:pt idx="5260">
                  <c:v>97</c:v>
                </c:pt>
                <c:pt idx="5261">
                  <c:v>116</c:v>
                </c:pt>
                <c:pt idx="5262">
                  <c:v>99</c:v>
                </c:pt>
                <c:pt idx="5263">
                  <c:v>95</c:v>
                </c:pt>
                <c:pt idx="5264">
                  <c:v>86</c:v>
                </c:pt>
                <c:pt idx="5265">
                  <c:v>93</c:v>
                </c:pt>
                <c:pt idx="5266">
                  <c:v>88</c:v>
                </c:pt>
                <c:pt idx="5267">
                  <c:v>94</c:v>
                </c:pt>
                <c:pt idx="5268">
                  <c:v>98</c:v>
                </c:pt>
                <c:pt idx="5269">
                  <c:v>94</c:v>
                </c:pt>
                <c:pt idx="5270">
                  <c:v>97</c:v>
                </c:pt>
                <c:pt idx="5271">
                  <c:v>88</c:v>
                </c:pt>
                <c:pt idx="5272">
                  <c:v>71</c:v>
                </c:pt>
                <c:pt idx="5273">
                  <c:v>91</c:v>
                </c:pt>
                <c:pt idx="5274">
                  <c:v>97</c:v>
                </c:pt>
                <c:pt idx="5275">
                  <c:v>63</c:v>
                </c:pt>
                <c:pt idx="5276">
                  <c:v>78</c:v>
                </c:pt>
                <c:pt idx="5277">
                  <c:v>110</c:v>
                </c:pt>
                <c:pt idx="5278">
                  <c:v>102</c:v>
                </c:pt>
                <c:pt idx="5279">
                  <c:v>896</c:v>
                </c:pt>
                <c:pt idx="5280">
                  <c:v>1859</c:v>
                </c:pt>
                <c:pt idx="5281">
                  <c:v>1803</c:v>
                </c:pt>
                <c:pt idx="5282">
                  <c:v>510</c:v>
                </c:pt>
                <c:pt idx="5283">
                  <c:v>1250</c:v>
                </c:pt>
                <c:pt idx="5284">
                  <c:v>274</c:v>
                </c:pt>
                <c:pt idx="5285">
                  <c:v>1622</c:v>
                </c:pt>
                <c:pt idx="5286">
                  <c:v>1050</c:v>
                </c:pt>
                <c:pt idx="5287">
                  <c:v>376</c:v>
                </c:pt>
                <c:pt idx="5288">
                  <c:v>56</c:v>
                </c:pt>
                <c:pt idx="5289">
                  <c:v>447</c:v>
                </c:pt>
                <c:pt idx="5290">
                  <c:v>363</c:v>
                </c:pt>
                <c:pt idx="5291">
                  <c:v>246</c:v>
                </c:pt>
                <c:pt idx="5292">
                  <c:v>324</c:v>
                </c:pt>
                <c:pt idx="5293">
                  <c:v>187</c:v>
                </c:pt>
                <c:pt idx="5294">
                  <c:v>83</c:v>
                </c:pt>
                <c:pt idx="5295">
                  <c:v>1537</c:v>
                </c:pt>
                <c:pt idx="5296">
                  <c:v>406</c:v>
                </c:pt>
                <c:pt idx="5297">
                  <c:v>1705</c:v>
                </c:pt>
                <c:pt idx="5298">
                  <c:v>1461</c:v>
                </c:pt>
                <c:pt idx="5299">
                  <c:v>1015</c:v>
                </c:pt>
                <c:pt idx="5300">
                  <c:v>959</c:v>
                </c:pt>
                <c:pt idx="5301">
                  <c:v>1202</c:v>
                </c:pt>
                <c:pt idx="5302">
                  <c:v>1850</c:v>
                </c:pt>
                <c:pt idx="5303">
                  <c:v>1600</c:v>
                </c:pt>
                <c:pt idx="5304">
                  <c:v>1340</c:v>
                </c:pt>
                <c:pt idx="5305">
                  <c:v>1183</c:v>
                </c:pt>
                <c:pt idx="5306">
                  <c:v>1499</c:v>
                </c:pt>
                <c:pt idx="5307">
                  <c:v>489</c:v>
                </c:pt>
                <c:pt idx="5308">
                  <c:v>1048</c:v>
                </c:pt>
                <c:pt idx="5309">
                  <c:v>913</c:v>
                </c:pt>
                <c:pt idx="5310">
                  <c:v>225</c:v>
                </c:pt>
                <c:pt idx="5311">
                  <c:v>410</c:v>
                </c:pt>
                <c:pt idx="5312">
                  <c:v>263</c:v>
                </c:pt>
                <c:pt idx="5313">
                  <c:v>435</c:v>
                </c:pt>
                <c:pt idx="5314">
                  <c:v>480</c:v>
                </c:pt>
                <c:pt idx="5315">
                  <c:v>251</c:v>
                </c:pt>
                <c:pt idx="5316">
                  <c:v>256</c:v>
                </c:pt>
                <c:pt idx="5317">
                  <c:v>210</c:v>
                </c:pt>
                <c:pt idx="5318">
                  <c:v>315</c:v>
                </c:pt>
                <c:pt idx="5319">
                  <c:v>135</c:v>
                </c:pt>
                <c:pt idx="5320">
                  <c:v>90</c:v>
                </c:pt>
                <c:pt idx="5321">
                  <c:v>46</c:v>
                </c:pt>
                <c:pt idx="5322">
                  <c:v>331</c:v>
                </c:pt>
                <c:pt idx="5323">
                  <c:v>310</c:v>
                </c:pt>
                <c:pt idx="5324">
                  <c:v>218</c:v>
                </c:pt>
                <c:pt idx="5325">
                  <c:v>272</c:v>
                </c:pt>
                <c:pt idx="5326">
                  <c:v>208</c:v>
                </c:pt>
                <c:pt idx="5327">
                  <c:v>203</c:v>
                </c:pt>
                <c:pt idx="5328">
                  <c:v>122</c:v>
                </c:pt>
                <c:pt idx="5329">
                  <c:v>121</c:v>
                </c:pt>
                <c:pt idx="5330">
                  <c:v>81</c:v>
                </c:pt>
                <c:pt idx="5331">
                  <c:v>79</c:v>
                </c:pt>
                <c:pt idx="5332">
                  <c:v>90</c:v>
                </c:pt>
                <c:pt idx="5333">
                  <c:v>52</c:v>
                </c:pt>
                <c:pt idx="5334">
                  <c:v>35</c:v>
                </c:pt>
                <c:pt idx="5335">
                  <c:v>1</c:v>
                </c:pt>
                <c:pt idx="5336">
                  <c:v>1</c:v>
                </c:pt>
                <c:pt idx="5337">
                  <c:v>447</c:v>
                </c:pt>
                <c:pt idx="5338">
                  <c:v>247</c:v>
                </c:pt>
                <c:pt idx="5339">
                  <c:v>324</c:v>
                </c:pt>
                <c:pt idx="5340">
                  <c:v>254</c:v>
                </c:pt>
                <c:pt idx="5341">
                  <c:v>211</c:v>
                </c:pt>
                <c:pt idx="5342">
                  <c:v>231</c:v>
                </c:pt>
                <c:pt idx="5343">
                  <c:v>227</c:v>
                </c:pt>
                <c:pt idx="5344">
                  <c:v>177</c:v>
                </c:pt>
                <c:pt idx="5345">
                  <c:v>126</c:v>
                </c:pt>
                <c:pt idx="5346">
                  <c:v>138</c:v>
                </c:pt>
                <c:pt idx="5347">
                  <c:v>132</c:v>
                </c:pt>
                <c:pt idx="5348">
                  <c:v>66</c:v>
                </c:pt>
                <c:pt idx="5349">
                  <c:v>84</c:v>
                </c:pt>
                <c:pt idx="5350">
                  <c:v>96</c:v>
                </c:pt>
                <c:pt idx="5351">
                  <c:v>102</c:v>
                </c:pt>
                <c:pt idx="5352">
                  <c:v>64</c:v>
                </c:pt>
                <c:pt idx="5353">
                  <c:v>77</c:v>
                </c:pt>
                <c:pt idx="5354">
                  <c:v>64</c:v>
                </c:pt>
                <c:pt idx="5355">
                  <c:v>69</c:v>
                </c:pt>
                <c:pt idx="5356">
                  <c:v>55</c:v>
                </c:pt>
                <c:pt idx="5357">
                  <c:v>67</c:v>
                </c:pt>
                <c:pt idx="5358">
                  <c:v>58</c:v>
                </c:pt>
                <c:pt idx="5359">
                  <c:v>37</c:v>
                </c:pt>
                <c:pt idx="5360">
                  <c:v>23</c:v>
                </c:pt>
                <c:pt idx="5361">
                  <c:v>20</c:v>
                </c:pt>
                <c:pt idx="5362">
                  <c:v>561</c:v>
                </c:pt>
                <c:pt idx="5363">
                  <c:v>457</c:v>
                </c:pt>
                <c:pt idx="5364">
                  <c:v>448</c:v>
                </c:pt>
                <c:pt idx="5365">
                  <c:v>317</c:v>
                </c:pt>
                <c:pt idx="5366">
                  <c:v>318</c:v>
                </c:pt>
                <c:pt idx="5367">
                  <c:v>258</c:v>
                </c:pt>
                <c:pt idx="5368">
                  <c:v>265</c:v>
                </c:pt>
                <c:pt idx="5369">
                  <c:v>264</c:v>
                </c:pt>
                <c:pt idx="5370">
                  <c:v>217</c:v>
                </c:pt>
                <c:pt idx="5371">
                  <c:v>223</c:v>
                </c:pt>
                <c:pt idx="5372">
                  <c:v>185</c:v>
                </c:pt>
                <c:pt idx="5373">
                  <c:v>139</c:v>
                </c:pt>
                <c:pt idx="5374">
                  <c:v>139</c:v>
                </c:pt>
                <c:pt idx="5375">
                  <c:v>179</c:v>
                </c:pt>
                <c:pt idx="5376">
                  <c:v>129</c:v>
                </c:pt>
                <c:pt idx="5377">
                  <c:v>158</c:v>
                </c:pt>
                <c:pt idx="5378">
                  <c:v>112</c:v>
                </c:pt>
                <c:pt idx="5379">
                  <c:v>114</c:v>
                </c:pt>
                <c:pt idx="5380">
                  <c:v>105</c:v>
                </c:pt>
                <c:pt idx="5381">
                  <c:v>94</c:v>
                </c:pt>
                <c:pt idx="5382">
                  <c:v>114</c:v>
                </c:pt>
                <c:pt idx="5383">
                  <c:v>96</c:v>
                </c:pt>
                <c:pt idx="5384">
                  <c:v>74</c:v>
                </c:pt>
                <c:pt idx="5385">
                  <c:v>84</c:v>
                </c:pt>
                <c:pt idx="5386">
                  <c:v>91</c:v>
                </c:pt>
                <c:pt idx="5387">
                  <c:v>81</c:v>
                </c:pt>
                <c:pt idx="5388">
                  <c:v>76</c:v>
                </c:pt>
                <c:pt idx="5389">
                  <c:v>77</c:v>
                </c:pt>
                <c:pt idx="5390">
                  <c:v>68</c:v>
                </c:pt>
                <c:pt idx="5391">
                  <c:v>63</c:v>
                </c:pt>
                <c:pt idx="5392">
                  <c:v>62</c:v>
                </c:pt>
                <c:pt idx="5393">
                  <c:v>59</c:v>
                </c:pt>
                <c:pt idx="5394">
                  <c:v>51</c:v>
                </c:pt>
                <c:pt idx="5395">
                  <c:v>53</c:v>
                </c:pt>
                <c:pt idx="5396">
                  <c:v>52</c:v>
                </c:pt>
                <c:pt idx="5397">
                  <c:v>51</c:v>
                </c:pt>
                <c:pt idx="5398">
                  <c:v>33</c:v>
                </c:pt>
                <c:pt idx="5399">
                  <c:v>38</c:v>
                </c:pt>
                <c:pt idx="5400">
                  <c:v>34</c:v>
                </c:pt>
                <c:pt idx="5401">
                  <c:v>23</c:v>
                </c:pt>
                <c:pt idx="5402">
                  <c:v>32</c:v>
                </c:pt>
                <c:pt idx="5403">
                  <c:v>34</c:v>
                </c:pt>
                <c:pt idx="5404">
                  <c:v>22</c:v>
                </c:pt>
                <c:pt idx="5405">
                  <c:v>23</c:v>
                </c:pt>
                <c:pt idx="5406">
                  <c:v>443</c:v>
                </c:pt>
                <c:pt idx="5407">
                  <c:v>404</c:v>
                </c:pt>
                <c:pt idx="5408">
                  <c:v>495</c:v>
                </c:pt>
                <c:pt idx="5409">
                  <c:v>361</c:v>
                </c:pt>
                <c:pt idx="5410">
                  <c:v>832</c:v>
                </c:pt>
                <c:pt idx="5411">
                  <c:v>1126</c:v>
                </c:pt>
                <c:pt idx="5412">
                  <c:v>967</c:v>
                </c:pt>
                <c:pt idx="5413">
                  <c:v>340</c:v>
                </c:pt>
                <c:pt idx="5414">
                  <c:v>2421</c:v>
                </c:pt>
                <c:pt idx="5415">
                  <c:v>1771</c:v>
                </c:pt>
                <c:pt idx="5416">
                  <c:v>1791</c:v>
                </c:pt>
                <c:pt idx="5417">
                  <c:v>824</c:v>
                </c:pt>
                <c:pt idx="5418">
                  <c:v>2569</c:v>
                </c:pt>
                <c:pt idx="5419">
                  <c:v>1987</c:v>
                </c:pt>
                <c:pt idx="5420">
                  <c:v>3495</c:v>
                </c:pt>
                <c:pt idx="5421">
                  <c:v>1049</c:v>
                </c:pt>
                <c:pt idx="5422">
                  <c:v>1487</c:v>
                </c:pt>
                <c:pt idx="5423">
                  <c:v>700</c:v>
                </c:pt>
                <c:pt idx="5424">
                  <c:v>536</c:v>
                </c:pt>
                <c:pt idx="5425">
                  <c:v>473</c:v>
                </c:pt>
                <c:pt idx="5426">
                  <c:v>395</c:v>
                </c:pt>
                <c:pt idx="5427">
                  <c:v>344</c:v>
                </c:pt>
                <c:pt idx="5428">
                  <c:v>368</c:v>
                </c:pt>
                <c:pt idx="5429">
                  <c:v>365</c:v>
                </c:pt>
                <c:pt idx="5430">
                  <c:v>339</c:v>
                </c:pt>
                <c:pt idx="5431">
                  <c:v>318</c:v>
                </c:pt>
                <c:pt idx="5432">
                  <c:v>324</c:v>
                </c:pt>
                <c:pt idx="5433">
                  <c:v>249</c:v>
                </c:pt>
                <c:pt idx="5434">
                  <c:v>305</c:v>
                </c:pt>
                <c:pt idx="5435">
                  <c:v>284</c:v>
                </c:pt>
                <c:pt idx="5436">
                  <c:v>192</c:v>
                </c:pt>
                <c:pt idx="5437">
                  <c:v>220</c:v>
                </c:pt>
                <c:pt idx="5438">
                  <c:v>144</c:v>
                </c:pt>
                <c:pt idx="5439">
                  <c:v>177</c:v>
                </c:pt>
                <c:pt idx="5440">
                  <c:v>96</c:v>
                </c:pt>
                <c:pt idx="5441">
                  <c:v>177</c:v>
                </c:pt>
                <c:pt idx="5442">
                  <c:v>112</c:v>
                </c:pt>
                <c:pt idx="5443">
                  <c:v>58</c:v>
                </c:pt>
                <c:pt idx="5444">
                  <c:v>81</c:v>
                </c:pt>
                <c:pt idx="5445">
                  <c:v>47</c:v>
                </c:pt>
                <c:pt idx="5446">
                  <c:v>18</c:v>
                </c:pt>
                <c:pt idx="5447">
                  <c:v>8</c:v>
                </c:pt>
                <c:pt idx="5448">
                  <c:v>1525</c:v>
                </c:pt>
                <c:pt idx="5449">
                  <c:v>1132</c:v>
                </c:pt>
                <c:pt idx="5450">
                  <c:v>1407</c:v>
                </c:pt>
                <c:pt idx="5451">
                  <c:v>866</c:v>
                </c:pt>
                <c:pt idx="5452">
                  <c:v>829</c:v>
                </c:pt>
                <c:pt idx="5453">
                  <c:v>1226</c:v>
                </c:pt>
                <c:pt idx="5454">
                  <c:v>1826</c:v>
                </c:pt>
                <c:pt idx="5455">
                  <c:v>1099</c:v>
                </c:pt>
                <c:pt idx="5456">
                  <c:v>876</c:v>
                </c:pt>
                <c:pt idx="5457">
                  <c:v>993</c:v>
                </c:pt>
                <c:pt idx="5458">
                  <c:v>770</c:v>
                </c:pt>
                <c:pt idx="5459">
                  <c:v>932</c:v>
                </c:pt>
                <c:pt idx="5460">
                  <c:v>924</c:v>
                </c:pt>
                <c:pt idx="5461">
                  <c:v>1435</c:v>
                </c:pt>
                <c:pt idx="5462">
                  <c:v>1390</c:v>
                </c:pt>
                <c:pt idx="5463">
                  <c:v>980</c:v>
                </c:pt>
                <c:pt idx="5464">
                  <c:v>523</c:v>
                </c:pt>
                <c:pt idx="5465">
                  <c:v>1270</c:v>
                </c:pt>
                <c:pt idx="5466">
                  <c:v>1157</c:v>
                </c:pt>
                <c:pt idx="5467">
                  <c:v>926</c:v>
                </c:pt>
                <c:pt idx="5468">
                  <c:v>632</c:v>
                </c:pt>
                <c:pt idx="5469">
                  <c:v>896</c:v>
                </c:pt>
                <c:pt idx="5470">
                  <c:v>869</c:v>
                </c:pt>
                <c:pt idx="5471">
                  <c:v>1050</c:v>
                </c:pt>
                <c:pt idx="5472">
                  <c:v>839</c:v>
                </c:pt>
                <c:pt idx="5473">
                  <c:v>603</c:v>
                </c:pt>
                <c:pt idx="5474">
                  <c:v>874</c:v>
                </c:pt>
                <c:pt idx="5475">
                  <c:v>1206</c:v>
                </c:pt>
                <c:pt idx="5476">
                  <c:v>1838</c:v>
                </c:pt>
                <c:pt idx="5477">
                  <c:v>1090</c:v>
                </c:pt>
                <c:pt idx="5478">
                  <c:v>1244</c:v>
                </c:pt>
                <c:pt idx="5479">
                  <c:v>604</c:v>
                </c:pt>
                <c:pt idx="5480">
                  <c:v>726</c:v>
                </c:pt>
                <c:pt idx="5481">
                  <c:v>765</c:v>
                </c:pt>
                <c:pt idx="5482">
                  <c:v>954</c:v>
                </c:pt>
                <c:pt idx="5483">
                  <c:v>723</c:v>
                </c:pt>
                <c:pt idx="5484">
                  <c:v>614</c:v>
                </c:pt>
                <c:pt idx="5485">
                  <c:v>612</c:v>
                </c:pt>
                <c:pt idx="5486">
                  <c:v>999</c:v>
                </c:pt>
                <c:pt idx="5487">
                  <c:v>1113</c:v>
                </c:pt>
                <c:pt idx="5488">
                  <c:v>940</c:v>
                </c:pt>
                <c:pt idx="5489">
                  <c:v>913</c:v>
                </c:pt>
                <c:pt idx="5490">
                  <c:v>642</c:v>
                </c:pt>
                <c:pt idx="5491">
                  <c:v>1089</c:v>
                </c:pt>
                <c:pt idx="5492">
                  <c:v>1676</c:v>
                </c:pt>
                <c:pt idx="5493">
                  <c:v>932</c:v>
                </c:pt>
                <c:pt idx="5494">
                  <c:v>809</c:v>
                </c:pt>
                <c:pt idx="5495">
                  <c:v>693</c:v>
                </c:pt>
                <c:pt idx="5496">
                  <c:v>636</c:v>
                </c:pt>
                <c:pt idx="5497">
                  <c:v>770</c:v>
                </c:pt>
                <c:pt idx="5498">
                  <c:v>1243</c:v>
                </c:pt>
                <c:pt idx="5499">
                  <c:v>800</c:v>
                </c:pt>
                <c:pt idx="5500">
                  <c:v>941</c:v>
                </c:pt>
                <c:pt idx="5501">
                  <c:v>789</c:v>
                </c:pt>
                <c:pt idx="5502">
                  <c:v>692</c:v>
                </c:pt>
                <c:pt idx="5503">
                  <c:v>688</c:v>
                </c:pt>
                <c:pt idx="5504">
                  <c:v>621</c:v>
                </c:pt>
                <c:pt idx="5505">
                  <c:v>839</c:v>
                </c:pt>
                <c:pt idx="5506">
                  <c:v>1879</c:v>
                </c:pt>
                <c:pt idx="5507">
                  <c:v>674</c:v>
                </c:pt>
                <c:pt idx="5508">
                  <c:v>943</c:v>
                </c:pt>
                <c:pt idx="5509">
                  <c:v>676</c:v>
                </c:pt>
                <c:pt idx="5510">
                  <c:v>711</c:v>
                </c:pt>
                <c:pt idx="5511">
                  <c:v>608</c:v>
                </c:pt>
                <c:pt idx="5512">
                  <c:v>1092</c:v>
                </c:pt>
                <c:pt idx="5513">
                  <c:v>1253</c:v>
                </c:pt>
                <c:pt idx="5514">
                  <c:v>453</c:v>
                </c:pt>
                <c:pt idx="5515">
                  <c:v>540</c:v>
                </c:pt>
                <c:pt idx="5516">
                  <c:v>737</c:v>
                </c:pt>
                <c:pt idx="5517">
                  <c:v>615</c:v>
                </c:pt>
                <c:pt idx="5518">
                  <c:v>513</c:v>
                </c:pt>
                <c:pt idx="5519">
                  <c:v>579</c:v>
                </c:pt>
                <c:pt idx="5520">
                  <c:v>703</c:v>
                </c:pt>
                <c:pt idx="5521">
                  <c:v>671</c:v>
                </c:pt>
                <c:pt idx="5522">
                  <c:v>618</c:v>
                </c:pt>
                <c:pt idx="5523">
                  <c:v>406</c:v>
                </c:pt>
                <c:pt idx="5524">
                  <c:v>515</c:v>
                </c:pt>
                <c:pt idx="5525">
                  <c:v>822</c:v>
                </c:pt>
                <c:pt idx="5526">
                  <c:v>662</c:v>
                </c:pt>
                <c:pt idx="5527">
                  <c:v>555</c:v>
                </c:pt>
                <c:pt idx="5528">
                  <c:v>772</c:v>
                </c:pt>
                <c:pt idx="5529">
                  <c:v>812</c:v>
                </c:pt>
                <c:pt idx="5530">
                  <c:v>687</c:v>
                </c:pt>
                <c:pt idx="5531">
                  <c:v>633</c:v>
                </c:pt>
                <c:pt idx="5532">
                  <c:v>584</c:v>
                </c:pt>
                <c:pt idx="5533">
                  <c:v>1411</c:v>
                </c:pt>
                <c:pt idx="5534">
                  <c:v>1246</c:v>
                </c:pt>
                <c:pt idx="5535">
                  <c:v>908</c:v>
                </c:pt>
                <c:pt idx="5536">
                  <c:v>872</c:v>
                </c:pt>
                <c:pt idx="5537">
                  <c:v>752</c:v>
                </c:pt>
                <c:pt idx="5538">
                  <c:v>740</c:v>
                </c:pt>
                <c:pt idx="5539">
                  <c:v>745</c:v>
                </c:pt>
                <c:pt idx="5540">
                  <c:v>561</c:v>
                </c:pt>
                <c:pt idx="5541">
                  <c:v>522</c:v>
                </c:pt>
                <c:pt idx="5542">
                  <c:v>476</c:v>
                </c:pt>
                <c:pt idx="5543">
                  <c:v>341</c:v>
                </c:pt>
                <c:pt idx="5544">
                  <c:v>535</c:v>
                </c:pt>
                <c:pt idx="5545">
                  <c:v>161</c:v>
                </c:pt>
                <c:pt idx="5546">
                  <c:v>311</c:v>
                </c:pt>
                <c:pt idx="5547">
                  <c:v>402</c:v>
                </c:pt>
                <c:pt idx="5548">
                  <c:v>261</c:v>
                </c:pt>
                <c:pt idx="5549">
                  <c:v>268</c:v>
                </c:pt>
                <c:pt idx="5550">
                  <c:v>260</c:v>
                </c:pt>
                <c:pt idx="5551">
                  <c:v>366</c:v>
                </c:pt>
                <c:pt idx="5552">
                  <c:v>243</c:v>
                </c:pt>
                <c:pt idx="5553">
                  <c:v>233</c:v>
                </c:pt>
                <c:pt idx="5554">
                  <c:v>216</c:v>
                </c:pt>
                <c:pt idx="5555">
                  <c:v>285</c:v>
                </c:pt>
                <c:pt idx="5556">
                  <c:v>223</c:v>
                </c:pt>
                <c:pt idx="5557">
                  <c:v>149</c:v>
                </c:pt>
                <c:pt idx="5558">
                  <c:v>165</c:v>
                </c:pt>
                <c:pt idx="5559">
                  <c:v>164</c:v>
                </c:pt>
                <c:pt idx="5560">
                  <c:v>112</c:v>
                </c:pt>
                <c:pt idx="5561">
                  <c:v>231</c:v>
                </c:pt>
                <c:pt idx="5562">
                  <c:v>216</c:v>
                </c:pt>
                <c:pt idx="5563">
                  <c:v>246</c:v>
                </c:pt>
                <c:pt idx="5564">
                  <c:v>190</c:v>
                </c:pt>
                <c:pt idx="5565">
                  <c:v>151</c:v>
                </c:pt>
                <c:pt idx="5566">
                  <c:v>192</c:v>
                </c:pt>
                <c:pt idx="5567">
                  <c:v>144</c:v>
                </c:pt>
                <c:pt idx="5568">
                  <c:v>205</c:v>
                </c:pt>
                <c:pt idx="5569">
                  <c:v>113</c:v>
                </c:pt>
                <c:pt idx="5570">
                  <c:v>134</c:v>
                </c:pt>
                <c:pt idx="5571">
                  <c:v>141</c:v>
                </c:pt>
                <c:pt idx="5572">
                  <c:v>192</c:v>
                </c:pt>
                <c:pt idx="5573">
                  <c:v>142</c:v>
                </c:pt>
                <c:pt idx="5574">
                  <c:v>221</c:v>
                </c:pt>
                <c:pt idx="5575">
                  <c:v>177</c:v>
                </c:pt>
                <c:pt idx="5576">
                  <c:v>138</c:v>
                </c:pt>
                <c:pt idx="5577">
                  <c:v>53</c:v>
                </c:pt>
                <c:pt idx="5578">
                  <c:v>94</c:v>
                </c:pt>
                <c:pt idx="5579">
                  <c:v>189</c:v>
                </c:pt>
                <c:pt idx="5580">
                  <c:v>176</c:v>
                </c:pt>
                <c:pt idx="5581">
                  <c:v>156</c:v>
                </c:pt>
                <c:pt idx="5582">
                  <c:v>157</c:v>
                </c:pt>
                <c:pt idx="5583">
                  <c:v>128</c:v>
                </c:pt>
                <c:pt idx="5584">
                  <c:v>145</c:v>
                </c:pt>
                <c:pt idx="5585">
                  <c:v>53</c:v>
                </c:pt>
                <c:pt idx="5586">
                  <c:v>142</c:v>
                </c:pt>
                <c:pt idx="5587">
                  <c:v>135</c:v>
                </c:pt>
                <c:pt idx="5588">
                  <c:v>108</c:v>
                </c:pt>
                <c:pt idx="5589">
                  <c:v>112</c:v>
                </c:pt>
                <c:pt idx="5590">
                  <c:v>153</c:v>
                </c:pt>
                <c:pt idx="5591">
                  <c:v>65</c:v>
                </c:pt>
                <c:pt idx="5592">
                  <c:v>72</c:v>
                </c:pt>
                <c:pt idx="5593">
                  <c:v>129</c:v>
                </c:pt>
                <c:pt idx="5594">
                  <c:v>143</c:v>
                </c:pt>
                <c:pt idx="5595">
                  <c:v>96</c:v>
                </c:pt>
                <c:pt idx="5596">
                  <c:v>133</c:v>
                </c:pt>
                <c:pt idx="5597">
                  <c:v>149</c:v>
                </c:pt>
                <c:pt idx="5598">
                  <c:v>88</c:v>
                </c:pt>
                <c:pt idx="5599">
                  <c:v>126</c:v>
                </c:pt>
                <c:pt idx="5600">
                  <c:v>167</c:v>
                </c:pt>
                <c:pt idx="5601">
                  <c:v>136</c:v>
                </c:pt>
                <c:pt idx="5602">
                  <c:v>62</c:v>
                </c:pt>
                <c:pt idx="5603">
                  <c:v>122</c:v>
                </c:pt>
                <c:pt idx="5604">
                  <c:v>121</c:v>
                </c:pt>
                <c:pt idx="5605">
                  <c:v>18</c:v>
                </c:pt>
                <c:pt idx="5606">
                  <c:v>18</c:v>
                </c:pt>
                <c:pt idx="5607">
                  <c:v>96</c:v>
                </c:pt>
                <c:pt idx="5608">
                  <c:v>119</c:v>
                </c:pt>
                <c:pt idx="5609">
                  <c:v>136</c:v>
                </c:pt>
                <c:pt idx="5610">
                  <c:v>113</c:v>
                </c:pt>
                <c:pt idx="5611">
                  <c:v>88</c:v>
                </c:pt>
                <c:pt idx="5612">
                  <c:v>35</c:v>
                </c:pt>
                <c:pt idx="5613">
                  <c:v>88</c:v>
                </c:pt>
                <c:pt idx="5614">
                  <c:v>104</c:v>
                </c:pt>
                <c:pt idx="5615">
                  <c:v>102</c:v>
                </c:pt>
                <c:pt idx="5616">
                  <c:v>90</c:v>
                </c:pt>
                <c:pt idx="5617">
                  <c:v>69</c:v>
                </c:pt>
                <c:pt idx="5618">
                  <c:v>74</c:v>
                </c:pt>
                <c:pt idx="5619">
                  <c:v>55</c:v>
                </c:pt>
                <c:pt idx="5620">
                  <c:v>92</c:v>
                </c:pt>
                <c:pt idx="5621">
                  <c:v>133</c:v>
                </c:pt>
                <c:pt idx="5622">
                  <c:v>126</c:v>
                </c:pt>
                <c:pt idx="5623">
                  <c:v>100</c:v>
                </c:pt>
                <c:pt idx="5624">
                  <c:v>66</c:v>
                </c:pt>
                <c:pt idx="5625">
                  <c:v>100</c:v>
                </c:pt>
                <c:pt idx="5626">
                  <c:v>84</c:v>
                </c:pt>
                <c:pt idx="5627">
                  <c:v>81</c:v>
                </c:pt>
                <c:pt idx="5628">
                  <c:v>73</c:v>
                </c:pt>
                <c:pt idx="5629">
                  <c:v>61</c:v>
                </c:pt>
                <c:pt idx="5630">
                  <c:v>1087</c:v>
                </c:pt>
                <c:pt idx="5631">
                  <c:v>907</c:v>
                </c:pt>
                <c:pt idx="5632">
                  <c:v>842</c:v>
                </c:pt>
                <c:pt idx="5633">
                  <c:v>898</c:v>
                </c:pt>
                <c:pt idx="5634">
                  <c:v>1066</c:v>
                </c:pt>
                <c:pt idx="5635">
                  <c:v>1560</c:v>
                </c:pt>
                <c:pt idx="5636">
                  <c:v>566</c:v>
                </c:pt>
                <c:pt idx="5637">
                  <c:v>687</c:v>
                </c:pt>
                <c:pt idx="5638">
                  <c:v>780</c:v>
                </c:pt>
                <c:pt idx="5639">
                  <c:v>1026</c:v>
                </c:pt>
                <c:pt idx="5640">
                  <c:v>1610</c:v>
                </c:pt>
                <c:pt idx="5641">
                  <c:v>828</c:v>
                </c:pt>
                <c:pt idx="5642">
                  <c:v>920</c:v>
                </c:pt>
                <c:pt idx="5643">
                  <c:v>1843</c:v>
                </c:pt>
                <c:pt idx="5644">
                  <c:v>801</c:v>
                </c:pt>
                <c:pt idx="5645">
                  <c:v>692</c:v>
                </c:pt>
                <c:pt idx="5646">
                  <c:v>641</c:v>
                </c:pt>
                <c:pt idx="5647">
                  <c:v>729</c:v>
                </c:pt>
                <c:pt idx="5648">
                  <c:v>757</c:v>
                </c:pt>
                <c:pt idx="5649">
                  <c:v>679</c:v>
                </c:pt>
                <c:pt idx="5650">
                  <c:v>457</c:v>
                </c:pt>
                <c:pt idx="5651">
                  <c:v>696</c:v>
                </c:pt>
                <c:pt idx="5652">
                  <c:v>592</c:v>
                </c:pt>
                <c:pt idx="5653">
                  <c:v>579</c:v>
                </c:pt>
                <c:pt idx="5654">
                  <c:v>611</c:v>
                </c:pt>
                <c:pt idx="5655">
                  <c:v>646</c:v>
                </c:pt>
                <c:pt idx="5656">
                  <c:v>615</c:v>
                </c:pt>
                <c:pt idx="5657">
                  <c:v>604</c:v>
                </c:pt>
                <c:pt idx="5658">
                  <c:v>536</c:v>
                </c:pt>
                <c:pt idx="5659">
                  <c:v>576</c:v>
                </c:pt>
                <c:pt idx="5660">
                  <c:v>560</c:v>
                </c:pt>
                <c:pt idx="5661">
                  <c:v>462</c:v>
                </c:pt>
                <c:pt idx="5662">
                  <c:v>547</c:v>
                </c:pt>
                <c:pt idx="5663">
                  <c:v>447</c:v>
                </c:pt>
                <c:pt idx="5664">
                  <c:v>459</c:v>
                </c:pt>
                <c:pt idx="5665">
                  <c:v>567</c:v>
                </c:pt>
                <c:pt idx="5666">
                  <c:v>494</c:v>
                </c:pt>
                <c:pt idx="5667">
                  <c:v>401</c:v>
                </c:pt>
                <c:pt idx="5668">
                  <c:v>401</c:v>
                </c:pt>
                <c:pt idx="5669">
                  <c:v>461</c:v>
                </c:pt>
                <c:pt idx="5670">
                  <c:v>344</c:v>
                </c:pt>
                <c:pt idx="5671">
                  <c:v>456</c:v>
                </c:pt>
                <c:pt idx="5672">
                  <c:v>481</c:v>
                </c:pt>
                <c:pt idx="5673">
                  <c:v>529</c:v>
                </c:pt>
                <c:pt idx="5674">
                  <c:v>440</c:v>
                </c:pt>
                <c:pt idx="5675">
                  <c:v>460</c:v>
                </c:pt>
                <c:pt idx="5676">
                  <c:v>343</c:v>
                </c:pt>
                <c:pt idx="5677">
                  <c:v>454</c:v>
                </c:pt>
                <c:pt idx="5678">
                  <c:v>363</c:v>
                </c:pt>
                <c:pt idx="5679">
                  <c:v>382</c:v>
                </c:pt>
                <c:pt idx="5680">
                  <c:v>453</c:v>
                </c:pt>
                <c:pt idx="5681">
                  <c:v>442</c:v>
                </c:pt>
                <c:pt idx="5682">
                  <c:v>366</c:v>
                </c:pt>
                <c:pt idx="5683">
                  <c:v>479</c:v>
                </c:pt>
                <c:pt idx="5684">
                  <c:v>343</c:v>
                </c:pt>
                <c:pt idx="5685">
                  <c:v>418</c:v>
                </c:pt>
                <c:pt idx="5686">
                  <c:v>320</c:v>
                </c:pt>
                <c:pt idx="5687">
                  <c:v>245</c:v>
                </c:pt>
                <c:pt idx="5688">
                  <c:v>320</c:v>
                </c:pt>
                <c:pt idx="5689">
                  <c:v>356</c:v>
                </c:pt>
                <c:pt idx="5690">
                  <c:v>230</c:v>
                </c:pt>
                <c:pt idx="5691">
                  <c:v>354</c:v>
                </c:pt>
                <c:pt idx="5692">
                  <c:v>260</c:v>
                </c:pt>
                <c:pt idx="5693">
                  <c:v>337</c:v>
                </c:pt>
                <c:pt idx="5694">
                  <c:v>282</c:v>
                </c:pt>
                <c:pt idx="5695">
                  <c:v>257</c:v>
                </c:pt>
                <c:pt idx="5696">
                  <c:v>265</c:v>
                </c:pt>
                <c:pt idx="5697">
                  <c:v>313</c:v>
                </c:pt>
                <c:pt idx="5698">
                  <c:v>312</c:v>
                </c:pt>
                <c:pt idx="5699">
                  <c:v>317</c:v>
                </c:pt>
                <c:pt idx="5700">
                  <c:v>309</c:v>
                </c:pt>
                <c:pt idx="5701">
                  <c:v>277</c:v>
                </c:pt>
                <c:pt idx="5702">
                  <c:v>265</c:v>
                </c:pt>
                <c:pt idx="5703">
                  <c:v>258</c:v>
                </c:pt>
                <c:pt idx="5704">
                  <c:v>272</c:v>
                </c:pt>
                <c:pt idx="5705">
                  <c:v>285</c:v>
                </c:pt>
                <c:pt idx="5706">
                  <c:v>254</c:v>
                </c:pt>
                <c:pt idx="5707">
                  <c:v>263</c:v>
                </c:pt>
                <c:pt idx="5708">
                  <c:v>301</c:v>
                </c:pt>
                <c:pt idx="5709">
                  <c:v>195</c:v>
                </c:pt>
                <c:pt idx="5710">
                  <c:v>254</c:v>
                </c:pt>
                <c:pt idx="5711">
                  <c:v>1128</c:v>
                </c:pt>
                <c:pt idx="5712">
                  <c:v>1311</c:v>
                </c:pt>
                <c:pt idx="5713">
                  <c:v>1010</c:v>
                </c:pt>
                <c:pt idx="5714">
                  <c:v>1198</c:v>
                </c:pt>
                <c:pt idx="5715">
                  <c:v>1749</c:v>
                </c:pt>
                <c:pt idx="5716">
                  <c:v>1391</c:v>
                </c:pt>
                <c:pt idx="5717">
                  <c:v>1166</c:v>
                </c:pt>
                <c:pt idx="5718">
                  <c:v>1088</c:v>
                </c:pt>
                <c:pt idx="5719">
                  <c:v>1283</c:v>
                </c:pt>
                <c:pt idx="5720">
                  <c:v>945</c:v>
                </c:pt>
                <c:pt idx="5721">
                  <c:v>1216</c:v>
                </c:pt>
                <c:pt idx="5722">
                  <c:v>511</c:v>
                </c:pt>
                <c:pt idx="5723">
                  <c:v>1372</c:v>
                </c:pt>
                <c:pt idx="5724">
                  <c:v>490</c:v>
                </c:pt>
                <c:pt idx="5725">
                  <c:v>1504</c:v>
                </c:pt>
                <c:pt idx="5726">
                  <c:v>1341</c:v>
                </c:pt>
                <c:pt idx="5727">
                  <c:v>1519</c:v>
                </c:pt>
                <c:pt idx="5728">
                  <c:v>1618</c:v>
                </c:pt>
                <c:pt idx="5729">
                  <c:v>1462</c:v>
                </c:pt>
                <c:pt idx="5730">
                  <c:v>717</c:v>
                </c:pt>
                <c:pt idx="5731">
                  <c:v>703</c:v>
                </c:pt>
                <c:pt idx="5732">
                  <c:v>1175</c:v>
                </c:pt>
                <c:pt idx="5733">
                  <c:v>1472</c:v>
                </c:pt>
                <c:pt idx="5734">
                  <c:v>1469</c:v>
                </c:pt>
                <c:pt idx="5735">
                  <c:v>1960</c:v>
                </c:pt>
                <c:pt idx="5736">
                  <c:v>952</c:v>
                </c:pt>
                <c:pt idx="5737">
                  <c:v>984</c:v>
                </c:pt>
                <c:pt idx="5738">
                  <c:v>1338</c:v>
                </c:pt>
                <c:pt idx="5739">
                  <c:v>1047</c:v>
                </c:pt>
                <c:pt idx="5740">
                  <c:v>1033</c:v>
                </c:pt>
                <c:pt idx="5741">
                  <c:v>1082</c:v>
                </c:pt>
                <c:pt idx="5742">
                  <c:v>1389</c:v>
                </c:pt>
                <c:pt idx="5743">
                  <c:v>968</c:v>
                </c:pt>
                <c:pt idx="5744">
                  <c:v>888</c:v>
                </c:pt>
                <c:pt idx="5745">
                  <c:v>1123</c:v>
                </c:pt>
                <c:pt idx="5746">
                  <c:v>1099</c:v>
                </c:pt>
                <c:pt idx="5747">
                  <c:v>860</c:v>
                </c:pt>
                <c:pt idx="5748">
                  <c:v>1055</c:v>
                </c:pt>
                <c:pt idx="5749">
                  <c:v>544</c:v>
                </c:pt>
                <c:pt idx="5750">
                  <c:v>880</c:v>
                </c:pt>
                <c:pt idx="5751">
                  <c:v>1256</c:v>
                </c:pt>
                <c:pt idx="5752">
                  <c:v>672</c:v>
                </c:pt>
                <c:pt idx="5753">
                  <c:v>1899</c:v>
                </c:pt>
                <c:pt idx="5754">
                  <c:v>1891</c:v>
                </c:pt>
                <c:pt idx="5755">
                  <c:v>1131</c:v>
                </c:pt>
                <c:pt idx="5756">
                  <c:v>1010</c:v>
                </c:pt>
                <c:pt idx="5757">
                  <c:v>428</c:v>
                </c:pt>
                <c:pt idx="5758">
                  <c:v>1079</c:v>
                </c:pt>
                <c:pt idx="5759">
                  <c:v>1395</c:v>
                </c:pt>
                <c:pt idx="5760">
                  <c:v>1321</c:v>
                </c:pt>
                <c:pt idx="5761">
                  <c:v>1414</c:v>
                </c:pt>
                <c:pt idx="5762">
                  <c:v>1395</c:v>
                </c:pt>
                <c:pt idx="5763">
                  <c:v>879</c:v>
                </c:pt>
                <c:pt idx="5764">
                  <c:v>1125</c:v>
                </c:pt>
                <c:pt idx="5765">
                  <c:v>874</c:v>
                </c:pt>
                <c:pt idx="5766">
                  <c:v>471</c:v>
                </c:pt>
                <c:pt idx="5767">
                  <c:v>818</c:v>
                </c:pt>
                <c:pt idx="5768">
                  <c:v>627</c:v>
                </c:pt>
                <c:pt idx="5769">
                  <c:v>616</c:v>
                </c:pt>
                <c:pt idx="5770">
                  <c:v>511</c:v>
                </c:pt>
                <c:pt idx="5771">
                  <c:v>434</c:v>
                </c:pt>
                <c:pt idx="5772">
                  <c:v>315</c:v>
                </c:pt>
                <c:pt idx="5773">
                  <c:v>426</c:v>
                </c:pt>
                <c:pt idx="5774">
                  <c:v>346</c:v>
                </c:pt>
                <c:pt idx="5775">
                  <c:v>242</c:v>
                </c:pt>
                <c:pt idx="5776">
                  <c:v>257</c:v>
                </c:pt>
                <c:pt idx="5777">
                  <c:v>267</c:v>
                </c:pt>
                <c:pt idx="5778">
                  <c:v>233</c:v>
                </c:pt>
                <c:pt idx="5779">
                  <c:v>173</c:v>
                </c:pt>
                <c:pt idx="5780">
                  <c:v>283</c:v>
                </c:pt>
                <c:pt idx="5781">
                  <c:v>156</c:v>
                </c:pt>
                <c:pt idx="5782">
                  <c:v>82</c:v>
                </c:pt>
                <c:pt idx="5783">
                  <c:v>156</c:v>
                </c:pt>
                <c:pt idx="5784">
                  <c:v>119</c:v>
                </c:pt>
                <c:pt idx="5785">
                  <c:v>97</c:v>
                </c:pt>
                <c:pt idx="5786">
                  <c:v>105</c:v>
                </c:pt>
                <c:pt idx="5787">
                  <c:v>48</c:v>
                </c:pt>
                <c:pt idx="5788">
                  <c:v>72</c:v>
                </c:pt>
                <c:pt idx="5789">
                  <c:v>98</c:v>
                </c:pt>
                <c:pt idx="5790">
                  <c:v>85</c:v>
                </c:pt>
                <c:pt idx="5791">
                  <c:v>96</c:v>
                </c:pt>
                <c:pt idx="5792">
                  <c:v>85</c:v>
                </c:pt>
                <c:pt idx="5793">
                  <c:v>52</c:v>
                </c:pt>
                <c:pt idx="5794">
                  <c:v>63</c:v>
                </c:pt>
                <c:pt idx="5795">
                  <c:v>67</c:v>
                </c:pt>
                <c:pt idx="5796">
                  <c:v>46</c:v>
                </c:pt>
                <c:pt idx="5797">
                  <c:v>57</c:v>
                </c:pt>
                <c:pt idx="5798">
                  <c:v>55</c:v>
                </c:pt>
                <c:pt idx="5799">
                  <c:v>49</c:v>
                </c:pt>
                <c:pt idx="5800">
                  <c:v>33</c:v>
                </c:pt>
                <c:pt idx="5801">
                  <c:v>47</c:v>
                </c:pt>
                <c:pt idx="5802">
                  <c:v>23</c:v>
                </c:pt>
                <c:pt idx="5803">
                  <c:v>38</c:v>
                </c:pt>
                <c:pt idx="5804">
                  <c:v>26</c:v>
                </c:pt>
                <c:pt idx="5805">
                  <c:v>33</c:v>
                </c:pt>
                <c:pt idx="5806">
                  <c:v>15</c:v>
                </c:pt>
                <c:pt idx="5807">
                  <c:v>19</c:v>
                </c:pt>
                <c:pt idx="5808">
                  <c:v>31</c:v>
                </c:pt>
                <c:pt idx="5809">
                  <c:v>21</c:v>
                </c:pt>
                <c:pt idx="5810">
                  <c:v>25</c:v>
                </c:pt>
                <c:pt idx="5811">
                  <c:v>15</c:v>
                </c:pt>
                <c:pt idx="5812">
                  <c:v>20</c:v>
                </c:pt>
                <c:pt idx="5813">
                  <c:v>17</c:v>
                </c:pt>
                <c:pt idx="5814">
                  <c:v>9</c:v>
                </c:pt>
                <c:pt idx="5815">
                  <c:v>13</c:v>
                </c:pt>
                <c:pt idx="5816">
                  <c:v>10</c:v>
                </c:pt>
                <c:pt idx="5817">
                  <c:v>6</c:v>
                </c:pt>
                <c:pt idx="5818">
                  <c:v>3</c:v>
                </c:pt>
                <c:pt idx="5819">
                  <c:v>1157</c:v>
                </c:pt>
                <c:pt idx="5820">
                  <c:v>999</c:v>
                </c:pt>
                <c:pt idx="5821">
                  <c:v>966</c:v>
                </c:pt>
                <c:pt idx="5822">
                  <c:v>1412</c:v>
                </c:pt>
                <c:pt idx="5823">
                  <c:v>1307</c:v>
                </c:pt>
                <c:pt idx="5824">
                  <c:v>1192</c:v>
                </c:pt>
                <c:pt idx="5825">
                  <c:v>816</c:v>
                </c:pt>
                <c:pt idx="5826">
                  <c:v>1072</c:v>
                </c:pt>
                <c:pt idx="5827">
                  <c:v>854</c:v>
                </c:pt>
                <c:pt idx="5828">
                  <c:v>1982</c:v>
                </c:pt>
                <c:pt idx="5829">
                  <c:v>889</c:v>
                </c:pt>
                <c:pt idx="5830">
                  <c:v>1904</c:v>
                </c:pt>
                <c:pt idx="5831">
                  <c:v>1551</c:v>
                </c:pt>
                <c:pt idx="5832">
                  <c:v>1798</c:v>
                </c:pt>
                <c:pt idx="5833">
                  <c:v>1616</c:v>
                </c:pt>
                <c:pt idx="5834">
                  <c:v>1013</c:v>
                </c:pt>
                <c:pt idx="5835">
                  <c:v>650</c:v>
                </c:pt>
                <c:pt idx="5836">
                  <c:v>1271</c:v>
                </c:pt>
                <c:pt idx="5837">
                  <c:v>2980</c:v>
                </c:pt>
                <c:pt idx="5838">
                  <c:v>881</c:v>
                </c:pt>
                <c:pt idx="5839">
                  <c:v>1171</c:v>
                </c:pt>
                <c:pt idx="5840">
                  <c:v>1717</c:v>
                </c:pt>
                <c:pt idx="5841">
                  <c:v>1909</c:v>
                </c:pt>
                <c:pt idx="5842">
                  <c:v>1102</c:v>
                </c:pt>
                <c:pt idx="5843">
                  <c:v>1366</c:v>
                </c:pt>
                <c:pt idx="5844">
                  <c:v>1054</c:v>
                </c:pt>
                <c:pt idx="5845">
                  <c:v>788</c:v>
                </c:pt>
                <c:pt idx="5846">
                  <c:v>1616</c:v>
                </c:pt>
                <c:pt idx="5847">
                  <c:v>1213</c:v>
                </c:pt>
                <c:pt idx="5848">
                  <c:v>1302</c:v>
                </c:pt>
                <c:pt idx="5849">
                  <c:v>942</c:v>
                </c:pt>
                <c:pt idx="5850">
                  <c:v>791</c:v>
                </c:pt>
                <c:pt idx="5851">
                  <c:v>1943</c:v>
                </c:pt>
                <c:pt idx="5852">
                  <c:v>1704</c:v>
                </c:pt>
                <c:pt idx="5853">
                  <c:v>1384</c:v>
                </c:pt>
                <c:pt idx="5854">
                  <c:v>1914</c:v>
                </c:pt>
                <c:pt idx="5855">
                  <c:v>815</c:v>
                </c:pt>
                <c:pt idx="5856">
                  <c:v>989</c:v>
                </c:pt>
                <c:pt idx="5857">
                  <c:v>668</c:v>
                </c:pt>
                <c:pt idx="5858">
                  <c:v>918</c:v>
                </c:pt>
                <c:pt idx="5859">
                  <c:v>862</c:v>
                </c:pt>
                <c:pt idx="5860">
                  <c:v>1114</c:v>
                </c:pt>
                <c:pt idx="5861">
                  <c:v>658</c:v>
                </c:pt>
                <c:pt idx="5862">
                  <c:v>860</c:v>
                </c:pt>
                <c:pt idx="5863">
                  <c:v>664</c:v>
                </c:pt>
                <c:pt idx="5864">
                  <c:v>1152</c:v>
                </c:pt>
                <c:pt idx="5865">
                  <c:v>1028</c:v>
                </c:pt>
                <c:pt idx="5866">
                  <c:v>786</c:v>
                </c:pt>
                <c:pt idx="5867">
                  <c:v>1389</c:v>
                </c:pt>
                <c:pt idx="5868">
                  <c:v>786</c:v>
                </c:pt>
                <c:pt idx="5869">
                  <c:v>538</c:v>
                </c:pt>
                <c:pt idx="5870">
                  <c:v>700</c:v>
                </c:pt>
                <c:pt idx="5871">
                  <c:v>306</c:v>
                </c:pt>
                <c:pt idx="5872">
                  <c:v>287</c:v>
                </c:pt>
                <c:pt idx="5873">
                  <c:v>233</c:v>
                </c:pt>
                <c:pt idx="5874">
                  <c:v>197</c:v>
                </c:pt>
                <c:pt idx="5875">
                  <c:v>75</c:v>
                </c:pt>
                <c:pt idx="5876">
                  <c:v>88</c:v>
                </c:pt>
                <c:pt idx="5877">
                  <c:v>76</c:v>
                </c:pt>
                <c:pt idx="5878">
                  <c:v>88</c:v>
                </c:pt>
                <c:pt idx="5879">
                  <c:v>72</c:v>
                </c:pt>
                <c:pt idx="5880">
                  <c:v>82</c:v>
                </c:pt>
                <c:pt idx="5881">
                  <c:v>66</c:v>
                </c:pt>
                <c:pt idx="5882">
                  <c:v>79</c:v>
                </c:pt>
                <c:pt idx="5883">
                  <c:v>53</c:v>
                </c:pt>
                <c:pt idx="5884">
                  <c:v>62</c:v>
                </c:pt>
                <c:pt idx="5885">
                  <c:v>55</c:v>
                </c:pt>
                <c:pt idx="5886">
                  <c:v>55</c:v>
                </c:pt>
                <c:pt idx="5887">
                  <c:v>57</c:v>
                </c:pt>
                <c:pt idx="5888">
                  <c:v>39</c:v>
                </c:pt>
                <c:pt idx="5889">
                  <c:v>55</c:v>
                </c:pt>
                <c:pt idx="5890">
                  <c:v>45</c:v>
                </c:pt>
                <c:pt idx="5891">
                  <c:v>51</c:v>
                </c:pt>
                <c:pt idx="5892">
                  <c:v>37</c:v>
                </c:pt>
                <c:pt idx="5893">
                  <c:v>40</c:v>
                </c:pt>
                <c:pt idx="5894">
                  <c:v>49</c:v>
                </c:pt>
                <c:pt idx="5895">
                  <c:v>41</c:v>
                </c:pt>
                <c:pt idx="5896">
                  <c:v>37</c:v>
                </c:pt>
                <c:pt idx="5897">
                  <c:v>23</c:v>
                </c:pt>
                <c:pt idx="5898">
                  <c:v>39</c:v>
                </c:pt>
                <c:pt idx="5899">
                  <c:v>26</c:v>
                </c:pt>
                <c:pt idx="5900">
                  <c:v>37</c:v>
                </c:pt>
                <c:pt idx="5901">
                  <c:v>34</c:v>
                </c:pt>
                <c:pt idx="5902">
                  <c:v>22</c:v>
                </c:pt>
                <c:pt idx="5903">
                  <c:v>25</c:v>
                </c:pt>
                <c:pt idx="5904">
                  <c:v>24</c:v>
                </c:pt>
                <c:pt idx="5905">
                  <c:v>17</c:v>
                </c:pt>
                <c:pt idx="5906">
                  <c:v>22</c:v>
                </c:pt>
                <c:pt idx="5907">
                  <c:v>26</c:v>
                </c:pt>
                <c:pt idx="5908">
                  <c:v>11</c:v>
                </c:pt>
                <c:pt idx="5909">
                  <c:v>20</c:v>
                </c:pt>
                <c:pt idx="5910">
                  <c:v>22</c:v>
                </c:pt>
                <c:pt idx="5911">
                  <c:v>20</c:v>
                </c:pt>
                <c:pt idx="5912">
                  <c:v>19</c:v>
                </c:pt>
                <c:pt idx="5913">
                  <c:v>23</c:v>
                </c:pt>
                <c:pt idx="5914">
                  <c:v>14</c:v>
                </c:pt>
                <c:pt idx="5915">
                  <c:v>18</c:v>
                </c:pt>
                <c:pt idx="5916">
                  <c:v>12</c:v>
                </c:pt>
                <c:pt idx="5917">
                  <c:v>14</c:v>
                </c:pt>
                <c:pt idx="5918">
                  <c:v>20</c:v>
                </c:pt>
                <c:pt idx="5919">
                  <c:v>12</c:v>
                </c:pt>
                <c:pt idx="5920">
                  <c:v>13</c:v>
                </c:pt>
                <c:pt idx="5921">
                  <c:v>13</c:v>
                </c:pt>
                <c:pt idx="5922">
                  <c:v>15</c:v>
                </c:pt>
                <c:pt idx="5923">
                  <c:v>13</c:v>
                </c:pt>
                <c:pt idx="5924">
                  <c:v>8</c:v>
                </c:pt>
                <c:pt idx="5925">
                  <c:v>11</c:v>
                </c:pt>
                <c:pt idx="5926">
                  <c:v>12</c:v>
                </c:pt>
                <c:pt idx="5927">
                  <c:v>2</c:v>
                </c:pt>
                <c:pt idx="5928">
                  <c:v>11</c:v>
                </c:pt>
                <c:pt idx="5929">
                  <c:v>6</c:v>
                </c:pt>
                <c:pt idx="5930">
                  <c:v>13</c:v>
                </c:pt>
                <c:pt idx="5931">
                  <c:v>10</c:v>
                </c:pt>
                <c:pt idx="5932">
                  <c:v>7</c:v>
                </c:pt>
                <c:pt idx="5933">
                  <c:v>5</c:v>
                </c:pt>
                <c:pt idx="5934">
                  <c:v>5</c:v>
                </c:pt>
                <c:pt idx="5935">
                  <c:v>8</c:v>
                </c:pt>
                <c:pt idx="5936">
                  <c:v>9</c:v>
                </c:pt>
                <c:pt idx="5937">
                  <c:v>6</c:v>
                </c:pt>
                <c:pt idx="5938">
                  <c:v>10</c:v>
                </c:pt>
                <c:pt idx="5939">
                  <c:v>8</c:v>
                </c:pt>
                <c:pt idx="5940">
                  <c:v>7</c:v>
                </c:pt>
                <c:pt idx="5941">
                  <c:v>6</c:v>
                </c:pt>
                <c:pt idx="5942">
                  <c:v>2</c:v>
                </c:pt>
                <c:pt idx="5943">
                  <c:v>6</c:v>
                </c:pt>
                <c:pt idx="5944">
                  <c:v>6</c:v>
                </c:pt>
                <c:pt idx="5945">
                  <c:v>5</c:v>
                </c:pt>
                <c:pt idx="5946">
                  <c:v>3</c:v>
                </c:pt>
                <c:pt idx="5947">
                  <c:v>4</c:v>
                </c:pt>
                <c:pt idx="5948">
                  <c:v>0</c:v>
                </c:pt>
                <c:pt idx="5949">
                  <c:v>4</c:v>
                </c:pt>
                <c:pt idx="5950">
                  <c:v>3</c:v>
                </c:pt>
                <c:pt idx="5951">
                  <c:v>2</c:v>
                </c:pt>
                <c:pt idx="5952">
                  <c:v>3</c:v>
                </c:pt>
                <c:pt idx="5953">
                  <c:v>1</c:v>
                </c:pt>
                <c:pt idx="5954">
                  <c:v>1</c:v>
                </c:pt>
                <c:pt idx="5955">
                  <c:v>2</c:v>
                </c:pt>
                <c:pt idx="5956">
                  <c:v>3</c:v>
                </c:pt>
                <c:pt idx="5957">
                  <c:v>1</c:v>
                </c:pt>
                <c:pt idx="5958">
                  <c:v>3</c:v>
                </c:pt>
                <c:pt idx="5959">
                  <c:v>3</c:v>
                </c:pt>
                <c:pt idx="5960">
                  <c:v>2</c:v>
                </c:pt>
                <c:pt idx="5961">
                  <c:v>1</c:v>
                </c:pt>
                <c:pt idx="5962">
                  <c:v>2</c:v>
                </c:pt>
                <c:pt idx="5963">
                  <c:v>1</c:v>
                </c:pt>
                <c:pt idx="5964">
                  <c:v>1</c:v>
                </c:pt>
                <c:pt idx="5965">
                  <c:v>2</c:v>
                </c:pt>
                <c:pt idx="5966">
                  <c:v>2</c:v>
                </c:pt>
                <c:pt idx="5967">
                  <c:v>2</c:v>
                </c:pt>
                <c:pt idx="5968">
                  <c:v>2</c:v>
                </c:pt>
                <c:pt idx="5969">
                  <c:v>2</c:v>
                </c:pt>
                <c:pt idx="5970">
                  <c:v>684</c:v>
                </c:pt>
                <c:pt idx="5971">
                  <c:v>678</c:v>
                </c:pt>
                <c:pt idx="5972">
                  <c:v>382</c:v>
                </c:pt>
                <c:pt idx="5973">
                  <c:v>534</c:v>
                </c:pt>
                <c:pt idx="5974">
                  <c:v>362</c:v>
                </c:pt>
                <c:pt idx="5975">
                  <c:v>355</c:v>
                </c:pt>
                <c:pt idx="5976">
                  <c:v>268</c:v>
                </c:pt>
                <c:pt idx="5977">
                  <c:v>317</c:v>
                </c:pt>
                <c:pt idx="5978">
                  <c:v>338</c:v>
                </c:pt>
                <c:pt idx="5979">
                  <c:v>297</c:v>
                </c:pt>
                <c:pt idx="5980">
                  <c:v>348</c:v>
                </c:pt>
                <c:pt idx="5981">
                  <c:v>324</c:v>
                </c:pt>
                <c:pt idx="5982">
                  <c:v>316</c:v>
                </c:pt>
                <c:pt idx="5983">
                  <c:v>237</c:v>
                </c:pt>
                <c:pt idx="5984">
                  <c:v>230</c:v>
                </c:pt>
                <c:pt idx="5985">
                  <c:v>242</c:v>
                </c:pt>
                <c:pt idx="5986">
                  <c:v>274</c:v>
                </c:pt>
                <c:pt idx="5987">
                  <c:v>183</c:v>
                </c:pt>
                <c:pt idx="5988">
                  <c:v>278</c:v>
                </c:pt>
                <c:pt idx="5989">
                  <c:v>173</c:v>
                </c:pt>
                <c:pt idx="5990">
                  <c:v>217</c:v>
                </c:pt>
                <c:pt idx="5991">
                  <c:v>244</c:v>
                </c:pt>
                <c:pt idx="5992">
                  <c:v>233</c:v>
                </c:pt>
                <c:pt idx="5993">
                  <c:v>157</c:v>
                </c:pt>
                <c:pt idx="5994">
                  <c:v>180</c:v>
                </c:pt>
                <c:pt idx="5995">
                  <c:v>153</c:v>
                </c:pt>
                <c:pt idx="5996">
                  <c:v>242</c:v>
                </c:pt>
                <c:pt idx="5997">
                  <c:v>200</c:v>
                </c:pt>
                <c:pt idx="5998">
                  <c:v>218</c:v>
                </c:pt>
                <c:pt idx="5999">
                  <c:v>143</c:v>
                </c:pt>
                <c:pt idx="6000">
                  <c:v>149</c:v>
                </c:pt>
                <c:pt idx="6001">
                  <c:v>193</c:v>
                </c:pt>
                <c:pt idx="6002">
                  <c:v>155</c:v>
                </c:pt>
                <c:pt idx="6003">
                  <c:v>63</c:v>
                </c:pt>
                <c:pt idx="6004">
                  <c:v>134</c:v>
                </c:pt>
                <c:pt idx="6005">
                  <c:v>223</c:v>
                </c:pt>
                <c:pt idx="6006">
                  <c:v>205</c:v>
                </c:pt>
                <c:pt idx="6007">
                  <c:v>188</c:v>
                </c:pt>
                <c:pt idx="6008">
                  <c:v>162</c:v>
                </c:pt>
                <c:pt idx="6009">
                  <c:v>122</c:v>
                </c:pt>
                <c:pt idx="6010">
                  <c:v>207</c:v>
                </c:pt>
                <c:pt idx="6011">
                  <c:v>126</c:v>
                </c:pt>
                <c:pt idx="6012">
                  <c:v>119</c:v>
                </c:pt>
                <c:pt idx="6013">
                  <c:v>157</c:v>
                </c:pt>
                <c:pt idx="6014">
                  <c:v>152</c:v>
                </c:pt>
                <c:pt idx="6015">
                  <c:v>169</c:v>
                </c:pt>
                <c:pt idx="6016">
                  <c:v>124</c:v>
                </c:pt>
                <c:pt idx="6017">
                  <c:v>103</c:v>
                </c:pt>
                <c:pt idx="6018">
                  <c:v>169</c:v>
                </c:pt>
                <c:pt idx="6019">
                  <c:v>97</c:v>
                </c:pt>
                <c:pt idx="6020">
                  <c:v>124</c:v>
                </c:pt>
                <c:pt idx="6021">
                  <c:v>114</c:v>
                </c:pt>
                <c:pt idx="6022">
                  <c:v>142</c:v>
                </c:pt>
                <c:pt idx="6023">
                  <c:v>114</c:v>
                </c:pt>
                <c:pt idx="6024">
                  <c:v>148</c:v>
                </c:pt>
                <c:pt idx="6025">
                  <c:v>110</c:v>
                </c:pt>
                <c:pt idx="6026">
                  <c:v>105</c:v>
                </c:pt>
                <c:pt idx="6027">
                  <c:v>79</c:v>
                </c:pt>
                <c:pt idx="6028">
                  <c:v>79</c:v>
                </c:pt>
                <c:pt idx="6029">
                  <c:v>161</c:v>
                </c:pt>
                <c:pt idx="6030">
                  <c:v>81</c:v>
                </c:pt>
                <c:pt idx="6031">
                  <c:v>118</c:v>
                </c:pt>
                <c:pt idx="6032">
                  <c:v>66</c:v>
                </c:pt>
                <c:pt idx="6033">
                  <c:v>90</c:v>
                </c:pt>
                <c:pt idx="6034">
                  <c:v>92</c:v>
                </c:pt>
                <c:pt idx="6035">
                  <c:v>22</c:v>
                </c:pt>
                <c:pt idx="6036">
                  <c:v>84</c:v>
                </c:pt>
                <c:pt idx="6037">
                  <c:v>109</c:v>
                </c:pt>
                <c:pt idx="6038">
                  <c:v>100</c:v>
                </c:pt>
                <c:pt idx="6039">
                  <c:v>104</c:v>
                </c:pt>
                <c:pt idx="6040">
                  <c:v>112</c:v>
                </c:pt>
                <c:pt idx="6041">
                  <c:v>115</c:v>
                </c:pt>
                <c:pt idx="6042">
                  <c:v>111</c:v>
                </c:pt>
                <c:pt idx="6043">
                  <c:v>108</c:v>
                </c:pt>
                <c:pt idx="6044">
                  <c:v>103</c:v>
                </c:pt>
                <c:pt idx="6045">
                  <c:v>82</c:v>
                </c:pt>
                <c:pt idx="6046">
                  <c:v>71</c:v>
                </c:pt>
                <c:pt idx="6047">
                  <c:v>48</c:v>
                </c:pt>
                <c:pt idx="6048">
                  <c:v>42</c:v>
                </c:pt>
                <c:pt idx="6049">
                  <c:v>92</c:v>
                </c:pt>
                <c:pt idx="6050">
                  <c:v>86</c:v>
                </c:pt>
                <c:pt idx="6051">
                  <c:v>69</c:v>
                </c:pt>
                <c:pt idx="6052">
                  <c:v>49</c:v>
                </c:pt>
                <c:pt idx="6053">
                  <c:v>57</c:v>
                </c:pt>
                <c:pt idx="6054">
                  <c:v>46</c:v>
                </c:pt>
                <c:pt idx="6055">
                  <c:v>65</c:v>
                </c:pt>
                <c:pt idx="6056">
                  <c:v>70</c:v>
                </c:pt>
                <c:pt idx="6057">
                  <c:v>70</c:v>
                </c:pt>
                <c:pt idx="6058">
                  <c:v>15</c:v>
                </c:pt>
                <c:pt idx="6059">
                  <c:v>54</c:v>
                </c:pt>
                <c:pt idx="6060">
                  <c:v>74</c:v>
                </c:pt>
                <c:pt idx="6061">
                  <c:v>69</c:v>
                </c:pt>
                <c:pt idx="6062">
                  <c:v>66</c:v>
                </c:pt>
                <c:pt idx="6063">
                  <c:v>72</c:v>
                </c:pt>
                <c:pt idx="6064">
                  <c:v>52</c:v>
                </c:pt>
                <c:pt idx="6065">
                  <c:v>76</c:v>
                </c:pt>
                <c:pt idx="6066">
                  <c:v>44</c:v>
                </c:pt>
                <c:pt idx="6067">
                  <c:v>1709</c:v>
                </c:pt>
                <c:pt idx="6068">
                  <c:v>1720</c:v>
                </c:pt>
                <c:pt idx="6069">
                  <c:v>429</c:v>
                </c:pt>
                <c:pt idx="6070">
                  <c:v>1010</c:v>
                </c:pt>
                <c:pt idx="6071">
                  <c:v>1124</c:v>
                </c:pt>
                <c:pt idx="6072">
                  <c:v>1387</c:v>
                </c:pt>
                <c:pt idx="6073">
                  <c:v>2048</c:v>
                </c:pt>
                <c:pt idx="6074">
                  <c:v>1690</c:v>
                </c:pt>
                <c:pt idx="6075">
                  <c:v>1335</c:v>
                </c:pt>
                <c:pt idx="6076">
                  <c:v>1844</c:v>
                </c:pt>
                <c:pt idx="6077">
                  <c:v>1874</c:v>
                </c:pt>
                <c:pt idx="6078">
                  <c:v>1288</c:v>
                </c:pt>
                <c:pt idx="6079">
                  <c:v>1085</c:v>
                </c:pt>
                <c:pt idx="6080">
                  <c:v>1339</c:v>
                </c:pt>
                <c:pt idx="6081">
                  <c:v>883</c:v>
                </c:pt>
                <c:pt idx="6082">
                  <c:v>1331</c:v>
                </c:pt>
                <c:pt idx="6083">
                  <c:v>780</c:v>
                </c:pt>
                <c:pt idx="6084">
                  <c:v>1920</c:v>
                </c:pt>
                <c:pt idx="6085">
                  <c:v>765</c:v>
                </c:pt>
                <c:pt idx="6086">
                  <c:v>1269</c:v>
                </c:pt>
                <c:pt idx="6087">
                  <c:v>880</c:v>
                </c:pt>
                <c:pt idx="6088">
                  <c:v>1763</c:v>
                </c:pt>
                <c:pt idx="6089">
                  <c:v>909</c:v>
                </c:pt>
                <c:pt idx="6090">
                  <c:v>650</c:v>
                </c:pt>
                <c:pt idx="6091">
                  <c:v>1767</c:v>
                </c:pt>
                <c:pt idx="6092">
                  <c:v>1134</c:v>
                </c:pt>
                <c:pt idx="6093">
                  <c:v>1464</c:v>
                </c:pt>
                <c:pt idx="6094">
                  <c:v>1440</c:v>
                </c:pt>
                <c:pt idx="6095">
                  <c:v>1567</c:v>
                </c:pt>
                <c:pt idx="6096">
                  <c:v>848</c:v>
                </c:pt>
                <c:pt idx="6097">
                  <c:v>792</c:v>
                </c:pt>
                <c:pt idx="6098">
                  <c:v>794</c:v>
                </c:pt>
                <c:pt idx="6099">
                  <c:v>674</c:v>
                </c:pt>
                <c:pt idx="6100">
                  <c:v>968</c:v>
                </c:pt>
                <c:pt idx="6101">
                  <c:v>494</c:v>
                </c:pt>
                <c:pt idx="6102">
                  <c:v>519</c:v>
                </c:pt>
                <c:pt idx="6103">
                  <c:v>608</c:v>
                </c:pt>
                <c:pt idx="6104">
                  <c:v>616</c:v>
                </c:pt>
                <c:pt idx="6105">
                  <c:v>619</c:v>
                </c:pt>
                <c:pt idx="6106">
                  <c:v>469</c:v>
                </c:pt>
                <c:pt idx="6107">
                  <c:v>513</c:v>
                </c:pt>
                <c:pt idx="6108">
                  <c:v>677</c:v>
                </c:pt>
                <c:pt idx="6109">
                  <c:v>444</c:v>
                </c:pt>
                <c:pt idx="6110">
                  <c:v>598</c:v>
                </c:pt>
                <c:pt idx="6111">
                  <c:v>315</c:v>
                </c:pt>
                <c:pt idx="6112">
                  <c:v>391</c:v>
                </c:pt>
                <c:pt idx="6113">
                  <c:v>427</c:v>
                </c:pt>
                <c:pt idx="6114">
                  <c:v>319</c:v>
                </c:pt>
                <c:pt idx="6115">
                  <c:v>385</c:v>
                </c:pt>
                <c:pt idx="6116">
                  <c:v>360</c:v>
                </c:pt>
                <c:pt idx="6117">
                  <c:v>322</c:v>
                </c:pt>
                <c:pt idx="6118">
                  <c:v>350</c:v>
                </c:pt>
                <c:pt idx="6119">
                  <c:v>314</c:v>
                </c:pt>
                <c:pt idx="6120">
                  <c:v>419</c:v>
                </c:pt>
                <c:pt idx="6121">
                  <c:v>261</c:v>
                </c:pt>
                <c:pt idx="6122">
                  <c:v>307</c:v>
                </c:pt>
                <c:pt idx="6123">
                  <c:v>124</c:v>
                </c:pt>
                <c:pt idx="6124">
                  <c:v>292</c:v>
                </c:pt>
                <c:pt idx="6125">
                  <c:v>288</c:v>
                </c:pt>
                <c:pt idx="6126">
                  <c:v>302</c:v>
                </c:pt>
                <c:pt idx="6127">
                  <c:v>270</c:v>
                </c:pt>
                <c:pt idx="6128">
                  <c:v>230</c:v>
                </c:pt>
                <c:pt idx="6129">
                  <c:v>151</c:v>
                </c:pt>
                <c:pt idx="6130">
                  <c:v>136</c:v>
                </c:pt>
                <c:pt idx="6131">
                  <c:v>2670</c:v>
                </c:pt>
                <c:pt idx="6132">
                  <c:v>731</c:v>
                </c:pt>
                <c:pt idx="6133">
                  <c:v>455</c:v>
                </c:pt>
                <c:pt idx="6134">
                  <c:v>481</c:v>
                </c:pt>
                <c:pt idx="6135">
                  <c:v>1089</c:v>
                </c:pt>
                <c:pt idx="6136">
                  <c:v>382</c:v>
                </c:pt>
                <c:pt idx="6137">
                  <c:v>447</c:v>
                </c:pt>
                <c:pt idx="6138">
                  <c:v>345</c:v>
                </c:pt>
                <c:pt idx="6139">
                  <c:v>364</c:v>
                </c:pt>
                <c:pt idx="6140">
                  <c:v>389</c:v>
                </c:pt>
                <c:pt idx="6141">
                  <c:v>388</c:v>
                </c:pt>
                <c:pt idx="6142">
                  <c:v>259</c:v>
                </c:pt>
                <c:pt idx="6143">
                  <c:v>271</c:v>
                </c:pt>
                <c:pt idx="6144">
                  <c:v>283</c:v>
                </c:pt>
                <c:pt idx="6145">
                  <c:v>274</c:v>
                </c:pt>
                <c:pt idx="6146">
                  <c:v>280</c:v>
                </c:pt>
                <c:pt idx="6147">
                  <c:v>189</c:v>
                </c:pt>
                <c:pt idx="6148">
                  <c:v>228</c:v>
                </c:pt>
                <c:pt idx="6149">
                  <c:v>196</c:v>
                </c:pt>
                <c:pt idx="6150">
                  <c:v>150</c:v>
                </c:pt>
                <c:pt idx="6151">
                  <c:v>258</c:v>
                </c:pt>
                <c:pt idx="6152">
                  <c:v>210</c:v>
                </c:pt>
                <c:pt idx="6153">
                  <c:v>184</c:v>
                </c:pt>
                <c:pt idx="6154">
                  <c:v>180</c:v>
                </c:pt>
                <c:pt idx="6155">
                  <c:v>210</c:v>
                </c:pt>
                <c:pt idx="6156">
                  <c:v>142</c:v>
                </c:pt>
                <c:pt idx="6157">
                  <c:v>178</c:v>
                </c:pt>
                <c:pt idx="6158">
                  <c:v>172</c:v>
                </c:pt>
                <c:pt idx="6159">
                  <c:v>176</c:v>
                </c:pt>
                <c:pt idx="6160">
                  <c:v>96</c:v>
                </c:pt>
                <c:pt idx="6161">
                  <c:v>177</c:v>
                </c:pt>
                <c:pt idx="6162">
                  <c:v>120</c:v>
                </c:pt>
                <c:pt idx="6163">
                  <c:v>113</c:v>
                </c:pt>
                <c:pt idx="6164">
                  <c:v>167</c:v>
                </c:pt>
                <c:pt idx="6165">
                  <c:v>144</c:v>
                </c:pt>
                <c:pt idx="6166">
                  <c:v>119</c:v>
                </c:pt>
                <c:pt idx="6167">
                  <c:v>138</c:v>
                </c:pt>
                <c:pt idx="6168">
                  <c:v>129</c:v>
                </c:pt>
                <c:pt idx="6169">
                  <c:v>107</c:v>
                </c:pt>
                <c:pt idx="6170">
                  <c:v>106</c:v>
                </c:pt>
                <c:pt idx="6171">
                  <c:v>110</c:v>
                </c:pt>
                <c:pt idx="6172">
                  <c:v>62</c:v>
                </c:pt>
                <c:pt idx="6173">
                  <c:v>105</c:v>
                </c:pt>
                <c:pt idx="6174">
                  <c:v>129</c:v>
                </c:pt>
                <c:pt idx="6175">
                  <c:v>128</c:v>
                </c:pt>
                <c:pt idx="6176">
                  <c:v>93</c:v>
                </c:pt>
                <c:pt idx="6177">
                  <c:v>103</c:v>
                </c:pt>
                <c:pt idx="6178">
                  <c:v>111</c:v>
                </c:pt>
                <c:pt idx="6179">
                  <c:v>106</c:v>
                </c:pt>
                <c:pt idx="6180">
                  <c:v>84</c:v>
                </c:pt>
                <c:pt idx="6181">
                  <c:v>88</c:v>
                </c:pt>
                <c:pt idx="6182">
                  <c:v>88</c:v>
                </c:pt>
                <c:pt idx="6183">
                  <c:v>102</c:v>
                </c:pt>
                <c:pt idx="6184">
                  <c:v>76</c:v>
                </c:pt>
                <c:pt idx="6185">
                  <c:v>80</c:v>
                </c:pt>
                <c:pt idx="6186">
                  <c:v>88</c:v>
                </c:pt>
                <c:pt idx="6187">
                  <c:v>72</c:v>
                </c:pt>
                <c:pt idx="6188">
                  <c:v>75</c:v>
                </c:pt>
                <c:pt idx="6189">
                  <c:v>83</c:v>
                </c:pt>
                <c:pt idx="6190">
                  <c:v>86</c:v>
                </c:pt>
                <c:pt idx="6191">
                  <c:v>85</c:v>
                </c:pt>
                <c:pt idx="6192">
                  <c:v>67</c:v>
                </c:pt>
                <c:pt idx="6193">
                  <c:v>60</c:v>
                </c:pt>
                <c:pt idx="6194">
                  <c:v>63</c:v>
                </c:pt>
                <c:pt idx="6195">
                  <c:v>68</c:v>
                </c:pt>
                <c:pt idx="6196">
                  <c:v>68</c:v>
                </c:pt>
                <c:pt idx="6197">
                  <c:v>62</c:v>
                </c:pt>
                <c:pt idx="6198">
                  <c:v>73</c:v>
                </c:pt>
                <c:pt idx="6199">
                  <c:v>39</c:v>
                </c:pt>
                <c:pt idx="6200">
                  <c:v>50</c:v>
                </c:pt>
                <c:pt idx="6201">
                  <c:v>50</c:v>
                </c:pt>
                <c:pt idx="6202">
                  <c:v>56</c:v>
                </c:pt>
                <c:pt idx="6203">
                  <c:v>64</c:v>
                </c:pt>
                <c:pt idx="6204">
                  <c:v>57</c:v>
                </c:pt>
                <c:pt idx="6205">
                  <c:v>63</c:v>
                </c:pt>
                <c:pt idx="6206">
                  <c:v>57</c:v>
                </c:pt>
                <c:pt idx="6207">
                  <c:v>36</c:v>
                </c:pt>
                <c:pt idx="6208">
                  <c:v>54</c:v>
                </c:pt>
                <c:pt idx="6209">
                  <c:v>41</c:v>
                </c:pt>
                <c:pt idx="6210">
                  <c:v>50</c:v>
                </c:pt>
                <c:pt idx="6211">
                  <c:v>48</c:v>
                </c:pt>
                <c:pt idx="6212">
                  <c:v>29</c:v>
                </c:pt>
                <c:pt idx="6213">
                  <c:v>57</c:v>
                </c:pt>
                <c:pt idx="6214">
                  <c:v>52</c:v>
                </c:pt>
                <c:pt idx="6215">
                  <c:v>14</c:v>
                </c:pt>
                <c:pt idx="6216">
                  <c:v>52</c:v>
                </c:pt>
                <c:pt idx="6217">
                  <c:v>50</c:v>
                </c:pt>
                <c:pt idx="6218">
                  <c:v>12</c:v>
                </c:pt>
                <c:pt idx="6219">
                  <c:v>10</c:v>
                </c:pt>
                <c:pt idx="6220">
                  <c:v>50</c:v>
                </c:pt>
                <c:pt idx="6221">
                  <c:v>38</c:v>
                </c:pt>
                <c:pt idx="6222">
                  <c:v>63</c:v>
                </c:pt>
                <c:pt idx="6223">
                  <c:v>40</c:v>
                </c:pt>
                <c:pt idx="6224">
                  <c:v>48</c:v>
                </c:pt>
                <c:pt idx="6225">
                  <c:v>31</c:v>
                </c:pt>
                <c:pt idx="6226">
                  <c:v>34</c:v>
                </c:pt>
                <c:pt idx="6227">
                  <c:v>54</c:v>
                </c:pt>
                <c:pt idx="6228">
                  <c:v>30</c:v>
                </c:pt>
                <c:pt idx="6229">
                  <c:v>37</c:v>
                </c:pt>
                <c:pt idx="6230">
                  <c:v>31</c:v>
                </c:pt>
                <c:pt idx="6231">
                  <c:v>37</c:v>
                </c:pt>
                <c:pt idx="6232">
                  <c:v>35</c:v>
                </c:pt>
                <c:pt idx="6233">
                  <c:v>27</c:v>
                </c:pt>
                <c:pt idx="6234">
                  <c:v>32</c:v>
                </c:pt>
                <c:pt idx="6235">
                  <c:v>378</c:v>
                </c:pt>
                <c:pt idx="6236">
                  <c:v>84</c:v>
                </c:pt>
                <c:pt idx="6237">
                  <c:v>93</c:v>
                </c:pt>
                <c:pt idx="6238">
                  <c:v>81</c:v>
                </c:pt>
                <c:pt idx="6239">
                  <c:v>65</c:v>
                </c:pt>
                <c:pt idx="6240">
                  <c:v>34</c:v>
                </c:pt>
                <c:pt idx="6241">
                  <c:v>20</c:v>
                </c:pt>
                <c:pt idx="6242">
                  <c:v>24</c:v>
                </c:pt>
                <c:pt idx="6243">
                  <c:v>5</c:v>
                </c:pt>
                <c:pt idx="6244">
                  <c:v>13</c:v>
                </c:pt>
                <c:pt idx="6245">
                  <c:v>6</c:v>
                </c:pt>
                <c:pt idx="6246">
                  <c:v>5</c:v>
                </c:pt>
                <c:pt idx="6247">
                  <c:v>3</c:v>
                </c:pt>
                <c:pt idx="6248">
                  <c:v>2</c:v>
                </c:pt>
                <c:pt idx="6249">
                  <c:v>0</c:v>
                </c:pt>
                <c:pt idx="6250">
                  <c:v>237</c:v>
                </c:pt>
                <c:pt idx="6251">
                  <c:v>910</c:v>
                </c:pt>
                <c:pt idx="6252">
                  <c:v>734</c:v>
                </c:pt>
                <c:pt idx="6253">
                  <c:v>647</c:v>
                </c:pt>
                <c:pt idx="6254">
                  <c:v>320</c:v>
                </c:pt>
                <c:pt idx="6255">
                  <c:v>72</c:v>
                </c:pt>
                <c:pt idx="6256">
                  <c:v>369</c:v>
                </c:pt>
                <c:pt idx="6257">
                  <c:v>345</c:v>
                </c:pt>
                <c:pt idx="6258">
                  <c:v>272</c:v>
                </c:pt>
                <c:pt idx="6259">
                  <c:v>144</c:v>
                </c:pt>
                <c:pt idx="6260">
                  <c:v>192</c:v>
                </c:pt>
                <c:pt idx="6261">
                  <c:v>190</c:v>
                </c:pt>
                <c:pt idx="6262">
                  <c:v>146</c:v>
                </c:pt>
                <c:pt idx="6263">
                  <c:v>114</c:v>
                </c:pt>
                <c:pt idx="6264">
                  <c:v>156</c:v>
                </c:pt>
                <c:pt idx="6265">
                  <c:v>142</c:v>
                </c:pt>
                <c:pt idx="6266">
                  <c:v>62</c:v>
                </c:pt>
                <c:pt idx="6267">
                  <c:v>50</c:v>
                </c:pt>
                <c:pt idx="6268">
                  <c:v>39</c:v>
                </c:pt>
                <c:pt idx="6269">
                  <c:v>58</c:v>
                </c:pt>
                <c:pt idx="6270">
                  <c:v>36</c:v>
                </c:pt>
                <c:pt idx="6271">
                  <c:v>58</c:v>
                </c:pt>
                <c:pt idx="6272">
                  <c:v>37</c:v>
                </c:pt>
                <c:pt idx="6273">
                  <c:v>50</c:v>
                </c:pt>
                <c:pt idx="6274">
                  <c:v>30</c:v>
                </c:pt>
                <c:pt idx="6275">
                  <c:v>35</c:v>
                </c:pt>
                <c:pt idx="6276">
                  <c:v>29</c:v>
                </c:pt>
                <c:pt idx="6277">
                  <c:v>36</c:v>
                </c:pt>
                <c:pt idx="6278">
                  <c:v>32</c:v>
                </c:pt>
                <c:pt idx="6279">
                  <c:v>29</c:v>
                </c:pt>
                <c:pt idx="6280">
                  <c:v>24</c:v>
                </c:pt>
                <c:pt idx="6281">
                  <c:v>20</c:v>
                </c:pt>
                <c:pt idx="6282">
                  <c:v>19</c:v>
                </c:pt>
                <c:pt idx="6283">
                  <c:v>18</c:v>
                </c:pt>
                <c:pt idx="6284">
                  <c:v>17</c:v>
                </c:pt>
                <c:pt idx="6285">
                  <c:v>18</c:v>
                </c:pt>
                <c:pt idx="6286">
                  <c:v>20</c:v>
                </c:pt>
                <c:pt idx="6287">
                  <c:v>9</c:v>
                </c:pt>
                <c:pt idx="6288">
                  <c:v>9</c:v>
                </c:pt>
                <c:pt idx="6289">
                  <c:v>11</c:v>
                </c:pt>
                <c:pt idx="6290">
                  <c:v>18</c:v>
                </c:pt>
                <c:pt idx="6291">
                  <c:v>13</c:v>
                </c:pt>
                <c:pt idx="6292">
                  <c:v>18</c:v>
                </c:pt>
                <c:pt idx="6293">
                  <c:v>11</c:v>
                </c:pt>
                <c:pt idx="6294">
                  <c:v>9</c:v>
                </c:pt>
                <c:pt idx="6295">
                  <c:v>3</c:v>
                </c:pt>
                <c:pt idx="6296">
                  <c:v>10</c:v>
                </c:pt>
                <c:pt idx="6297">
                  <c:v>13</c:v>
                </c:pt>
                <c:pt idx="6298">
                  <c:v>11</c:v>
                </c:pt>
                <c:pt idx="6299">
                  <c:v>2</c:v>
                </c:pt>
                <c:pt idx="6300">
                  <c:v>9</c:v>
                </c:pt>
                <c:pt idx="6301">
                  <c:v>10</c:v>
                </c:pt>
                <c:pt idx="6302">
                  <c:v>11</c:v>
                </c:pt>
                <c:pt idx="6303">
                  <c:v>7</c:v>
                </c:pt>
                <c:pt idx="6304">
                  <c:v>8</c:v>
                </c:pt>
                <c:pt idx="6305">
                  <c:v>7</c:v>
                </c:pt>
                <c:pt idx="6306">
                  <c:v>8</c:v>
                </c:pt>
                <c:pt idx="6307">
                  <c:v>9</c:v>
                </c:pt>
                <c:pt idx="6308">
                  <c:v>6</c:v>
                </c:pt>
                <c:pt idx="6309">
                  <c:v>5</c:v>
                </c:pt>
                <c:pt idx="6310">
                  <c:v>8</c:v>
                </c:pt>
                <c:pt idx="6311">
                  <c:v>7</c:v>
                </c:pt>
                <c:pt idx="6312">
                  <c:v>4</c:v>
                </c:pt>
                <c:pt idx="6313">
                  <c:v>5</c:v>
                </c:pt>
                <c:pt idx="6314">
                  <c:v>3</c:v>
                </c:pt>
                <c:pt idx="6315">
                  <c:v>3</c:v>
                </c:pt>
                <c:pt idx="6316">
                  <c:v>6</c:v>
                </c:pt>
                <c:pt idx="6317">
                  <c:v>4</c:v>
                </c:pt>
                <c:pt idx="6318">
                  <c:v>4</c:v>
                </c:pt>
                <c:pt idx="6319">
                  <c:v>3</c:v>
                </c:pt>
                <c:pt idx="6320">
                  <c:v>3</c:v>
                </c:pt>
                <c:pt idx="6321">
                  <c:v>3</c:v>
                </c:pt>
                <c:pt idx="6322">
                  <c:v>3</c:v>
                </c:pt>
                <c:pt idx="6323">
                  <c:v>4</c:v>
                </c:pt>
                <c:pt idx="6324">
                  <c:v>2</c:v>
                </c:pt>
                <c:pt idx="6325">
                  <c:v>2</c:v>
                </c:pt>
                <c:pt idx="6326">
                  <c:v>2</c:v>
                </c:pt>
                <c:pt idx="6327">
                  <c:v>3</c:v>
                </c:pt>
                <c:pt idx="6328">
                  <c:v>2</c:v>
                </c:pt>
                <c:pt idx="6329">
                  <c:v>2</c:v>
                </c:pt>
                <c:pt idx="6330">
                  <c:v>2</c:v>
                </c:pt>
                <c:pt idx="6331">
                  <c:v>2</c:v>
                </c:pt>
                <c:pt idx="6332">
                  <c:v>2</c:v>
                </c:pt>
                <c:pt idx="6333">
                  <c:v>1</c:v>
                </c:pt>
                <c:pt idx="6334">
                  <c:v>1</c:v>
                </c:pt>
                <c:pt idx="6335">
                  <c:v>1</c:v>
                </c:pt>
                <c:pt idx="6336">
                  <c:v>1</c:v>
                </c:pt>
                <c:pt idx="6337">
                  <c:v>1</c:v>
                </c:pt>
                <c:pt idx="6338">
                  <c:v>1</c:v>
                </c:pt>
                <c:pt idx="6339">
                  <c:v>1</c:v>
                </c:pt>
                <c:pt idx="6340">
                  <c:v>1</c:v>
                </c:pt>
                <c:pt idx="6341">
                  <c:v>1</c:v>
                </c:pt>
                <c:pt idx="6342">
                  <c:v>1</c:v>
                </c:pt>
                <c:pt idx="6343">
                  <c:v>1</c:v>
                </c:pt>
                <c:pt idx="6344">
                  <c:v>1</c:v>
                </c:pt>
                <c:pt idx="6345">
                  <c:v>1</c:v>
                </c:pt>
                <c:pt idx="6346">
                  <c:v>1</c:v>
                </c:pt>
                <c:pt idx="6347">
                  <c:v>1</c:v>
                </c:pt>
                <c:pt idx="6348">
                  <c:v>1</c:v>
                </c:pt>
                <c:pt idx="6349">
                  <c:v>0</c:v>
                </c:pt>
                <c:pt idx="6350">
                  <c:v>0</c:v>
                </c:pt>
                <c:pt idx="6351">
                  <c:v>0</c:v>
                </c:pt>
                <c:pt idx="6352">
                  <c:v>0</c:v>
                </c:pt>
                <c:pt idx="6353">
                  <c:v>0</c:v>
                </c:pt>
                <c:pt idx="6354">
                  <c:v>0</c:v>
                </c:pt>
                <c:pt idx="6355">
                  <c:v>0</c:v>
                </c:pt>
                <c:pt idx="6356">
                  <c:v>39</c:v>
                </c:pt>
                <c:pt idx="6357">
                  <c:v>4</c:v>
                </c:pt>
                <c:pt idx="6358">
                  <c:v>879</c:v>
                </c:pt>
                <c:pt idx="6359">
                  <c:v>602</c:v>
                </c:pt>
                <c:pt idx="6360">
                  <c:v>354</c:v>
                </c:pt>
                <c:pt idx="6361">
                  <c:v>426</c:v>
                </c:pt>
                <c:pt idx="6362">
                  <c:v>320</c:v>
                </c:pt>
                <c:pt idx="6363">
                  <c:v>260</c:v>
                </c:pt>
                <c:pt idx="6364">
                  <c:v>254</c:v>
                </c:pt>
                <c:pt idx="6365">
                  <c:v>172</c:v>
                </c:pt>
                <c:pt idx="6366">
                  <c:v>301</c:v>
                </c:pt>
                <c:pt idx="6367">
                  <c:v>206</c:v>
                </c:pt>
                <c:pt idx="6368">
                  <c:v>275</c:v>
                </c:pt>
                <c:pt idx="6369">
                  <c:v>304</c:v>
                </c:pt>
                <c:pt idx="6370">
                  <c:v>255</c:v>
                </c:pt>
                <c:pt idx="6371">
                  <c:v>290</c:v>
                </c:pt>
                <c:pt idx="6372">
                  <c:v>275</c:v>
                </c:pt>
                <c:pt idx="6373">
                  <c:v>177</c:v>
                </c:pt>
                <c:pt idx="6374">
                  <c:v>209</c:v>
                </c:pt>
                <c:pt idx="6375">
                  <c:v>217</c:v>
                </c:pt>
                <c:pt idx="6376">
                  <c:v>273</c:v>
                </c:pt>
                <c:pt idx="6377">
                  <c:v>250</c:v>
                </c:pt>
                <c:pt idx="6378">
                  <c:v>200</c:v>
                </c:pt>
                <c:pt idx="6379">
                  <c:v>159</c:v>
                </c:pt>
                <c:pt idx="6380">
                  <c:v>238</c:v>
                </c:pt>
                <c:pt idx="6381">
                  <c:v>117</c:v>
                </c:pt>
                <c:pt idx="6382">
                  <c:v>220</c:v>
                </c:pt>
                <c:pt idx="6383">
                  <c:v>228</c:v>
                </c:pt>
                <c:pt idx="6384">
                  <c:v>92</c:v>
                </c:pt>
                <c:pt idx="6385">
                  <c:v>195</c:v>
                </c:pt>
                <c:pt idx="6386">
                  <c:v>211</c:v>
                </c:pt>
                <c:pt idx="6387">
                  <c:v>155</c:v>
                </c:pt>
                <c:pt idx="6388">
                  <c:v>200</c:v>
                </c:pt>
                <c:pt idx="6389">
                  <c:v>169</c:v>
                </c:pt>
                <c:pt idx="6390">
                  <c:v>218</c:v>
                </c:pt>
                <c:pt idx="6391">
                  <c:v>165</c:v>
                </c:pt>
                <c:pt idx="6392">
                  <c:v>182</c:v>
                </c:pt>
                <c:pt idx="6393">
                  <c:v>221</c:v>
                </c:pt>
                <c:pt idx="6394">
                  <c:v>158</c:v>
                </c:pt>
                <c:pt idx="6395">
                  <c:v>103</c:v>
                </c:pt>
                <c:pt idx="6396">
                  <c:v>173</c:v>
                </c:pt>
                <c:pt idx="6397">
                  <c:v>182</c:v>
                </c:pt>
                <c:pt idx="6398">
                  <c:v>141</c:v>
                </c:pt>
                <c:pt idx="6399">
                  <c:v>134</c:v>
                </c:pt>
                <c:pt idx="6400">
                  <c:v>181</c:v>
                </c:pt>
                <c:pt idx="6401">
                  <c:v>184</c:v>
                </c:pt>
                <c:pt idx="6402">
                  <c:v>168</c:v>
                </c:pt>
                <c:pt idx="6403">
                  <c:v>160</c:v>
                </c:pt>
                <c:pt idx="6404">
                  <c:v>137</c:v>
                </c:pt>
                <c:pt idx="6405">
                  <c:v>169</c:v>
                </c:pt>
                <c:pt idx="6406">
                  <c:v>163</c:v>
                </c:pt>
                <c:pt idx="6407">
                  <c:v>166</c:v>
                </c:pt>
                <c:pt idx="6408">
                  <c:v>133</c:v>
                </c:pt>
                <c:pt idx="6409">
                  <c:v>150</c:v>
                </c:pt>
                <c:pt idx="6410">
                  <c:v>151</c:v>
                </c:pt>
                <c:pt idx="6411">
                  <c:v>118</c:v>
                </c:pt>
                <c:pt idx="6412">
                  <c:v>120</c:v>
                </c:pt>
                <c:pt idx="6413">
                  <c:v>133</c:v>
                </c:pt>
                <c:pt idx="6414">
                  <c:v>144</c:v>
                </c:pt>
                <c:pt idx="6415">
                  <c:v>141</c:v>
                </c:pt>
                <c:pt idx="6416">
                  <c:v>115</c:v>
                </c:pt>
                <c:pt idx="6417">
                  <c:v>142</c:v>
                </c:pt>
                <c:pt idx="6418">
                  <c:v>136</c:v>
                </c:pt>
                <c:pt idx="6419">
                  <c:v>128</c:v>
                </c:pt>
                <c:pt idx="6420">
                  <c:v>122</c:v>
                </c:pt>
                <c:pt idx="6421">
                  <c:v>154</c:v>
                </c:pt>
                <c:pt idx="6422">
                  <c:v>115</c:v>
                </c:pt>
                <c:pt idx="6423">
                  <c:v>142</c:v>
                </c:pt>
                <c:pt idx="6424">
                  <c:v>86</c:v>
                </c:pt>
                <c:pt idx="6425">
                  <c:v>103</c:v>
                </c:pt>
                <c:pt idx="6426">
                  <c:v>133</c:v>
                </c:pt>
                <c:pt idx="6427">
                  <c:v>120</c:v>
                </c:pt>
                <c:pt idx="6428">
                  <c:v>139</c:v>
                </c:pt>
                <c:pt idx="6429">
                  <c:v>118</c:v>
                </c:pt>
                <c:pt idx="6430">
                  <c:v>128</c:v>
                </c:pt>
                <c:pt idx="6431">
                  <c:v>102</c:v>
                </c:pt>
                <c:pt idx="6432">
                  <c:v>78</c:v>
                </c:pt>
                <c:pt idx="6433">
                  <c:v>105</c:v>
                </c:pt>
                <c:pt idx="6434">
                  <c:v>94</c:v>
                </c:pt>
                <c:pt idx="6435">
                  <c:v>106</c:v>
                </c:pt>
                <c:pt idx="6436">
                  <c:v>72</c:v>
                </c:pt>
                <c:pt idx="6437">
                  <c:v>101</c:v>
                </c:pt>
                <c:pt idx="6438">
                  <c:v>90</c:v>
                </c:pt>
                <c:pt idx="6439">
                  <c:v>95</c:v>
                </c:pt>
                <c:pt idx="6440">
                  <c:v>107</c:v>
                </c:pt>
                <c:pt idx="6441">
                  <c:v>92</c:v>
                </c:pt>
                <c:pt idx="6442">
                  <c:v>101</c:v>
                </c:pt>
                <c:pt idx="6443">
                  <c:v>94</c:v>
                </c:pt>
                <c:pt idx="6444">
                  <c:v>110</c:v>
                </c:pt>
                <c:pt idx="6445">
                  <c:v>119</c:v>
                </c:pt>
                <c:pt idx="6446">
                  <c:v>89</c:v>
                </c:pt>
                <c:pt idx="6447">
                  <c:v>113</c:v>
                </c:pt>
                <c:pt idx="6448">
                  <c:v>96</c:v>
                </c:pt>
                <c:pt idx="6449">
                  <c:v>85</c:v>
                </c:pt>
                <c:pt idx="6450">
                  <c:v>64</c:v>
                </c:pt>
                <c:pt idx="6451">
                  <c:v>31</c:v>
                </c:pt>
                <c:pt idx="6452">
                  <c:v>20</c:v>
                </c:pt>
                <c:pt idx="6453">
                  <c:v>14</c:v>
                </c:pt>
                <c:pt idx="6454">
                  <c:v>6</c:v>
                </c:pt>
                <c:pt idx="6455">
                  <c:v>7</c:v>
                </c:pt>
                <c:pt idx="6456">
                  <c:v>4</c:v>
                </c:pt>
                <c:pt idx="6457">
                  <c:v>0</c:v>
                </c:pt>
                <c:pt idx="6458">
                  <c:v>1</c:v>
                </c:pt>
                <c:pt idx="6459">
                  <c:v>0</c:v>
                </c:pt>
                <c:pt idx="6460">
                  <c:v>0</c:v>
                </c:pt>
                <c:pt idx="6461">
                  <c:v>1</c:v>
                </c:pt>
                <c:pt idx="6462">
                  <c:v>0</c:v>
                </c:pt>
                <c:pt idx="6463">
                  <c:v>0</c:v>
                </c:pt>
                <c:pt idx="6464">
                  <c:v>0</c:v>
                </c:pt>
                <c:pt idx="6465">
                  <c:v>0</c:v>
                </c:pt>
                <c:pt idx="6466">
                  <c:v>0</c:v>
                </c:pt>
                <c:pt idx="6467">
                  <c:v>0</c:v>
                </c:pt>
                <c:pt idx="6468">
                  <c:v>0</c:v>
                </c:pt>
                <c:pt idx="6469">
                  <c:v>205</c:v>
                </c:pt>
                <c:pt idx="6470">
                  <c:v>223</c:v>
                </c:pt>
                <c:pt idx="6471">
                  <c:v>84</c:v>
                </c:pt>
                <c:pt idx="6472">
                  <c:v>105</c:v>
                </c:pt>
                <c:pt idx="6473">
                  <c:v>72</c:v>
                </c:pt>
                <c:pt idx="6474">
                  <c:v>69</c:v>
                </c:pt>
                <c:pt idx="6475">
                  <c:v>62</c:v>
                </c:pt>
                <c:pt idx="6476">
                  <c:v>46</c:v>
                </c:pt>
                <c:pt idx="6477">
                  <c:v>42</c:v>
                </c:pt>
                <c:pt idx="6478">
                  <c:v>47</c:v>
                </c:pt>
                <c:pt idx="6479">
                  <c:v>48</c:v>
                </c:pt>
                <c:pt idx="6480">
                  <c:v>23</c:v>
                </c:pt>
                <c:pt idx="6481">
                  <c:v>30</c:v>
                </c:pt>
                <c:pt idx="6482">
                  <c:v>23</c:v>
                </c:pt>
                <c:pt idx="6483">
                  <c:v>8</c:v>
                </c:pt>
                <c:pt idx="6484">
                  <c:v>28</c:v>
                </c:pt>
                <c:pt idx="6485">
                  <c:v>27</c:v>
                </c:pt>
                <c:pt idx="6486">
                  <c:v>19</c:v>
                </c:pt>
                <c:pt idx="6487">
                  <c:v>29</c:v>
                </c:pt>
                <c:pt idx="6488">
                  <c:v>15</c:v>
                </c:pt>
                <c:pt idx="6489">
                  <c:v>12</c:v>
                </c:pt>
                <c:pt idx="6490">
                  <c:v>16</c:v>
                </c:pt>
                <c:pt idx="6491">
                  <c:v>22</c:v>
                </c:pt>
                <c:pt idx="6492">
                  <c:v>18</c:v>
                </c:pt>
                <c:pt idx="6493">
                  <c:v>20</c:v>
                </c:pt>
                <c:pt idx="6494">
                  <c:v>15</c:v>
                </c:pt>
                <c:pt idx="6495">
                  <c:v>18</c:v>
                </c:pt>
                <c:pt idx="6496">
                  <c:v>13</c:v>
                </c:pt>
                <c:pt idx="6497">
                  <c:v>15</c:v>
                </c:pt>
                <c:pt idx="6498">
                  <c:v>13</c:v>
                </c:pt>
                <c:pt idx="6499">
                  <c:v>10</c:v>
                </c:pt>
                <c:pt idx="6500">
                  <c:v>10</c:v>
                </c:pt>
                <c:pt idx="6501">
                  <c:v>10</c:v>
                </c:pt>
                <c:pt idx="6502">
                  <c:v>9</c:v>
                </c:pt>
                <c:pt idx="6503">
                  <c:v>5</c:v>
                </c:pt>
                <c:pt idx="6504">
                  <c:v>8</c:v>
                </c:pt>
                <c:pt idx="6505">
                  <c:v>3</c:v>
                </c:pt>
                <c:pt idx="6506">
                  <c:v>7</c:v>
                </c:pt>
                <c:pt idx="6507">
                  <c:v>5</c:v>
                </c:pt>
                <c:pt idx="6508">
                  <c:v>3</c:v>
                </c:pt>
                <c:pt idx="6509">
                  <c:v>8</c:v>
                </c:pt>
                <c:pt idx="6510">
                  <c:v>9</c:v>
                </c:pt>
                <c:pt idx="6511">
                  <c:v>4</c:v>
                </c:pt>
                <c:pt idx="6512">
                  <c:v>6</c:v>
                </c:pt>
                <c:pt idx="6513">
                  <c:v>3</c:v>
                </c:pt>
                <c:pt idx="6514">
                  <c:v>6</c:v>
                </c:pt>
                <c:pt idx="6515">
                  <c:v>3</c:v>
                </c:pt>
                <c:pt idx="6516">
                  <c:v>5</c:v>
                </c:pt>
                <c:pt idx="6517">
                  <c:v>2</c:v>
                </c:pt>
                <c:pt idx="6518">
                  <c:v>4</c:v>
                </c:pt>
                <c:pt idx="6519">
                  <c:v>3</c:v>
                </c:pt>
                <c:pt idx="6520">
                  <c:v>4</c:v>
                </c:pt>
                <c:pt idx="6521">
                  <c:v>3</c:v>
                </c:pt>
                <c:pt idx="6522">
                  <c:v>3</c:v>
                </c:pt>
                <c:pt idx="6523">
                  <c:v>1</c:v>
                </c:pt>
                <c:pt idx="6524">
                  <c:v>2</c:v>
                </c:pt>
                <c:pt idx="6525">
                  <c:v>0</c:v>
                </c:pt>
                <c:pt idx="6526">
                  <c:v>2</c:v>
                </c:pt>
                <c:pt idx="6527">
                  <c:v>1</c:v>
                </c:pt>
                <c:pt idx="6528">
                  <c:v>1</c:v>
                </c:pt>
                <c:pt idx="6529">
                  <c:v>1</c:v>
                </c:pt>
                <c:pt idx="6530">
                  <c:v>1</c:v>
                </c:pt>
                <c:pt idx="6531">
                  <c:v>1</c:v>
                </c:pt>
                <c:pt idx="6532">
                  <c:v>0</c:v>
                </c:pt>
                <c:pt idx="6533">
                  <c:v>1</c:v>
                </c:pt>
                <c:pt idx="6534">
                  <c:v>1</c:v>
                </c:pt>
                <c:pt idx="6535">
                  <c:v>0</c:v>
                </c:pt>
                <c:pt idx="6536">
                  <c:v>0</c:v>
                </c:pt>
                <c:pt idx="6537">
                  <c:v>0</c:v>
                </c:pt>
                <c:pt idx="6538">
                  <c:v>0</c:v>
                </c:pt>
                <c:pt idx="6539">
                  <c:v>18</c:v>
                </c:pt>
                <c:pt idx="6540">
                  <c:v>2</c:v>
                </c:pt>
                <c:pt idx="6541">
                  <c:v>5</c:v>
                </c:pt>
                <c:pt idx="6542">
                  <c:v>9</c:v>
                </c:pt>
                <c:pt idx="6543">
                  <c:v>1433</c:v>
                </c:pt>
                <c:pt idx="6544">
                  <c:v>2624</c:v>
                </c:pt>
                <c:pt idx="6545">
                  <c:v>2891</c:v>
                </c:pt>
                <c:pt idx="6546">
                  <c:v>1120</c:v>
                </c:pt>
                <c:pt idx="6547">
                  <c:v>1014</c:v>
                </c:pt>
                <c:pt idx="6548">
                  <c:v>1019</c:v>
                </c:pt>
                <c:pt idx="6549">
                  <c:v>1543</c:v>
                </c:pt>
                <c:pt idx="6550">
                  <c:v>1363</c:v>
                </c:pt>
                <c:pt idx="6551">
                  <c:v>1669</c:v>
                </c:pt>
                <c:pt idx="6552">
                  <c:v>1851</c:v>
                </c:pt>
                <c:pt idx="6553">
                  <c:v>1254</c:v>
                </c:pt>
                <c:pt idx="6554">
                  <c:v>1258</c:v>
                </c:pt>
                <c:pt idx="6555">
                  <c:v>1171</c:v>
                </c:pt>
                <c:pt idx="6556">
                  <c:v>707</c:v>
                </c:pt>
                <c:pt idx="6557">
                  <c:v>1506</c:v>
                </c:pt>
                <c:pt idx="6558">
                  <c:v>1305</c:v>
                </c:pt>
                <c:pt idx="6559">
                  <c:v>951</c:v>
                </c:pt>
                <c:pt idx="6560">
                  <c:v>816</c:v>
                </c:pt>
                <c:pt idx="6561">
                  <c:v>969</c:v>
                </c:pt>
                <c:pt idx="6562">
                  <c:v>846</c:v>
                </c:pt>
                <c:pt idx="6563">
                  <c:v>1066</c:v>
                </c:pt>
                <c:pt idx="6564">
                  <c:v>885</c:v>
                </c:pt>
                <c:pt idx="6565">
                  <c:v>1800</c:v>
                </c:pt>
                <c:pt idx="6566">
                  <c:v>1010</c:v>
                </c:pt>
                <c:pt idx="6567">
                  <c:v>13</c:v>
                </c:pt>
                <c:pt idx="6568">
                  <c:v>47</c:v>
                </c:pt>
                <c:pt idx="6569">
                  <c:v>46</c:v>
                </c:pt>
                <c:pt idx="6570">
                  <c:v>89</c:v>
                </c:pt>
                <c:pt idx="6571">
                  <c:v>502</c:v>
                </c:pt>
                <c:pt idx="6572">
                  <c:v>10</c:v>
                </c:pt>
                <c:pt idx="6573">
                  <c:v>20</c:v>
                </c:pt>
                <c:pt idx="6574">
                  <c:v>11</c:v>
                </c:pt>
                <c:pt idx="6575">
                  <c:v>201</c:v>
                </c:pt>
                <c:pt idx="6576">
                  <c:v>41</c:v>
                </c:pt>
                <c:pt idx="6577">
                  <c:v>146</c:v>
                </c:pt>
                <c:pt idx="6578">
                  <c:v>693</c:v>
                </c:pt>
                <c:pt idx="6579">
                  <c:v>487</c:v>
                </c:pt>
                <c:pt idx="6580">
                  <c:v>14</c:v>
                </c:pt>
                <c:pt idx="6581">
                  <c:v>95</c:v>
                </c:pt>
                <c:pt idx="6582">
                  <c:v>366</c:v>
                </c:pt>
                <c:pt idx="6583">
                  <c:v>1031</c:v>
                </c:pt>
                <c:pt idx="6584">
                  <c:v>421</c:v>
                </c:pt>
                <c:pt idx="6585">
                  <c:v>112</c:v>
                </c:pt>
                <c:pt idx="6586">
                  <c:v>621</c:v>
                </c:pt>
                <c:pt idx="6587">
                  <c:v>89</c:v>
                </c:pt>
                <c:pt idx="6588">
                  <c:v>69</c:v>
                </c:pt>
                <c:pt idx="6589">
                  <c:v>27</c:v>
                </c:pt>
                <c:pt idx="6590">
                  <c:v>27</c:v>
                </c:pt>
                <c:pt idx="6591">
                  <c:v>19</c:v>
                </c:pt>
                <c:pt idx="6592">
                  <c:v>40</c:v>
                </c:pt>
                <c:pt idx="6593">
                  <c:v>25</c:v>
                </c:pt>
                <c:pt idx="6594">
                  <c:v>31</c:v>
                </c:pt>
                <c:pt idx="6595">
                  <c:v>34</c:v>
                </c:pt>
                <c:pt idx="6596">
                  <c:v>7</c:v>
                </c:pt>
                <c:pt idx="6597">
                  <c:v>7</c:v>
                </c:pt>
                <c:pt idx="6598">
                  <c:v>226</c:v>
                </c:pt>
                <c:pt idx="6599">
                  <c:v>181</c:v>
                </c:pt>
                <c:pt idx="6600">
                  <c:v>1195</c:v>
                </c:pt>
                <c:pt idx="6601">
                  <c:v>1230</c:v>
                </c:pt>
                <c:pt idx="6602">
                  <c:v>1249</c:v>
                </c:pt>
                <c:pt idx="6603">
                  <c:v>1201</c:v>
                </c:pt>
                <c:pt idx="6604">
                  <c:v>688</c:v>
                </c:pt>
                <c:pt idx="6605">
                  <c:v>629</c:v>
                </c:pt>
                <c:pt idx="6606">
                  <c:v>451</c:v>
                </c:pt>
                <c:pt idx="6607">
                  <c:v>532</c:v>
                </c:pt>
                <c:pt idx="6608">
                  <c:v>472</c:v>
                </c:pt>
                <c:pt idx="6609">
                  <c:v>395</c:v>
                </c:pt>
                <c:pt idx="6610">
                  <c:v>167</c:v>
                </c:pt>
                <c:pt idx="6611">
                  <c:v>128</c:v>
                </c:pt>
                <c:pt idx="6612">
                  <c:v>181</c:v>
                </c:pt>
                <c:pt idx="6613">
                  <c:v>88</c:v>
                </c:pt>
                <c:pt idx="6614">
                  <c:v>118</c:v>
                </c:pt>
                <c:pt idx="6615">
                  <c:v>779</c:v>
                </c:pt>
                <c:pt idx="6616">
                  <c:v>1314</c:v>
                </c:pt>
                <c:pt idx="6617">
                  <c:v>207</c:v>
                </c:pt>
                <c:pt idx="6618">
                  <c:v>265</c:v>
                </c:pt>
                <c:pt idx="6619">
                  <c:v>308</c:v>
                </c:pt>
                <c:pt idx="6620">
                  <c:v>282</c:v>
                </c:pt>
                <c:pt idx="6621">
                  <c:v>266</c:v>
                </c:pt>
                <c:pt idx="6622">
                  <c:v>288</c:v>
                </c:pt>
                <c:pt idx="6623">
                  <c:v>158</c:v>
                </c:pt>
                <c:pt idx="6624">
                  <c:v>253</c:v>
                </c:pt>
                <c:pt idx="6625">
                  <c:v>237</c:v>
                </c:pt>
                <c:pt idx="6626">
                  <c:v>186</c:v>
                </c:pt>
                <c:pt idx="6627">
                  <c:v>230</c:v>
                </c:pt>
                <c:pt idx="6628">
                  <c:v>212</c:v>
                </c:pt>
                <c:pt idx="6629">
                  <c:v>184</c:v>
                </c:pt>
                <c:pt idx="6630">
                  <c:v>209</c:v>
                </c:pt>
                <c:pt idx="6631">
                  <c:v>248</c:v>
                </c:pt>
                <c:pt idx="6632">
                  <c:v>169</c:v>
                </c:pt>
                <c:pt idx="6633">
                  <c:v>96</c:v>
                </c:pt>
                <c:pt idx="6634">
                  <c:v>170</c:v>
                </c:pt>
                <c:pt idx="6635">
                  <c:v>157</c:v>
                </c:pt>
                <c:pt idx="6636">
                  <c:v>157</c:v>
                </c:pt>
                <c:pt idx="6637">
                  <c:v>188</c:v>
                </c:pt>
                <c:pt idx="6638">
                  <c:v>113</c:v>
                </c:pt>
                <c:pt idx="6639">
                  <c:v>127</c:v>
                </c:pt>
                <c:pt idx="6640">
                  <c:v>115</c:v>
                </c:pt>
                <c:pt idx="6641">
                  <c:v>129</c:v>
                </c:pt>
                <c:pt idx="6642">
                  <c:v>134</c:v>
                </c:pt>
                <c:pt idx="6643">
                  <c:v>98</c:v>
                </c:pt>
                <c:pt idx="6644">
                  <c:v>105</c:v>
                </c:pt>
                <c:pt idx="6645">
                  <c:v>82</c:v>
                </c:pt>
                <c:pt idx="6646">
                  <c:v>59</c:v>
                </c:pt>
                <c:pt idx="6647">
                  <c:v>89</c:v>
                </c:pt>
                <c:pt idx="6648">
                  <c:v>95</c:v>
                </c:pt>
                <c:pt idx="6649">
                  <c:v>103</c:v>
                </c:pt>
                <c:pt idx="6650">
                  <c:v>75</c:v>
                </c:pt>
                <c:pt idx="6651">
                  <c:v>68</c:v>
                </c:pt>
                <c:pt idx="6652">
                  <c:v>85</c:v>
                </c:pt>
                <c:pt idx="6653">
                  <c:v>91</c:v>
                </c:pt>
                <c:pt idx="6654">
                  <c:v>50</c:v>
                </c:pt>
                <c:pt idx="6655">
                  <c:v>63</c:v>
                </c:pt>
                <c:pt idx="6656">
                  <c:v>64</c:v>
                </c:pt>
                <c:pt idx="6657">
                  <c:v>54</c:v>
                </c:pt>
                <c:pt idx="6658">
                  <c:v>45</c:v>
                </c:pt>
                <c:pt idx="6659">
                  <c:v>49</c:v>
                </c:pt>
                <c:pt idx="6660">
                  <c:v>27</c:v>
                </c:pt>
                <c:pt idx="6661">
                  <c:v>2</c:v>
                </c:pt>
                <c:pt idx="6662">
                  <c:v>713</c:v>
                </c:pt>
                <c:pt idx="6663">
                  <c:v>636</c:v>
                </c:pt>
                <c:pt idx="6664">
                  <c:v>437</c:v>
                </c:pt>
                <c:pt idx="6665">
                  <c:v>364</c:v>
                </c:pt>
                <c:pt idx="6666">
                  <c:v>75</c:v>
                </c:pt>
                <c:pt idx="6667">
                  <c:v>186</c:v>
                </c:pt>
                <c:pt idx="6668">
                  <c:v>179</c:v>
                </c:pt>
                <c:pt idx="6669">
                  <c:v>115</c:v>
                </c:pt>
                <c:pt idx="6670">
                  <c:v>204</c:v>
                </c:pt>
                <c:pt idx="6671">
                  <c:v>110</c:v>
                </c:pt>
                <c:pt idx="6672">
                  <c:v>74</c:v>
                </c:pt>
                <c:pt idx="6673">
                  <c:v>74</c:v>
                </c:pt>
                <c:pt idx="6674">
                  <c:v>67</c:v>
                </c:pt>
                <c:pt idx="6675">
                  <c:v>65</c:v>
                </c:pt>
                <c:pt idx="6676">
                  <c:v>45</c:v>
                </c:pt>
                <c:pt idx="6677">
                  <c:v>58</c:v>
                </c:pt>
                <c:pt idx="6678">
                  <c:v>42</c:v>
                </c:pt>
                <c:pt idx="6679">
                  <c:v>66</c:v>
                </c:pt>
                <c:pt idx="6680">
                  <c:v>52</c:v>
                </c:pt>
                <c:pt idx="6681">
                  <c:v>41</c:v>
                </c:pt>
                <c:pt idx="6682">
                  <c:v>51</c:v>
                </c:pt>
                <c:pt idx="6683">
                  <c:v>56</c:v>
                </c:pt>
                <c:pt idx="6684">
                  <c:v>43</c:v>
                </c:pt>
                <c:pt idx="6685">
                  <c:v>43</c:v>
                </c:pt>
                <c:pt idx="6686">
                  <c:v>41</c:v>
                </c:pt>
                <c:pt idx="6687">
                  <c:v>43</c:v>
                </c:pt>
                <c:pt idx="6688">
                  <c:v>35</c:v>
                </c:pt>
                <c:pt idx="6689">
                  <c:v>29</c:v>
                </c:pt>
                <c:pt idx="6690">
                  <c:v>34</c:v>
                </c:pt>
                <c:pt idx="6691">
                  <c:v>34</c:v>
                </c:pt>
                <c:pt idx="6692">
                  <c:v>44</c:v>
                </c:pt>
                <c:pt idx="6693">
                  <c:v>31</c:v>
                </c:pt>
                <c:pt idx="6694">
                  <c:v>27</c:v>
                </c:pt>
                <c:pt idx="6695">
                  <c:v>23</c:v>
                </c:pt>
                <c:pt idx="6696">
                  <c:v>21</c:v>
                </c:pt>
                <c:pt idx="6697">
                  <c:v>23</c:v>
                </c:pt>
                <c:pt idx="6698">
                  <c:v>3</c:v>
                </c:pt>
                <c:pt idx="6699">
                  <c:v>21</c:v>
                </c:pt>
                <c:pt idx="6700">
                  <c:v>21</c:v>
                </c:pt>
                <c:pt idx="6701">
                  <c:v>18</c:v>
                </c:pt>
                <c:pt idx="6702">
                  <c:v>13</c:v>
                </c:pt>
                <c:pt idx="6703">
                  <c:v>10</c:v>
                </c:pt>
                <c:pt idx="6704">
                  <c:v>13</c:v>
                </c:pt>
                <c:pt idx="6705">
                  <c:v>16</c:v>
                </c:pt>
                <c:pt idx="6706">
                  <c:v>12</c:v>
                </c:pt>
                <c:pt idx="6707">
                  <c:v>15</c:v>
                </c:pt>
                <c:pt idx="6708">
                  <c:v>13</c:v>
                </c:pt>
                <c:pt idx="6709">
                  <c:v>3</c:v>
                </c:pt>
                <c:pt idx="6710">
                  <c:v>11</c:v>
                </c:pt>
                <c:pt idx="6711">
                  <c:v>9</c:v>
                </c:pt>
                <c:pt idx="6712">
                  <c:v>2</c:v>
                </c:pt>
                <c:pt idx="6713">
                  <c:v>1</c:v>
                </c:pt>
                <c:pt idx="6714">
                  <c:v>5</c:v>
                </c:pt>
                <c:pt idx="6715">
                  <c:v>1</c:v>
                </c:pt>
                <c:pt idx="6716">
                  <c:v>1</c:v>
                </c:pt>
                <c:pt idx="6717">
                  <c:v>2</c:v>
                </c:pt>
                <c:pt idx="6718">
                  <c:v>1</c:v>
                </c:pt>
                <c:pt idx="6719">
                  <c:v>8</c:v>
                </c:pt>
                <c:pt idx="6720">
                  <c:v>0</c:v>
                </c:pt>
                <c:pt idx="6721">
                  <c:v>604</c:v>
                </c:pt>
                <c:pt idx="6722">
                  <c:v>880</c:v>
                </c:pt>
                <c:pt idx="6723">
                  <c:v>639</c:v>
                </c:pt>
                <c:pt idx="6724">
                  <c:v>175</c:v>
                </c:pt>
                <c:pt idx="6725">
                  <c:v>265</c:v>
                </c:pt>
                <c:pt idx="6726">
                  <c:v>364</c:v>
                </c:pt>
                <c:pt idx="6727">
                  <c:v>213</c:v>
                </c:pt>
                <c:pt idx="6728">
                  <c:v>6</c:v>
                </c:pt>
                <c:pt idx="6729">
                  <c:v>432</c:v>
                </c:pt>
                <c:pt idx="6730">
                  <c:v>483</c:v>
                </c:pt>
                <c:pt idx="6731">
                  <c:v>348</c:v>
                </c:pt>
                <c:pt idx="6732">
                  <c:v>438</c:v>
                </c:pt>
                <c:pt idx="6733">
                  <c:v>164</c:v>
                </c:pt>
                <c:pt idx="6734">
                  <c:v>577</c:v>
                </c:pt>
                <c:pt idx="6735">
                  <c:v>255</c:v>
                </c:pt>
                <c:pt idx="6736">
                  <c:v>185</c:v>
                </c:pt>
                <c:pt idx="6737">
                  <c:v>177</c:v>
                </c:pt>
                <c:pt idx="6738">
                  <c:v>137</c:v>
                </c:pt>
                <c:pt idx="6739">
                  <c:v>164</c:v>
                </c:pt>
                <c:pt idx="6740">
                  <c:v>1109</c:v>
                </c:pt>
                <c:pt idx="6741">
                  <c:v>933</c:v>
                </c:pt>
                <c:pt idx="6742">
                  <c:v>705</c:v>
                </c:pt>
                <c:pt idx="6743">
                  <c:v>769</c:v>
                </c:pt>
                <c:pt idx="6744">
                  <c:v>61</c:v>
                </c:pt>
                <c:pt idx="6745">
                  <c:v>535</c:v>
                </c:pt>
                <c:pt idx="6746">
                  <c:v>523</c:v>
                </c:pt>
                <c:pt idx="6747">
                  <c:v>413</c:v>
                </c:pt>
                <c:pt idx="6748">
                  <c:v>287</c:v>
                </c:pt>
                <c:pt idx="6749">
                  <c:v>231</c:v>
                </c:pt>
                <c:pt idx="6750">
                  <c:v>226</c:v>
                </c:pt>
                <c:pt idx="6751">
                  <c:v>251</c:v>
                </c:pt>
                <c:pt idx="6752">
                  <c:v>183</c:v>
                </c:pt>
                <c:pt idx="6753">
                  <c:v>185</c:v>
                </c:pt>
                <c:pt idx="6754">
                  <c:v>90</c:v>
                </c:pt>
                <c:pt idx="6755">
                  <c:v>1055</c:v>
                </c:pt>
                <c:pt idx="6756">
                  <c:v>1865</c:v>
                </c:pt>
                <c:pt idx="6757">
                  <c:v>1002</c:v>
                </c:pt>
                <c:pt idx="6758">
                  <c:v>1675</c:v>
                </c:pt>
                <c:pt idx="6759">
                  <c:v>865</c:v>
                </c:pt>
                <c:pt idx="6760">
                  <c:v>1177</c:v>
                </c:pt>
                <c:pt idx="6761">
                  <c:v>721</c:v>
                </c:pt>
                <c:pt idx="6762">
                  <c:v>924</c:v>
                </c:pt>
                <c:pt idx="6763">
                  <c:v>1969</c:v>
                </c:pt>
                <c:pt idx="6764">
                  <c:v>827</c:v>
                </c:pt>
                <c:pt idx="6765">
                  <c:v>1467</c:v>
                </c:pt>
                <c:pt idx="6766">
                  <c:v>1460</c:v>
                </c:pt>
                <c:pt idx="6767">
                  <c:v>1438</c:v>
                </c:pt>
                <c:pt idx="6768">
                  <c:v>1400</c:v>
                </c:pt>
                <c:pt idx="6769">
                  <c:v>1001</c:v>
                </c:pt>
                <c:pt idx="6770">
                  <c:v>1072</c:v>
                </c:pt>
                <c:pt idx="6771">
                  <c:v>1005</c:v>
                </c:pt>
                <c:pt idx="6772">
                  <c:v>721</c:v>
                </c:pt>
                <c:pt idx="6773">
                  <c:v>1063</c:v>
                </c:pt>
                <c:pt idx="6774">
                  <c:v>582</c:v>
                </c:pt>
                <c:pt idx="6775">
                  <c:v>901</c:v>
                </c:pt>
                <c:pt idx="6776">
                  <c:v>868</c:v>
                </c:pt>
                <c:pt idx="6777">
                  <c:v>818</c:v>
                </c:pt>
                <c:pt idx="6778">
                  <c:v>461</c:v>
                </c:pt>
                <c:pt idx="6779">
                  <c:v>503</c:v>
                </c:pt>
                <c:pt idx="6780">
                  <c:v>513</c:v>
                </c:pt>
                <c:pt idx="6781">
                  <c:v>497</c:v>
                </c:pt>
                <c:pt idx="6782">
                  <c:v>475</c:v>
                </c:pt>
                <c:pt idx="6783">
                  <c:v>417</c:v>
                </c:pt>
                <c:pt idx="6784">
                  <c:v>383</c:v>
                </c:pt>
                <c:pt idx="6785">
                  <c:v>199</c:v>
                </c:pt>
                <c:pt idx="6786">
                  <c:v>228</c:v>
                </c:pt>
                <c:pt idx="6787">
                  <c:v>281</c:v>
                </c:pt>
                <c:pt idx="6788">
                  <c:v>222</c:v>
                </c:pt>
                <c:pt idx="6789">
                  <c:v>260</c:v>
                </c:pt>
                <c:pt idx="6790">
                  <c:v>224</c:v>
                </c:pt>
                <c:pt idx="6791">
                  <c:v>238</c:v>
                </c:pt>
                <c:pt idx="6792">
                  <c:v>237</c:v>
                </c:pt>
                <c:pt idx="6793">
                  <c:v>155</c:v>
                </c:pt>
                <c:pt idx="6794">
                  <c:v>215</c:v>
                </c:pt>
                <c:pt idx="6795">
                  <c:v>106</c:v>
                </c:pt>
                <c:pt idx="6796">
                  <c:v>153</c:v>
                </c:pt>
                <c:pt idx="6797">
                  <c:v>86</c:v>
                </c:pt>
                <c:pt idx="6798">
                  <c:v>93</c:v>
                </c:pt>
                <c:pt idx="6799">
                  <c:v>921</c:v>
                </c:pt>
                <c:pt idx="6800">
                  <c:v>1240</c:v>
                </c:pt>
                <c:pt idx="6801">
                  <c:v>1156</c:v>
                </c:pt>
                <c:pt idx="6802">
                  <c:v>1155</c:v>
                </c:pt>
                <c:pt idx="6803">
                  <c:v>1190</c:v>
                </c:pt>
                <c:pt idx="6804">
                  <c:v>833</c:v>
                </c:pt>
                <c:pt idx="6805">
                  <c:v>1898</c:v>
                </c:pt>
                <c:pt idx="6806">
                  <c:v>1081</c:v>
                </c:pt>
                <c:pt idx="6807">
                  <c:v>667</c:v>
                </c:pt>
                <c:pt idx="6808">
                  <c:v>568</c:v>
                </c:pt>
                <c:pt idx="6809">
                  <c:v>490</c:v>
                </c:pt>
                <c:pt idx="6810">
                  <c:v>478</c:v>
                </c:pt>
                <c:pt idx="6811">
                  <c:v>487</c:v>
                </c:pt>
                <c:pt idx="6812">
                  <c:v>386</c:v>
                </c:pt>
                <c:pt idx="6813">
                  <c:v>389</c:v>
                </c:pt>
                <c:pt idx="6814">
                  <c:v>285</c:v>
                </c:pt>
                <c:pt idx="6815">
                  <c:v>145</c:v>
                </c:pt>
                <c:pt idx="6816">
                  <c:v>225</c:v>
                </c:pt>
                <c:pt idx="6817">
                  <c:v>149</c:v>
                </c:pt>
                <c:pt idx="6818">
                  <c:v>925</c:v>
                </c:pt>
                <c:pt idx="6819">
                  <c:v>831</c:v>
                </c:pt>
                <c:pt idx="6820">
                  <c:v>767</c:v>
                </c:pt>
                <c:pt idx="6821">
                  <c:v>842</c:v>
                </c:pt>
                <c:pt idx="6822">
                  <c:v>512</c:v>
                </c:pt>
                <c:pt idx="6823">
                  <c:v>696</c:v>
                </c:pt>
                <c:pt idx="6824">
                  <c:v>740</c:v>
                </c:pt>
                <c:pt idx="6825">
                  <c:v>405</c:v>
                </c:pt>
                <c:pt idx="6826">
                  <c:v>374</c:v>
                </c:pt>
                <c:pt idx="6827">
                  <c:v>309</c:v>
                </c:pt>
                <c:pt idx="6828">
                  <c:v>210</c:v>
                </c:pt>
                <c:pt idx="6829">
                  <c:v>158</c:v>
                </c:pt>
                <c:pt idx="6830">
                  <c:v>719</c:v>
                </c:pt>
                <c:pt idx="6831">
                  <c:v>228</c:v>
                </c:pt>
                <c:pt idx="6832">
                  <c:v>244</c:v>
                </c:pt>
                <c:pt idx="6833">
                  <c:v>85</c:v>
                </c:pt>
                <c:pt idx="6834">
                  <c:v>1278</c:v>
                </c:pt>
                <c:pt idx="6835">
                  <c:v>605</c:v>
                </c:pt>
                <c:pt idx="6836">
                  <c:v>1360</c:v>
                </c:pt>
                <c:pt idx="6837">
                  <c:v>1330</c:v>
                </c:pt>
                <c:pt idx="6838">
                  <c:v>829</c:v>
                </c:pt>
                <c:pt idx="6839">
                  <c:v>704</c:v>
                </c:pt>
                <c:pt idx="6840">
                  <c:v>1875</c:v>
                </c:pt>
                <c:pt idx="6841">
                  <c:v>425</c:v>
                </c:pt>
                <c:pt idx="6842">
                  <c:v>692</c:v>
                </c:pt>
                <c:pt idx="6843">
                  <c:v>200</c:v>
                </c:pt>
                <c:pt idx="6844">
                  <c:v>631</c:v>
                </c:pt>
                <c:pt idx="6845">
                  <c:v>687</c:v>
                </c:pt>
                <c:pt idx="6846">
                  <c:v>480</c:v>
                </c:pt>
                <c:pt idx="6847">
                  <c:v>507</c:v>
                </c:pt>
                <c:pt idx="6848">
                  <c:v>192</c:v>
                </c:pt>
                <c:pt idx="6849">
                  <c:v>144</c:v>
                </c:pt>
                <c:pt idx="6850">
                  <c:v>244</c:v>
                </c:pt>
                <c:pt idx="6851">
                  <c:v>212</c:v>
                </c:pt>
                <c:pt idx="6852">
                  <c:v>180</c:v>
                </c:pt>
                <c:pt idx="6853">
                  <c:v>1349</c:v>
                </c:pt>
                <c:pt idx="6854">
                  <c:v>802</c:v>
                </c:pt>
                <c:pt idx="6855">
                  <c:v>770</c:v>
                </c:pt>
                <c:pt idx="6856">
                  <c:v>712</c:v>
                </c:pt>
                <c:pt idx="6857">
                  <c:v>400</c:v>
                </c:pt>
                <c:pt idx="6858">
                  <c:v>576</c:v>
                </c:pt>
                <c:pt idx="6859">
                  <c:v>371</c:v>
                </c:pt>
                <c:pt idx="6860">
                  <c:v>393</c:v>
                </c:pt>
                <c:pt idx="6861">
                  <c:v>343</c:v>
                </c:pt>
                <c:pt idx="6862">
                  <c:v>258</c:v>
                </c:pt>
                <c:pt idx="6863">
                  <c:v>370</c:v>
                </c:pt>
                <c:pt idx="6864">
                  <c:v>254</c:v>
                </c:pt>
                <c:pt idx="6865">
                  <c:v>198</c:v>
                </c:pt>
                <c:pt idx="6866">
                  <c:v>209</c:v>
                </c:pt>
                <c:pt idx="6867">
                  <c:v>225</c:v>
                </c:pt>
                <c:pt idx="6868">
                  <c:v>134</c:v>
                </c:pt>
                <c:pt idx="6869">
                  <c:v>105</c:v>
                </c:pt>
                <c:pt idx="6870">
                  <c:v>1720</c:v>
                </c:pt>
                <c:pt idx="6871">
                  <c:v>1826</c:v>
                </c:pt>
                <c:pt idx="6872">
                  <c:v>606</c:v>
                </c:pt>
                <c:pt idx="6873">
                  <c:v>1641</c:v>
                </c:pt>
                <c:pt idx="6874">
                  <c:v>1374</c:v>
                </c:pt>
                <c:pt idx="6875">
                  <c:v>839</c:v>
                </c:pt>
                <c:pt idx="6876">
                  <c:v>1839</c:v>
                </c:pt>
                <c:pt idx="6877">
                  <c:v>1959</c:v>
                </c:pt>
                <c:pt idx="6878">
                  <c:v>907</c:v>
                </c:pt>
                <c:pt idx="6879">
                  <c:v>888</c:v>
                </c:pt>
                <c:pt idx="6880">
                  <c:v>1016</c:v>
                </c:pt>
                <c:pt idx="6881">
                  <c:v>652</c:v>
                </c:pt>
                <c:pt idx="6882">
                  <c:v>419</c:v>
                </c:pt>
                <c:pt idx="6883">
                  <c:v>488</c:v>
                </c:pt>
                <c:pt idx="6884">
                  <c:v>500</c:v>
                </c:pt>
                <c:pt idx="6885">
                  <c:v>340</c:v>
                </c:pt>
                <c:pt idx="6886">
                  <c:v>409</c:v>
                </c:pt>
                <c:pt idx="6887">
                  <c:v>246</c:v>
                </c:pt>
                <c:pt idx="6888">
                  <c:v>378</c:v>
                </c:pt>
                <c:pt idx="6889">
                  <c:v>178</c:v>
                </c:pt>
                <c:pt idx="6890">
                  <c:v>49</c:v>
                </c:pt>
                <c:pt idx="6891">
                  <c:v>3</c:v>
                </c:pt>
                <c:pt idx="6892">
                  <c:v>2</c:v>
                </c:pt>
                <c:pt idx="6893">
                  <c:v>1757</c:v>
                </c:pt>
                <c:pt idx="6894">
                  <c:v>462</c:v>
                </c:pt>
                <c:pt idx="6895">
                  <c:v>674</c:v>
                </c:pt>
                <c:pt idx="6896">
                  <c:v>1300</c:v>
                </c:pt>
                <c:pt idx="6897">
                  <c:v>859</c:v>
                </c:pt>
                <c:pt idx="6898">
                  <c:v>763</c:v>
                </c:pt>
                <c:pt idx="6899">
                  <c:v>542</c:v>
                </c:pt>
                <c:pt idx="6900">
                  <c:v>487</c:v>
                </c:pt>
                <c:pt idx="6901">
                  <c:v>426</c:v>
                </c:pt>
                <c:pt idx="6902">
                  <c:v>369</c:v>
                </c:pt>
                <c:pt idx="6903">
                  <c:v>345</c:v>
                </c:pt>
                <c:pt idx="6904">
                  <c:v>243</c:v>
                </c:pt>
                <c:pt idx="6905">
                  <c:v>289</c:v>
                </c:pt>
                <c:pt idx="6906">
                  <c:v>242</c:v>
                </c:pt>
                <c:pt idx="6907">
                  <c:v>201</c:v>
                </c:pt>
                <c:pt idx="6908">
                  <c:v>210</c:v>
                </c:pt>
                <c:pt idx="6909">
                  <c:v>833</c:v>
                </c:pt>
                <c:pt idx="6910">
                  <c:v>905</c:v>
                </c:pt>
                <c:pt idx="6911">
                  <c:v>1405</c:v>
                </c:pt>
                <c:pt idx="6912">
                  <c:v>767</c:v>
                </c:pt>
                <c:pt idx="6913">
                  <c:v>762</c:v>
                </c:pt>
                <c:pt idx="6914">
                  <c:v>642</c:v>
                </c:pt>
                <c:pt idx="6915">
                  <c:v>492</c:v>
                </c:pt>
                <c:pt idx="6916">
                  <c:v>546</c:v>
                </c:pt>
                <c:pt idx="6917">
                  <c:v>502</c:v>
                </c:pt>
                <c:pt idx="6918">
                  <c:v>460</c:v>
                </c:pt>
                <c:pt idx="6919">
                  <c:v>448</c:v>
                </c:pt>
                <c:pt idx="6920">
                  <c:v>374</c:v>
                </c:pt>
                <c:pt idx="6921">
                  <c:v>364</c:v>
                </c:pt>
                <c:pt idx="6922">
                  <c:v>312</c:v>
                </c:pt>
                <c:pt idx="6923">
                  <c:v>366</c:v>
                </c:pt>
                <c:pt idx="6924">
                  <c:v>251</c:v>
                </c:pt>
                <c:pt idx="6925">
                  <c:v>328</c:v>
                </c:pt>
                <c:pt idx="6926">
                  <c:v>226</c:v>
                </c:pt>
                <c:pt idx="6927">
                  <c:v>170</c:v>
                </c:pt>
                <c:pt idx="6928">
                  <c:v>212</c:v>
                </c:pt>
                <c:pt idx="6929">
                  <c:v>208</c:v>
                </c:pt>
                <c:pt idx="6930">
                  <c:v>173</c:v>
                </c:pt>
                <c:pt idx="6931">
                  <c:v>35</c:v>
                </c:pt>
                <c:pt idx="6932">
                  <c:v>596</c:v>
                </c:pt>
                <c:pt idx="6933">
                  <c:v>801</c:v>
                </c:pt>
                <c:pt idx="6934">
                  <c:v>446</c:v>
                </c:pt>
                <c:pt idx="6935">
                  <c:v>223</c:v>
                </c:pt>
                <c:pt idx="6936">
                  <c:v>325</c:v>
                </c:pt>
                <c:pt idx="6937">
                  <c:v>279</c:v>
                </c:pt>
                <c:pt idx="6938">
                  <c:v>260</c:v>
                </c:pt>
                <c:pt idx="6939">
                  <c:v>225</c:v>
                </c:pt>
                <c:pt idx="6940">
                  <c:v>231</c:v>
                </c:pt>
                <c:pt idx="6941">
                  <c:v>190</c:v>
                </c:pt>
                <c:pt idx="6942">
                  <c:v>145</c:v>
                </c:pt>
                <c:pt idx="6943">
                  <c:v>1195</c:v>
                </c:pt>
                <c:pt idx="6944">
                  <c:v>914</c:v>
                </c:pt>
                <c:pt idx="6945">
                  <c:v>777</c:v>
                </c:pt>
                <c:pt idx="6946">
                  <c:v>330</c:v>
                </c:pt>
                <c:pt idx="6947">
                  <c:v>694</c:v>
                </c:pt>
                <c:pt idx="6948">
                  <c:v>533</c:v>
                </c:pt>
                <c:pt idx="6949">
                  <c:v>432</c:v>
                </c:pt>
                <c:pt idx="6950">
                  <c:v>241</c:v>
                </c:pt>
                <c:pt idx="6951">
                  <c:v>433</c:v>
                </c:pt>
                <c:pt idx="6952">
                  <c:v>370</c:v>
                </c:pt>
                <c:pt idx="6953">
                  <c:v>239</c:v>
                </c:pt>
                <c:pt idx="6954">
                  <c:v>299</c:v>
                </c:pt>
                <c:pt idx="6955">
                  <c:v>99</c:v>
                </c:pt>
                <c:pt idx="6956">
                  <c:v>255</c:v>
                </c:pt>
                <c:pt idx="6957">
                  <c:v>208</c:v>
                </c:pt>
                <c:pt idx="6958">
                  <c:v>182</c:v>
                </c:pt>
                <c:pt idx="6959">
                  <c:v>156</c:v>
                </c:pt>
                <c:pt idx="6960">
                  <c:v>136</c:v>
                </c:pt>
                <c:pt idx="6961">
                  <c:v>2</c:v>
                </c:pt>
                <c:pt idx="6962">
                  <c:v>2</c:v>
                </c:pt>
                <c:pt idx="6963">
                  <c:v>628</c:v>
                </c:pt>
                <c:pt idx="6964">
                  <c:v>239</c:v>
                </c:pt>
                <c:pt idx="6965">
                  <c:v>344</c:v>
                </c:pt>
                <c:pt idx="6966">
                  <c:v>147</c:v>
                </c:pt>
                <c:pt idx="6967">
                  <c:v>589</c:v>
                </c:pt>
                <c:pt idx="6968">
                  <c:v>588</c:v>
                </c:pt>
                <c:pt idx="6969">
                  <c:v>356</c:v>
                </c:pt>
                <c:pt idx="6970">
                  <c:v>322</c:v>
                </c:pt>
                <c:pt idx="6971">
                  <c:v>348</c:v>
                </c:pt>
                <c:pt idx="6972">
                  <c:v>246</c:v>
                </c:pt>
                <c:pt idx="6973">
                  <c:v>250</c:v>
                </c:pt>
                <c:pt idx="6974">
                  <c:v>309</c:v>
                </c:pt>
                <c:pt idx="6975">
                  <c:v>188</c:v>
                </c:pt>
                <c:pt idx="6976">
                  <c:v>212</c:v>
                </c:pt>
                <c:pt idx="6977">
                  <c:v>113</c:v>
                </c:pt>
                <c:pt idx="6978">
                  <c:v>1168</c:v>
                </c:pt>
                <c:pt idx="6979">
                  <c:v>805</c:v>
                </c:pt>
                <c:pt idx="6980">
                  <c:v>782</c:v>
                </c:pt>
                <c:pt idx="6981">
                  <c:v>789</c:v>
                </c:pt>
                <c:pt idx="6982">
                  <c:v>538</c:v>
                </c:pt>
                <c:pt idx="6983">
                  <c:v>452</c:v>
                </c:pt>
                <c:pt idx="6984">
                  <c:v>510</c:v>
                </c:pt>
                <c:pt idx="6985">
                  <c:v>56</c:v>
                </c:pt>
                <c:pt idx="6986">
                  <c:v>280</c:v>
                </c:pt>
                <c:pt idx="6987">
                  <c:v>270</c:v>
                </c:pt>
                <c:pt idx="6988">
                  <c:v>459</c:v>
                </c:pt>
                <c:pt idx="6989">
                  <c:v>309</c:v>
                </c:pt>
                <c:pt idx="6990">
                  <c:v>328</c:v>
                </c:pt>
                <c:pt idx="6991">
                  <c:v>240</c:v>
                </c:pt>
                <c:pt idx="6992">
                  <c:v>176</c:v>
                </c:pt>
                <c:pt idx="6993">
                  <c:v>166</c:v>
                </c:pt>
                <c:pt idx="6994">
                  <c:v>113</c:v>
                </c:pt>
                <c:pt idx="6995">
                  <c:v>114</c:v>
                </c:pt>
                <c:pt idx="6996">
                  <c:v>72</c:v>
                </c:pt>
                <c:pt idx="6997">
                  <c:v>199</c:v>
                </c:pt>
                <c:pt idx="6998">
                  <c:v>125</c:v>
                </c:pt>
                <c:pt idx="6999">
                  <c:v>156</c:v>
                </c:pt>
                <c:pt idx="7000">
                  <c:v>138</c:v>
                </c:pt>
                <c:pt idx="7001">
                  <c:v>138</c:v>
                </c:pt>
                <c:pt idx="7002">
                  <c:v>71</c:v>
                </c:pt>
                <c:pt idx="7003">
                  <c:v>121</c:v>
                </c:pt>
                <c:pt idx="7004">
                  <c:v>103</c:v>
                </c:pt>
                <c:pt idx="7005">
                  <c:v>87</c:v>
                </c:pt>
                <c:pt idx="7006">
                  <c:v>69</c:v>
                </c:pt>
                <c:pt idx="7007">
                  <c:v>62</c:v>
                </c:pt>
                <c:pt idx="7008">
                  <c:v>49</c:v>
                </c:pt>
                <c:pt idx="7009">
                  <c:v>54</c:v>
                </c:pt>
                <c:pt idx="7010">
                  <c:v>38</c:v>
                </c:pt>
                <c:pt idx="7011">
                  <c:v>40</c:v>
                </c:pt>
                <c:pt idx="7012">
                  <c:v>30</c:v>
                </c:pt>
                <c:pt idx="7013">
                  <c:v>31</c:v>
                </c:pt>
                <c:pt idx="7014">
                  <c:v>39</c:v>
                </c:pt>
                <c:pt idx="7015">
                  <c:v>32</c:v>
                </c:pt>
                <c:pt idx="7016">
                  <c:v>29</c:v>
                </c:pt>
                <c:pt idx="7017">
                  <c:v>26</c:v>
                </c:pt>
                <c:pt idx="7018">
                  <c:v>36</c:v>
                </c:pt>
                <c:pt idx="7019">
                  <c:v>30</c:v>
                </c:pt>
                <c:pt idx="7020">
                  <c:v>28</c:v>
                </c:pt>
                <c:pt idx="7021">
                  <c:v>36</c:v>
                </c:pt>
                <c:pt idx="7022">
                  <c:v>31</c:v>
                </c:pt>
                <c:pt idx="7023">
                  <c:v>30</c:v>
                </c:pt>
                <c:pt idx="7024">
                  <c:v>19</c:v>
                </c:pt>
                <c:pt idx="7025">
                  <c:v>27</c:v>
                </c:pt>
                <c:pt idx="7026">
                  <c:v>30</c:v>
                </c:pt>
                <c:pt idx="7027">
                  <c:v>25</c:v>
                </c:pt>
                <c:pt idx="7028">
                  <c:v>22</c:v>
                </c:pt>
                <c:pt idx="7029">
                  <c:v>15</c:v>
                </c:pt>
                <c:pt idx="7030">
                  <c:v>25</c:v>
                </c:pt>
                <c:pt idx="7031">
                  <c:v>23</c:v>
                </c:pt>
                <c:pt idx="7032">
                  <c:v>20</c:v>
                </c:pt>
                <c:pt idx="7033">
                  <c:v>18</c:v>
                </c:pt>
                <c:pt idx="7034">
                  <c:v>20</c:v>
                </c:pt>
                <c:pt idx="7035">
                  <c:v>20</c:v>
                </c:pt>
                <c:pt idx="7036">
                  <c:v>14</c:v>
                </c:pt>
                <c:pt idx="7037">
                  <c:v>20</c:v>
                </c:pt>
                <c:pt idx="7038">
                  <c:v>12</c:v>
                </c:pt>
                <c:pt idx="7039">
                  <c:v>14</c:v>
                </c:pt>
                <c:pt idx="7040">
                  <c:v>13</c:v>
                </c:pt>
                <c:pt idx="7041">
                  <c:v>11</c:v>
                </c:pt>
                <c:pt idx="7042">
                  <c:v>11</c:v>
                </c:pt>
                <c:pt idx="7043">
                  <c:v>468</c:v>
                </c:pt>
                <c:pt idx="7044">
                  <c:v>276</c:v>
                </c:pt>
                <c:pt idx="7045">
                  <c:v>217</c:v>
                </c:pt>
                <c:pt idx="7046">
                  <c:v>1066</c:v>
                </c:pt>
                <c:pt idx="7047">
                  <c:v>1358</c:v>
                </c:pt>
                <c:pt idx="7048">
                  <c:v>2344</c:v>
                </c:pt>
                <c:pt idx="7049">
                  <c:v>901</c:v>
                </c:pt>
                <c:pt idx="7050">
                  <c:v>1625</c:v>
                </c:pt>
                <c:pt idx="7051">
                  <c:v>719</c:v>
                </c:pt>
                <c:pt idx="7052">
                  <c:v>872</c:v>
                </c:pt>
                <c:pt idx="7053">
                  <c:v>918</c:v>
                </c:pt>
                <c:pt idx="7054">
                  <c:v>498</c:v>
                </c:pt>
                <c:pt idx="7055">
                  <c:v>837</c:v>
                </c:pt>
                <c:pt idx="7056">
                  <c:v>551</c:v>
                </c:pt>
                <c:pt idx="7057">
                  <c:v>387</c:v>
                </c:pt>
                <c:pt idx="7058">
                  <c:v>543</c:v>
                </c:pt>
                <c:pt idx="7059">
                  <c:v>543</c:v>
                </c:pt>
                <c:pt idx="7060">
                  <c:v>349</c:v>
                </c:pt>
                <c:pt idx="7061">
                  <c:v>442</c:v>
                </c:pt>
                <c:pt idx="7062">
                  <c:v>433</c:v>
                </c:pt>
                <c:pt idx="7063">
                  <c:v>279</c:v>
                </c:pt>
                <c:pt idx="7064">
                  <c:v>384</c:v>
                </c:pt>
                <c:pt idx="7065">
                  <c:v>297</c:v>
                </c:pt>
                <c:pt idx="7066">
                  <c:v>196</c:v>
                </c:pt>
                <c:pt idx="7067">
                  <c:v>412</c:v>
                </c:pt>
                <c:pt idx="7068">
                  <c:v>241</c:v>
                </c:pt>
                <c:pt idx="7069">
                  <c:v>179</c:v>
                </c:pt>
                <c:pt idx="7070">
                  <c:v>206</c:v>
                </c:pt>
                <c:pt idx="7071">
                  <c:v>196</c:v>
                </c:pt>
                <c:pt idx="7072">
                  <c:v>219</c:v>
                </c:pt>
                <c:pt idx="7073">
                  <c:v>181</c:v>
                </c:pt>
                <c:pt idx="7074">
                  <c:v>101</c:v>
                </c:pt>
                <c:pt idx="7075">
                  <c:v>1450</c:v>
                </c:pt>
                <c:pt idx="7076">
                  <c:v>1124</c:v>
                </c:pt>
                <c:pt idx="7077">
                  <c:v>1591</c:v>
                </c:pt>
                <c:pt idx="7078">
                  <c:v>543</c:v>
                </c:pt>
                <c:pt idx="7079">
                  <c:v>1144</c:v>
                </c:pt>
                <c:pt idx="7080">
                  <c:v>715</c:v>
                </c:pt>
                <c:pt idx="7081">
                  <c:v>1735</c:v>
                </c:pt>
                <c:pt idx="7082">
                  <c:v>485</c:v>
                </c:pt>
                <c:pt idx="7083">
                  <c:v>882</c:v>
                </c:pt>
                <c:pt idx="7084">
                  <c:v>542</c:v>
                </c:pt>
                <c:pt idx="7085">
                  <c:v>1114</c:v>
                </c:pt>
                <c:pt idx="7086">
                  <c:v>878</c:v>
                </c:pt>
                <c:pt idx="7087">
                  <c:v>1229</c:v>
                </c:pt>
                <c:pt idx="7088">
                  <c:v>614</c:v>
                </c:pt>
                <c:pt idx="7089">
                  <c:v>622</c:v>
                </c:pt>
                <c:pt idx="7090">
                  <c:v>576</c:v>
                </c:pt>
                <c:pt idx="7091">
                  <c:v>746</c:v>
                </c:pt>
                <c:pt idx="7092">
                  <c:v>485</c:v>
                </c:pt>
                <c:pt idx="7093">
                  <c:v>664</c:v>
                </c:pt>
                <c:pt idx="7094">
                  <c:v>839</c:v>
                </c:pt>
                <c:pt idx="7095">
                  <c:v>2554</c:v>
                </c:pt>
                <c:pt idx="7096">
                  <c:v>875</c:v>
                </c:pt>
                <c:pt idx="7097">
                  <c:v>731</c:v>
                </c:pt>
                <c:pt idx="7098">
                  <c:v>593</c:v>
                </c:pt>
                <c:pt idx="7099">
                  <c:v>756</c:v>
                </c:pt>
                <c:pt idx="7100">
                  <c:v>461</c:v>
                </c:pt>
                <c:pt idx="7101">
                  <c:v>423</c:v>
                </c:pt>
                <c:pt idx="7102">
                  <c:v>483</c:v>
                </c:pt>
                <c:pt idx="7103">
                  <c:v>438</c:v>
                </c:pt>
                <c:pt idx="7104">
                  <c:v>715</c:v>
                </c:pt>
                <c:pt idx="7105">
                  <c:v>668</c:v>
                </c:pt>
                <c:pt idx="7106">
                  <c:v>490</c:v>
                </c:pt>
                <c:pt idx="7107">
                  <c:v>815</c:v>
                </c:pt>
                <c:pt idx="7108">
                  <c:v>418</c:v>
                </c:pt>
                <c:pt idx="7109">
                  <c:v>469</c:v>
                </c:pt>
                <c:pt idx="7110">
                  <c:v>445</c:v>
                </c:pt>
                <c:pt idx="7111">
                  <c:v>501</c:v>
                </c:pt>
                <c:pt idx="7112">
                  <c:v>728</c:v>
                </c:pt>
                <c:pt idx="7113">
                  <c:v>488</c:v>
                </c:pt>
                <c:pt idx="7114">
                  <c:v>385</c:v>
                </c:pt>
                <c:pt idx="7115">
                  <c:v>396</c:v>
                </c:pt>
                <c:pt idx="7116">
                  <c:v>436</c:v>
                </c:pt>
                <c:pt idx="7117">
                  <c:v>488</c:v>
                </c:pt>
                <c:pt idx="7118">
                  <c:v>533</c:v>
                </c:pt>
                <c:pt idx="7119">
                  <c:v>352</c:v>
                </c:pt>
                <c:pt idx="7120">
                  <c:v>261</c:v>
                </c:pt>
                <c:pt idx="7121">
                  <c:v>499</c:v>
                </c:pt>
                <c:pt idx="7122">
                  <c:v>594</c:v>
                </c:pt>
                <c:pt idx="7123">
                  <c:v>345</c:v>
                </c:pt>
                <c:pt idx="7124">
                  <c:v>405</c:v>
                </c:pt>
                <c:pt idx="7125">
                  <c:v>462</c:v>
                </c:pt>
                <c:pt idx="7126">
                  <c:v>365</c:v>
                </c:pt>
                <c:pt idx="7127">
                  <c:v>620</c:v>
                </c:pt>
                <c:pt idx="7128">
                  <c:v>467</c:v>
                </c:pt>
                <c:pt idx="7129">
                  <c:v>369</c:v>
                </c:pt>
                <c:pt idx="7130">
                  <c:v>421</c:v>
                </c:pt>
                <c:pt idx="7131">
                  <c:v>466</c:v>
                </c:pt>
                <c:pt idx="7132">
                  <c:v>323</c:v>
                </c:pt>
                <c:pt idx="7133">
                  <c:v>327</c:v>
                </c:pt>
                <c:pt idx="7134">
                  <c:v>370</c:v>
                </c:pt>
                <c:pt idx="7135">
                  <c:v>392</c:v>
                </c:pt>
                <c:pt idx="7136">
                  <c:v>315</c:v>
                </c:pt>
                <c:pt idx="7137">
                  <c:v>419</c:v>
                </c:pt>
                <c:pt idx="7138">
                  <c:v>292</c:v>
                </c:pt>
                <c:pt idx="7139">
                  <c:v>245</c:v>
                </c:pt>
                <c:pt idx="7140">
                  <c:v>438</c:v>
                </c:pt>
                <c:pt idx="7141">
                  <c:v>311</c:v>
                </c:pt>
                <c:pt idx="7142">
                  <c:v>391</c:v>
                </c:pt>
                <c:pt idx="7143">
                  <c:v>380</c:v>
                </c:pt>
                <c:pt idx="7144">
                  <c:v>299</c:v>
                </c:pt>
                <c:pt idx="7145">
                  <c:v>416</c:v>
                </c:pt>
                <c:pt idx="7146">
                  <c:v>285</c:v>
                </c:pt>
                <c:pt idx="7147">
                  <c:v>269</c:v>
                </c:pt>
                <c:pt idx="7148">
                  <c:v>284</c:v>
                </c:pt>
                <c:pt idx="7149">
                  <c:v>342</c:v>
                </c:pt>
                <c:pt idx="7150">
                  <c:v>295</c:v>
                </c:pt>
                <c:pt idx="7151">
                  <c:v>291</c:v>
                </c:pt>
                <c:pt idx="7152">
                  <c:v>356</c:v>
                </c:pt>
                <c:pt idx="7153">
                  <c:v>300</c:v>
                </c:pt>
                <c:pt idx="7154">
                  <c:v>324</c:v>
                </c:pt>
                <c:pt idx="7155">
                  <c:v>361</c:v>
                </c:pt>
                <c:pt idx="7156">
                  <c:v>372</c:v>
                </c:pt>
                <c:pt idx="7157">
                  <c:v>294</c:v>
                </c:pt>
                <c:pt idx="7158">
                  <c:v>292</c:v>
                </c:pt>
                <c:pt idx="7159">
                  <c:v>155</c:v>
                </c:pt>
                <c:pt idx="7160">
                  <c:v>232</c:v>
                </c:pt>
                <c:pt idx="7161">
                  <c:v>338</c:v>
                </c:pt>
                <c:pt idx="7162">
                  <c:v>280</c:v>
                </c:pt>
                <c:pt idx="7163">
                  <c:v>348</c:v>
                </c:pt>
                <c:pt idx="7164">
                  <c:v>252</c:v>
                </c:pt>
                <c:pt idx="7165">
                  <c:v>296</c:v>
                </c:pt>
                <c:pt idx="7166">
                  <c:v>329</c:v>
                </c:pt>
                <c:pt idx="7167">
                  <c:v>234</c:v>
                </c:pt>
                <c:pt idx="7168">
                  <c:v>254</c:v>
                </c:pt>
                <c:pt idx="7169">
                  <c:v>256</c:v>
                </c:pt>
                <c:pt idx="7170">
                  <c:v>385</c:v>
                </c:pt>
                <c:pt idx="7171">
                  <c:v>202</c:v>
                </c:pt>
                <c:pt idx="7172">
                  <c:v>354</c:v>
                </c:pt>
                <c:pt idx="7173">
                  <c:v>267</c:v>
                </c:pt>
                <c:pt idx="7174">
                  <c:v>264</c:v>
                </c:pt>
                <c:pt idx="7175">
                  <c:v>226</c:v>
                </c:pt>
                <c:pt idx="7176">
                  <c:v>163</c:v>
                </c:pt>
                <c:pt idx="7177">
                  <c:v>21</c:v>
                </c:pt>
                <c:pt idx="7178">
                  <c:v>282</c:v>
                </c:pt>
                <c:pt idx="7179">
                  <c:v>227</c:v>
                </c:pt>
                <c:pt idx="7180">
                  <c:v>63</c:v>
                </c:pt>
                <c:pt idx="7181">
                  <c:v>154</c:v>
                </c:pt>
                <c:pt idx="7182">
                  <c:v>165</c:v>
                </c:pt>
                <c:pt idx="7183">
                  <c:v>136</c:v>
                </c:pt>
                <c:pt idx="7184">
                  <c:v>189</c:v>
                </c:pt>
                <c:pt idx="7185">
                  <c:v>125</c:v>
                </c:pt>
                <c:pt idx="7186">
                  <c:v>104</c:v>
                </c:pt>
                <c:pt idx="7187">
                  <c:v>99</c:v>
                </c:pt>
                <c:pt idx="7188">
                  <c:v>97</c:v>
                </c:pt>
                <c:pt idx="7189">
                  <c:v>84</c:v>
                </c:pt>
                <c:pt idx="7190">
                  <c:v>94</c:v>
                </c:pt>
                <c:pt idx="7191">
                  <c:v>61</c:v>
                </c:pt>
                <c:pt idx="7192">
                  <c:v>22</c:v>
                </c:pt>
                <c:pt idx="7193">
                  <c:v>18</c:v>
                </c:pt>
                <c:pt idx="7194">
                  <c:v>11</c:v>
                </c:pt>
                <c:pt idx="7195">
                  <c:v>1</c:v>
                </c:pt>
                <c:pt idx="7196">
                  <c:v>125</c:v>
                </c:pt>
                <c:pt idx="7197">
                  <c:v>62</c:v>
                </c:pt>
                <c:pt idx="7198">
                  <c:v>72</c:v>
                </c:pt>
                <c:pt idx="7199">
                  <c:v>46</c:v>
                </c:pt>
                <c:pt idx="7200">
                  <c:v>18</c:v>
                </c:pt>
                <c:pt idx="7201">
                  <c:v>26</c:v>
                </c:pt>
                <c:pt idx="7202">
                  <c:v>17</c:v>
                </c:pt>
                <c:pt idx="7203">
                  <c:v>16</c:v>
                </c:pt>
                <c:pt idx="7204">
                  <c:v>11</c:v>
                </c:pt>
                <c:pt idx="7205">
                  <c:v>11</c:v>
                </c:pt>
                <c:pt idx="7206">
                  <c:v>10</c:v>
                </c:pt>
                <c:pt idx="7207">
                  <c:v>1</c:v>
                </c:pt>
                <c:pt idx="7208">
                  <c:v>11</c:v>
                </c:pt>
                <c:pt idx="7209">
                  <c:v>3</c:v>
                </c:pt>
                <c:pt idx="7210">
                  <c:v>3</c:v>
                </c:pt>
                <c:pt idx="7211">
                  <c:v>274</c:v>
                </c:pt>
                <c:pt idx="7212">
                  <c:v>46</c:v>
                </c:pt>
                <c:pt idx="7213">
                  <c:v>53</c:v>
                </c:pt>
                <c:pt idx="7214">
                  <c:v>23</c:v>
                </c:pt>
                <c:pt idx="7215">
                  <c:v>16</c:v>
                </c:pt>
                <c:pt idx="7216">
                  <c:v>12</c:v>
                </c:pt>
                <c:pt idx="7217">
                  <c:v>10</c:v>
                </c:pt>
                <c:pt idx="7218">
                  <c:v>5</c:v>
                </c:pt>
                <c:pt idx="7219">
                  <c:v>7</c:v>
                </c:pt>
                <c:pt idx="7220">
                  <c:v>7</c:v>
                </c:pt>
                <c:pt idx="7221">
                  <c:v>4</c:v>
                </c:pt>
                <c:pt idx="7222">
                  <c:v>3</c:v>
                </c:pt>
                <c:pt idx="7223">
                  <c:v>3</c:v>
                </c:pt>
                <c:pt idx="7224">
                  <c:v>1</c:v>
                </c:pt>
                <c:pt idx="7225">
                  <c:v>1</c:v>
                </c:pt>
                <c:pt idx="7226">
                  <c:v>0</c:v>
                </c:pt>
                <c:pt idx="7227">
                  <c:v>65</c:v>
                </c:pt>
                <c:pt idx="7228">
                  <c:v>23</c:v>
                </c:pt>
                <c:pt idx="7229">
                  <c:v>9</c:v>
                </c:pt>
                <c:pt idx="7230">
                  <c:v>1</c:v>
                </c:pt>
                <c:pt idx="7231">
                  <c:v>1</c:v>
                </c:pt>
                <c:pt idx="7232">
                  <c:v>0</c:v>
                </c:pt>
                <c:pt idx="7233">
                  <c:v>221</c:v>
                </c:pt>
                <c:pt idx="7234">
                  <c:v>202</c:v>
                </c:pt>
                <c:pt idx="7235">
                  <c:v>191</c:v>
                </c:pt>
                <c:pt idx="7236">
                  <c:v>193</c:v>
                </c:pt>
                <c:pt idx="7237">
                  <c:v>156</c:v>
                </c:pt>
                <c:pt idx="7238">
                  <c:v>169</c:v>
                </c:pt>
                <c:pt idx="7239">
                  <c:v>134</c:v>
                </c:pt>
                <c:pt idx="7240">
                  <c:v>135</c:v>
                </c:pt>
                <c:pt idx="7241">
                  <c:v>64</c:v>
                </c:pt>
                <c:pt idx="7242">
                  <c:v>126</c:v>
                </c:pt>
                <c:pt idx="7243">
                  <c:v>50</c:v>
                </c:pt>
                <c:pt idx="7244">
                  <c:v>84</c:v>
                </c:pt>
                <c:pt idx="7245">
                  <c:v>68</c:v>
                </c:pt>
                <c:pt idx="7246">
                  <c:v>69</c:v>
                </c:pt>
                <c:pt idx="7247">
                  <c:v>57</c:v>
                </c:pt>
                <c:pt idx="7248">
                  <c:v>56</c:v>
                </c:pt>
                <c:pt idx="7249">
                  <c:v>42</c:v>
                </c:pt>
                <c:pt idx="7250">
                  <c:v>75</c:v>
                </c:pt>
                <c:pt idx="7251">
                  <c:v>55</c:v>
                </c:pt>
                <c:pt idx="7252">
                  <c:v>1</c:v>
                </c:pt>
                <c:pt idx="7253">
                  <c:v>50</c:v>
                </c:pt>
                <c:pt idx="7254">
                  <c:v>46</c:v>
                </c:pt>
                <c:pt idx="7255">
                  <c:v>61</c:v>
                </c:pt>
                <c:pt idx="7256">
                  <c:v>51</c:v>
                </c:pt>
                <c:pt idx="7257">
                  <c:v>44</c:v>
                </c:pt>
                <c:pt idx="7258">
                  <c:v>17</c:v>
                </c:pt>
                <c:pt idx="7259">
                  <c:v>28</c:v>
                </c:pt>
                <c:pt idx="7260">
                  <c:v>38</c:v>
                </c:pt>
                <c:pt idx="7261">
                  <c:v>18</c:v>
                </c:pt>
                <c:pt idx="7262">
                  <c:v>34</c:v>
                </c:pt>
                <c:pt idx="7263">
                  <c:v>35</c:v>
                </c:pt>
                <c:pt idx="7264">
                  <c:v>7</c:v>
                </c:pt>
                <c:pt idx="7265">
                  <c:v>2</c:v>
                </c:pt>
                <c:pt idx="7266">
                  <c:v>0</c:v>
                </c:pt>
                <c:pt idx="7267">
                  <c:v>0</c:v>
                </c:pt>
                <c:pt idx="7268">
                  <c:v>2</c:v>
                </c:pt>
                <c:pt idx="7269">
                  <c:v>1</c:v>
                </c:pt>
                <c:pt idx="7270">
                  <c:v>124</c:v>
                </c:pt>
                <c:pt idx="7271">
                  <c:v>134</c:v>
                </c:pt>
                <c:pt idx="7272">
                  <c:v>50</c:v>
                </c:pt>
                <c:pt idx="7273">
                  <c:v>34</c:v>
                </c:pt>
                <c:pt idx="7274">
                  <c:v>58</c:v>
                </c:pt>
                <c:pt idx="7275">
                  <c:v>25</c:v>
                </c:pt>
                <c:pt idx="7276">
                  <c:v>17</c:v>
                </c:pt>
                <c:pt idx="7277">
                  <c:v>22</c:v>
                </c:pt>
                <c:pt idx="7278">
                  <c:v>15</c:v>
                </c:pt>
                <c:pt idx="7279">
                  <c:v>8</c:v>
                </c:pt>
                <c:pt idx="7280">
                  <c:v>6</c:v>
                </c:pt>
                <c:pt idx="7281">
                  <c:v>2</c:v>
                </c:pt>
                <c:pt idx="7282">
                  <c:v>23</c:v>
                </c:pt>
                <c:pt idx="7283">
                  <c:v>9</c:v>
                </c:pt>
                <c:pt idx="7284">
                  <c:v>10</c:v>
                </c:pt>
                <c:pt idx="7285">
                  <c:v>10</c:v>
                </c:pt>
                <c:pt idx="7286">
                  <c:v>4</c:v>
                </c:pt>
                <c:pt idx="7287">
                  <c:v>12</c:v>
                </c:pt>
                <c:pt idx="7288">
                  <c:v>1</c:v>
                </c:pt>
                <c:pt idx="7289">
                  <c:v>6</c:v>
                </c:pt>
                <c:pt idx="7290">
                  <c:v>4</c:v>
                </c:pt>
                <c:pt idx="7291">
                  <c:v>6</c:v>
                </c:pt>
                <c:pt idx="7292">
                  <c:v>6</c:v>
                </c:pt>
                <c:pt idx="7293">
                  <c:v>6</c:v>
                </c:pt>
                <c:pt idx="7294">
                  <c:v>6</c:v>
                </c:pt>
                <c:pt idx="7295">
                  <c:v>6</c:v>
                </c:pt>
                <c:pt idx="7296">
                  <c:v>1</c:v>
                </c:pt>
                <c:pt idx="7297">
                  <c:v>5</c:v>
                </c:pt>
                <c:pt idx="7298">
                  <c:v>4</c:v>
                </c:pt>
                <c:pt idx="7299">
                  <c:v>3</c:v>
                </c:pt>
                <c:pt idx="7300">
                  <c:v>2</c:v>
                </c:pt>
                <c:pt idx="7301">
                  <c:v>1</c:v>
                </c:pt>
                <c:pt idx="7302">
                  <c:v>3</c:v>
                </c:pt>
                <c:pt idx="7303">
                  <c:v>1</c:v>
                </c:pt>
                <c:pt idx="7304">
                  <c:v>3</c:v>
                </c:pt>
                <c:pt idx="7305">
                  <c:v>1</c:v>
                </c:pt>
                <c:pt idx="7306">
                  <c:v>2</c:v>
                </c:pt>
                <c:pt idx="7307">
                  <c:v>2</c:v>
                </c:pt>
                <c:pt idx="7308">
                  <c:v>3</c:v>
                </c:pt>
                <c:pt idx="7309">
                  <c:v>3</c:v>
                </c:pt>
                <c:pt idx="7310">
                  <c:v>2</c:v>
                </c:pt>
                <c:pt idx="7311">
                  <c:v>2</c:v>
                </c:pt>
                <c:pt idx="7312">
                  <c:v>1</c:v>
                </c:pt>
                <c:pt idx="7313">
                  <c:v>1</c:v>
                </c:pt>
                <c:pt idx="7314">
                  <c:v>1</c:v>
                </c:pt>
                <c:pt idx="7315">
                  <c:v>1</c:v>
                </c:pt>
                <c:pt idx="7316">
                  <c:v>2</c:v>
                </c:pt>
                <c:pt idx="7317">
                  <c:v>1</c:v>
                </c:pt>
                <c:pt idx="7318">
                  <c:v>1</c:v>
                </c:pt>
                <c:pt idx="7319">
                  <c:v>0</c:v>
                </c:pt>
                <c:pt idx="7320">
                  <c:v>0</c:v>
                </c:pt>
                <c:pt idx="7321">
                  <c:v>0</c:v>
                </c:pt>
                <c:pt idx="7322">
                  <c:v>0</c:v>
                </c:pt>
                <c:pt idx="7323">
                  <c:v>0</c:v>
                </c:pt>
                <c:pt idx="7324">
                  <c:v>0</c:v>
                </c:pt>
                <c:pt idx="7325">
                  <c:v>0</c:v>
                </c:pt>
                <c:pt idx="7326">
                  <c:v>0</c:v>
                </c:pt>
                <c:pt idx="7327">
                  <c:v>0</c:v>
                </c:pt>
                <c:pt idx="7328">
                  <c:v>0</c:v>
                </c:pt>
                <c:pt idx="7329">
                  <c:v>0</c:v>
                </c:pt>
                <c:pt idx="7330">
                  <c:v>0</c:v>
                </c:pt>
                <c:pt idx="7331">
                  <c:v>220</c:v>
                </c:pt>
                <c:pt idx="7332">
                  <c:v>253</c:v>
                </c:pt>
                <c:pt idx="7333">
                  <c:v>151</c:v>
                </c:pt>
                <c:pt idx="7334">
                  <c:v>99</c:v>
                </c:pt>
                <c:pt idx="7335">
                  <c:v>109</c:v>
                </c:pt>
                <c:pt idx="7336">
                  <c:v>66</c:v>
                </c:pt>
                <c:pt idx="7337">
                  <c:v>51</c:v>
                </c:pt>
                <c:pt idx="7338">
                  <c:v>69</c:v>
                </c:pt>
                <c:pt idx="7339">
                  <c:v>70</c:v>
                </c:pt>
                <c:pt idx="7340">
                  <c:v>41</c:v>
                </c:pt>
                <c:pt idx="7341">
                  <c:v>33</c:v>
                </c:pt>
                <c:pt idx="7342">
                  <c:v>40</c:v>
                </c:pt>
                <c:pt idx="7343">
                  <c:v>37</c:v>
                </c:pt>
                <c:pt idx="7344">
                  <c:v>32</c:v>
                </c:pt>
                <c:pt idx="7345">
                  <c:v>34</c:v>
                </c:pt>
                <c:pt idx="7346">
                  <c:v>18</c:v>
                </c:pt>
                <c:pt idx="7347">
                  <c:v>27</c:v>
                </c:pt>
                <c:pt idx="7348">
                  <c:v>25</c:v>
                </c:pt>
                <c:pt idx="7349">
                  <c:v>18</c:v>
                </c:pt>
                <c:pt idx="7350">
                  <c:v>25</c:v>
                </c:pt>
                <c:pt idx="7351">
                  <c:v>14</c:v>
                </c:pt>
                <c:pt idx="7352">
                  <c:v>18</c:v>
                </c:pt>
                <c:pt idx="7353">
                  <c:v>13</c:v>
                </c:pt>
                <c:pt idx="7354">
                  <c:v>16</c:v>
                </c:pt>
                <c:pt idx="7355">
                  <c:v>18</c:v>
                </c:pt>
                <c:pt idx="7356">
                  <c:v>22</c:v>
                </c:pt>
                <c:pt idx="7357">
                  <c:v>15</c:v>
                </c:pt>
                <c:pt idx="7358">
                  <c:v>9</c:v>
                </c:pt>
                <c:pt idx="7359">
                  <c:v>10</c:v>
                </c:pt>
                <c:pt idx="7360">
                  <c:v>10</c:v>
                </c:pt>
                <c:pt idx="7361">
                  <c:v>7</c:v>
                </c:pt>
                <c:pt idx="7362">
                  <c:v>6</c:v>
                </c:pt>
                <c:pt idx="7363">
                  <c:v>13</c:v>
                </c:pt>
                <c:pt idx="7364">
                  <c:v>220</c:v>
                </c:pt>
                <c:pt idx="7365">
                  <c:v>81</c:v>
                </c:pt>
                <c:pt idx="7366">
                  <c:v>238</c:v>
                </c:pt>
                <c:pt idx="7367">
                  <c:v>242</c:v>
                </c:pt>
                <c:pt idx="7368">
                  <c:v>124</c:v>
                </c:pt>
                <c:pt idx="7369">
                  <c:v>173</c:v>
                </c:pt>
                <c:pt idx="7370">
                  <c:v>128</c:v>
                </c:pt>
                <c:pt idx="7371">
                  <c:v>108</c:v>
                </c:pt>
                <c:pt idx="7372">
                  <c:v>66</c:v>
                </c:pt>
                <c:pt idx="7373">
                  <c:v>23</c:v>
                </c:pt>
                <c:pt idx="7374">
                  <c:v>241</c:v>
                </c:pt>
                <c:pt idx="7375">
                  <c:v>157</c:v>
                </c:pt>
                <c:pt idx="7376">
                  <c:v>153</c:v>
                </c:pt>
                <c:pt idx="7377">
                  <c:v>196</c:v>
                </c:pt>
                <c:pt idx="7378">
                  <c:v>97</c:v>
                </c:pt>
                <c:pt idx="7379">
                  <c:v>136</c:v>
                </c:pt>
                <c:pt idx="7380">
                  <c:v>152</c:v>
                </c:pt>
                <c:pt idx="7381">
                  <c:v>130</c:v>
                </c:pt>
                <c:pt idx="7382">
                  <c:v>154</c:v>
                </c:pt>
                <c:pt idx="7383">
                  <c:v>86</c:v>
                </c:pt>
                <c:pt idx="7384">
                  <c:v>91</c:v>
                </c:pt>
                <c:pt idx="7385">
                  <c:v>95</c:v>
                </c:pt>
                <c:pt idx="7386">
                  <c:v>66</c:v>
                </c:pt>
                <c:pt idx="7387">
                  <c:v>320</c:v>
                </c:pt>
                <c:pt idx="7388">
                  <c:v>244</c:v>
                </c:pt>
                <c:pt idx="7389">
                  <c:v>176</c:v>
                </c:pt>
                <c:pt idx="7390">
                  <c:v>187</c:v>
                </c:pt>
                <c:pt idx="7391">
                  <c:v>189</c:v>
                </c:pt>
                <c:pt idx="7392">
                  <c:v>40</c:v>
                </c:pt>
                <c:pt idx="7393">
                  <c:v>20</c:v>
                </c:pt>
                <c:pt idx="7394">
                  <c:v>12</c:v>
                </c:pt>
                <c:pt idx="7395">
                  <c:v>60</c:v>
                </c:pt>
                <c:pt idx="7396">
                  <c:v>51</c:v>
                </c:pt>
                <c:pt idx="7397">
                  <c:v>32</c:v>
                </c:pt>
                <c:pt idx="7398">
                  <c:v>41</c:v>
                </c:pt>
                <c:pt idx="7399">
                  <c:v>17</c:v>
                </c:pt>
                <c:pt idx="7400">
                  <c:v>177</c:v>
                </c:pt>
                <c:pt idx="7401">
                  <c:v>53</c:v>
                </c:pt>
                <c:pt idx="7402">
                  <c:v>50</c:v>
                </c:pt>
                <c:pt idx="7403">
                  <c:v>19</c:v>
                </c:pt>
                <c:pt idx="7404">
                  <c:v>21</c:v>
                </c:pt>
                <c:pt idx="7405">
                  <c:v>16</c:v>
                </c:pt>
                <c:pt idx="7406">
                  <c:v>23</c:v>
                </c:pt>
                <c:pt idx="7407">
                  <c:v>61</c:v>
                </c:pt>
                <c:pt idx="7408">
                  <c:v>78</c:v>
                </c:pt>
                <c:pt idx="7409">
                  <c:v>47</c:v>
                </c:pt>
                <c:pt idx="7410">
                  <c:v>40</c:v>
                </c:pt>
                <c:pt idx="7411">
                  <c:v>31</c:v>
                </c:pt>
                <c:pt idx="7412">
                  <c:v>29</c:v>
                </c:pt>
                <c:pt idx="7413">
                  <c:v>11</c:v>
                </c:pt>
                <c:pt idx="7414">
                  <c:v>145</c:v>
                </c:pt>
                <c:pt idx="7415">
                  <c:v>82</c:v>
                </c:pt>
                <c:pt idx="7416">
                  <c:v>62</c:v>
                </c:pt>
                <c:pt idx="7417">
                  <c:v>65</c:v>
                </c:pt>
                <c:pt idx="7418">
                  <c:v>58</c:v>
                </c:pt>
                <c:pt idx="7419">
                  <c:v>46</c:v>
                </c:pt>
                <c:pt idx="7420">
                  <c:v>53</c:v>
                </c:pt>
                <c:pt idx="7421">
                  <c:v>34</c:v>
                </c:pt>
                <c:pt idx="7422">
                  <c:v>35</c:v>
                </c:pt>
                <c:pt idx="7423">
                  <c:v>34</c:v>
                </c:pt>
                <c:pt idx="7424">
                  <c:v>17</c:v>
                </c:pt>
                <c:pt idx="7425">
                  <c:v>26</c:v>
                </c:pt>
                <c:pt idx="7426">
                  <c:v>16</c:v>
                </c:pt>
                <c:pt idx="7427">
                  <c:v>25</c:v>
                </c:pt>
                <c:pt idx="7428">
                  <c:v>24</c:v>
                </c:pt>
                <c:pt idx="7429">
                  <c:v>24</c:v>
                </c:pt>
                <c:pt idx="7430">
                  <c:v>14</c:v>
                </c:pt>
                <c:pt idx="7431">
                  <c:v>12</c:v>
                </c:pt>
                <c:pt idx="7432">
                  <c:v>16</c:v>
                </c:pt>
                <c:pt idx="7433">
                  <c:v>11</c:v>
                </c:pt>
                <c:pt idx="7434">
                  <c:v>9</c:v>
                </c:pt>
                <c:pt idx="7435">
                  <c:v>6</c:v>
                </c:pt>
                <c:pt idx="7436">
                  <c:v>8</c:v>
                </c:pt>
                <c:pt idx="7437">
                  <c:v>10</c:v>
                </c:pt>
                <c:pt idx="7438">
                  <c:v>4</c:v>
                </c:pt>
                <c:pt idx="7439">
                  <c:v>127</c:v>
                </c:pt>
                <c:pt idx="7440">
                  <c:v>66</c:v>
                </c:pt>
                <c:pt idx="7441">
                  <c:v>52</c:v>
                </c:pt>
                <c:pt idx="7442">
                  <c:v>42</c:v>
                </c:pt>
                <c:pt idx="7443">
                  <c:v>23</c:v>
                </c:pt>
                <c:pt idx="7444">
                  <c:v>22</c:v>
                </c:pt>
                <c:pt idx="7445">
                  <c:v>11</c:v>
                </c:pt>
                <c:pt idx="7446">
                  <c:v>21</c:v>
                </c:pt>
                <c:pt idx="7447">
                  <c:v>30</c:v>
                </c:pt>
                <c:pt idx="7448">
                  <c:v>15</c:v>
                </c:pt>
                <c:pt idx="7449">
                  <c:v>36</c:v>
                </c:pt>
                <c:pt idx="7450">
                  <c:v>18</c:v>
                </c:pt>
                <c:pt idx="7451">
                  <c:v>28</c:v>
                </c:pt>
                <c:pt idx="7452">
                  <c:v>30</c:v>
                </c:pt>
                <c:pt idx="7453">
                  <c:v>21</c:v>
                </c:pt>
                <c:pt idx="7454">
                  <c:v>24</c:v>
                </c:pt>
                <c:pt idx="7455">
                  <c:v>20</c:v>
                </c:pt>
                <c:pt idx="7456">
                  <c:v>18</c:v>
                </c:pt>
                <c:pt idx="7457">
                  <c:v>21</c:v>
                </c:pt>
                <c:pt idx="7458">
                  <c:v>12</c:v>
                </c:pt>
                <c:pt idx="7459">
                  <c:v>18</c:v>
                </c:pt>
                <c:pt idx="7460">
                  <c:v>7</c:v>
                </c:pt>
                <c:pt idx="7461">
                  <c:v>16</c:v>
                </c:pt>
                <c:pt idx="7462">
                  <c:v>13</c:v>
                </c:pt>
                <c:pt idx="7463">
                  <c:v>11</c:v>
                </c:pt>
                <c:pt idx="7464">
                  <c:v>15</c:v>
                </c:pt>
                <c:pt idx="7465">
                  <c:v>13</c:v>
                </c:pt>
                <c:pt idx="7466">
                  <c:v>6</c:v>
                </c:pt>
                <c:pt idx="7467">
                  <c:v>13</c:v>
                </c:pt>
                <c:pt idx="7468">
                  <c:v>12</c:v>
                </c:pt>
                <c:pt idx="7469">
                  <c:v>7</c:v>
                </c:pt>
                <c:pt idx="7470">
                  <c:v>7</c:v>
                </c:pt>
                <c:pt idx="7471">
                  <c:v>9</c:v>
                </c:pt>
                <c:pt idx="7472">
                  <c:v>7</c:v>
                </c:pt>
                <c:pt idx="7473">
                  <c:v>5</c:v>
                </c:pt>
                <c:pt idx="7474">
                  <c:v>6</c:v>
                </c:pt>
                <c:pt idx="7475">
                  <c:v>5</c:v>
                </c:pt>
                <c:pt idx="7476">
                  <c:v>7</c:v>
                </c:pt>
                <c:pt idx="7477">
                  <c:v>4</c:v>
                </c:pt>
                <c:pt idx="7478">
                  <c:v>4</c:v>
                </c:pt>
                <c:pt idx="7479">
                  <c:v>127</c:v>
                </c:pt>
                <c:pt idx="7480">
                  <c:v>47</c:v>
                </c:pt>
                <c:pt idx="7481">
                  <c:v>39</c:v>
                </c:pt>
                <c:pt idx="7482">
                  <c:v>243</c:v>
                </c:pt>
                <c:pt idx="7483">
                  <c:v>232</c:v>
                </c:pt>
                <c:pt idx="7484">
                  <c:v>263</c:v>
                </c:pt>
                <c:pt idx="7485">
                  <c:v>229</c:v>
                </c:pt>
                <c:pt idx="7486">
                  <c:v>209</c:v>
                </c:pt>
                <c:pt idx="7487">
                  <c:v>205</c:v>
                </c:pt>
                <c:pt idx="7488">
                  <c:v>252</c:v>
                </c:pt>
                <c:pt idx="7489">
                  <c:v>206</c:v>
                </c:pt>
                <c:pt idx="7490">
                  <c:v>160</c:v>
                </c:pt>
                <c:pt idx="7491">
                  <c:v>127</c:v>
                </c:pt>
                <c:pt idx="7492">
                  <c:v>207</c:v>
                </c:pt>
                <c:pt idx="7493">
                  <c:v>226</c:v>
                </c:pt>
                <c:pt idx="7494">
                  <c:v>204</c:v>
                </c:pt>
                <c:pt idx="7495">
                  <c:v>148</c:v>
                </c:pt>
                <c:pt idx="7496">
                  <c:v>213</c:v>
                </c:pt>
                <c:pt idx="7497">
                  <c:v>232</c:v>
                </c:pt>
                <c:pt idx="7498">
                  <c:v>252</c:v>
                </c:pt>
                <c:pt idx="7499">
                  <c:v>180</c:v>
                </c:pt>
                <c:pt idx="7500">
                  <c:v>96</c:v>
                </c:pt>
                <c:pt idx="7501">
                  <c:v>219</c:v>
                </c:pt>
                <c:pt idx="7502">
                  <c:v>171</c:v>
                </c:pt>
                <c:pt idx="7503">
                  <c:v>195</c:v>
                </c:pt>
                <c:pt idx="7504">
                  <c:v>104</c:v>
                </c:pt>
                <c:pt idx="7505">
                  <c:v>151</c:v>
                </c:pt>
                <c:pt idx="7506">
                  <c:v>176</c:v>
                </c:pt>
                <c:pt idx="7507">
                  <c:v>113</c:v>
                </c:pt>
                <c:pt idx="7508">
                  <c:v>120</c:v>
                </c:pt>
                <c:pt idx="7509">
                  <c:v>124</c:v>
                </c:pt>
                <c:pt idx="7510">
                  <c:v>72</c:v>
                </c:pt>
                <c:pt idx="7511">
                  <c:v>138</c:v>
                </c:pt>
                <c:pt idx="7512">
                  <c:v>133</c:v>
                </c:pt>
                <c:pt idx="7513">
                  <c:v>150</c:v>
                </c:pt>
                <c:pt idx="7514">
                  <c:v>198</c:v>
                </c:pt>
                <c:pt idx="7515">
                  <c:v>133</c:v>
                </c:pt>
                <c:pt idx="7516">
                  <c:v>186</c:v>
                </c:pt>
                <c:pt idx="7517">
                  <c:v>140</c:v>
                </c:pt>
                <c:pt idx="7518">
                  <c:v>119</c:v>
                </c:pt>
                <c:pt idx="7519">
                  <c:v>98</c:v>
                </c:pt>
                <c:pt idx="7520">
                  <c:v>138</c:v>
                </c:pt>
                <c:pt idx="7521">
                  <c:v>134</c:v>
                </c:pt>
                <c:pt idx="7522">
                  <c:v>165</c:v>
                </c:pt>
                <c:pt idx="7523">
                  <c:v>117</c:v>
                </c:pt>
                <c:pt idx="7524">
                  <c:v>102</c:v>
                </c:pt>
                <c:pt idx="7525">
                  <c:v>109</c:v>
                </c:pt>
                <c:pt idx="7526">
                  <c:v>126</c:v>
                </c:pt>
                <c:pt idx="7527">
                  <c:v>231</c:v>
                </c:pt>
                <c:pt idx="7528">
                  <c:v>227</c:v>
                </c:pt>
                <c:pt idx="7529">
                  <c:v>215</c:v>
                </c:pt>
                <c:pt idx="7530">
                  <c:v>201</c:v>
                </c:pt>
                <c:pt idx="7531">
                  <c:v>216</c:v>
                </c:pt>
                <c:pt idx="7532">
                  <c:v>212</c:v>
                </c:pt>
                <c:pt idx="7533">
                  <c:v>206</c:v>
                </c:pt>
                <c:pt idx="7534">
                  <c:v>152</c:v>
                </c:pt>
                <c:pt idx="7535">
                  <c:v>270</c:v>
                </c:pt>
                <c:pt idx="7536">
                  <c:v>196</c:v>
                </c:pt>
                <c:pt idx="7537">
                  <c:v>175</c:v>
                </c:pt>
                <c:pt idx="7538">
                  <c:v>185</c:v>
                </c:pt>
                <c:pt idx="7539">
                  <c:v>211</c:v>
                </c:pt>
                <c:pt idx="7540">
                  <c:v>197</c:v>
                </c:pt>
                <c:pt idx="7541">
                  <c:v>243</c:v>
                </c:pt>
                <c:pt idx="7542">
                  <c:v>130</c:v>
                </c:pt>
                <c:pt idx="7543">
                  <c:v>184</c:v>
                </c:pt>
                <c:pt idx="7544">
                  <c:v>168</c:v>
                </c:pt>
                <c:pt idx="7545">
                  <c:v>237</c:v>
                </c:pt>
                <c:pt idx="7546">
                  <c:v>195</c:v>
                </c:pt>
                <c:pt idx="7547">
                  <c:v>196</c:v>
                </c:pt>
                <c:pt idx="7548">
                  <c:v>180</c:v>
                </c:pt>
                <c:pt idx="7549">
                  <c:v>124</c:v>
                </c:pt>
                <c:pt idx="7550">
                  <c:v>241</c:v>
                </c:pt>
                <c:pt idx="7551">
                  <c:v>126</c:v>
                </c:pt>
                <c:pt idx="7552">
                  <c:v>190</c:v>
                </c:pt>
                <c:pt idx="7553">
                  <c:v>172</c:v>
                </c:pt>
                <c:pt idx="7554">
                  <c:v>194</c:v>
                </c:pt>
                <c:pt idx="7555">
                  <c:v>141</c:v>
                </c:pt>
                <c:pt idx="7556">
                  <c:v>230</c:v>
                </c:pt>
                <c:pt idx="7557">
                  <c:v>174</c:v>
                </c:pt>
                <c:pt idx="7558">
                  <c:v>165</c:v>
                </c:pt>
                <c:pt idx="7559">
                  <c:v>103</c:v>
                </c:pt>
                <c:pt idx="7560">
                  <c:v>179</c:v>
                </c:pt>
                <c:pt idx="7561">
                  <c:v>86</c:v>
                </c:pt>
                <c:pt idx="7562">
                  <c:v>66</c:v>
                </c:pt>
                <c:pt idx="7563">
                  <c:v>49</c:v>
                </c:pt>
                <c:pt idx="7564">
                  <c:v>41</c:v>
                </c:pt>
                <c:pt idx="7565">
                  <c:v>38</c:v>
                </c:pt>
                <c:pt idx="7566">
                  <c:v>17</c:v>
                </c:pt>
                <c:pt idx="7567">
                  <c:v>26</c:v>
                </c:pt>
                <c:pt idx="7568">
                  <c:v>10</c:v>
                </c:pt>
                <c:pt idx="7569">
                  <c:v>18</c:v>
                </c:pt>
                <c:pt idx="7570">
                  <c:v>10</c:v>
                </c:pt>
                <c:pt idx="7571">
                  <c:v>9</c:v>
                </c:pt>
                <c:pt idx="7572">
                  <c:v>2</c:v>
                </c:pt>
                <c:pt idx="7573">
                  <c:v>3</c:v>
                </c:pt>
                <c:pt idx="7574">
                  <c:v>0</c:v>
                </c:pt>
                <c:pt idx="7575">
                  <c:v>174</c:v>
                </c:pt>
                <c:pt idx="7576">
                  <c:v>170</c:v>
                </c:pt>
                <c:pt idx="7577">
                  <c:v>102</c:v>
                </c:pt>
                <c:pt idx="7578">
                  <c:v>36</c:v>
                </c:pt>
                <c:pt idx="7579">
                  <c:v>128</c:v>
                </c:pt>
                <c:pt idx="7580">
                  <c:v>112</c:v>
                </c:pt>
                <c:pt idx="7581">
                  <c:v>66</c:v>
                </c:pt>
                <c:pt idx="7582">
                  <c:v>63</c:v>
                </c:pt>
                <c:pt idx="7583">
                  <c:v>95</c:v>
                </c:pt>
                <c:pt idx="7584">
                  <c:v>77</c:v>
                </c:pt>
                <c:pt idx="7585">
                  <c:v>72</c:v>
                </c:pt>
                <c:pt idx="7586">
                  <c:v>48</c:v>
                </c:pt>
                <c:pt idx="7587">
                  <c:v>62</c:v>
                </c:pt>
                <c:pt idx="7588">
                  <c:v>40</c:v>
                </c:pt>
                <c:pt idx="7589">
                  <c:v>55</c:v>
                </c:pt>
                <c:pt idx="7590">
                  <c:v>48</c:v>
                </c:pt>
                <c:pt idx="7591">
                  <c:v>46</c:v>
                </c:pt>
                <c:pt idx="7592">
                  <c:v>41</c:v>
                </c:pt>
                <c:pt idx="7593">
                  <c:v>36</c:v>
                </c:pt>
                <c:pt idx="7594">
                  <c:v>10</c:v>
                </c:pt>
                <c:pt idx="7595">
                  <c:v>58</c:v>
                </c:pt>
                <c:pt idx="7596">
                  <c:v>37</c:v>
                </c:pt>
                <c:pt idx="7597">
                  <c:v>24</c:v>
                </c:pt>
                <c:pt idx="7598">
                  <c:v>21</c:v>
                </c:pt>
                <c:pt idx="7599">
                  <c:v>26</c:v>
                </c:pt>
                <c:pt idx="7600">
                  <c:v>24</c:v>
                </c:pt>
                <c:pt idx="7601">
                  <c:v>16</c:v>
                </c:pt>
                <c:pt idx="7602">
                  <c:v>28</c:v>
                </c:pt>
                <c:pt idx="7603">
                  <c:v>36</c:v>
                </c:pt>
                <c:pt idx="7604">
                  <c:v>28</c:v>
                </c:pt>
                <c:pt idx="7605">
                  <c:v>28</c:v>
                </c:pt>
                <c:pt idx="7606">
                  <c:v>6</c:v>
                </c:pt>
                <c:pt idx="7607">
                  <c:v>19</c:v>
                </c:pt>
                <c:pt idx="7608">
                  <c:v>20</c:v>
                </c:pt>
                <c:pt idx="7609">
                  <c:v>16</c:v>
                </c:pt>
                <c:pt idx="7610">
                  <c:v>21</c:v>
                </c:pt>
                <c:pt idx="7611">
                  <c:v>22</c:v>
                </c:pt>
                <c:pt idx="7612">
                  <c:v>10</c:v>
                </c:pt>
                <c:pt idx="7613">
                  <c:v>11</c:v>
                </c:pt>
                <c:pt idx="7614">
                  <c:v>11</c:v>
                </c:pt>
                <c:pt idx="7615">
                  <c:v>12</c:v>
                </c:pt>
                <c:pt idx="7616">
                  <c:v>17</c:v>
                </c:pt>
                <c:pt idx="7617">
                  <c:v>11</c:v>
                </c:pt>
                <c:pt idx="7618">
                  <c:v>4</c:v>
                </c:pt>
                <c:pt idx="7619">
                  <c:v>14</c:v>
                </c:pt>
                <c:pt idx="7620">
                  <c:v>12</c:v>
                </c:pt>
                <c:pt idx="7621">
                  <c:v>9</c:v>
                </c:pt>
                <c:pt idx="7622">
                  <c:v>3</c:v>
                </c:pt>
                <c:pt idx="7623">
                  <c:v>4</c:v>
                </c:pt>
                <c:pt idx="7624">
                  <c:v>1</c:v>
                </c:pt>
                <c:pt idx="7625">
                  <c:v>6</c:v>
                </c:pt>
                <c:pt idx="7626">
                  <c:v>3</c:v>
                </c:pt>
                <c:pt idx="7627">
                  <c:v>4</c:v>
                </c:pt>
                <c:pt idx="7628">
                  <c:v>4</c:v>
                </c:pt>
                <c:pt idx="7629">
                  <c:v>4</c:v>
                </c:pt>
                <c:pt idx="7630">
                  <c:v>0</c:v>
                </c:pt>
                <c:pt idx="7631">
                  <c:v>1</c:v>
                </c:pt>
                <c:pt idx="7632">
                  <c:v>3</c:v>
                </c:pt>
                <c:pt idx="7633">
                  <c:v>2</c:v>
                </c:pt>
                <c:pt idx="7634">
                  <c:v>2</c:v>
                </c:pt>
                <c:pt idx="7635">
                  <c:v>2</c:v>
                </c:pt>
                <c:pt idx="7636">
                  <c:v>1</c:v>
                </c:pt>
                <c:pt idx="7637">
                  <c:v>1</c:v>
                </c:pt>
                <c:pt idx="7638">
                  <c:v>0</c:v>
                </c:pt>
                <c:pt idx="7639">
                  <c:v>0</c:v>
                </c:pt>
                <c:pt idx="7640">
                  <c:v>0</c:v>
                </c:pt>
                <c:pt idx="7641">
                  <c:v>0</c:v>
                </c:pt>
                <c:pt idx="7642">
                  <c:v>23</c:v>
                </c:pt>
                <c:pt idx="7643">
                  <c:v>185</c:v>
                </c:pt>
                <c:pt idx="7644">
                  <c:v>170</c:v>
                </c:pt>
                <c:pt idx="7645">
                  <c:v>175</c:v>
                </c:pt>
                <c:pt idx="7646">
                  <c:v>148</c:v>
                </c:pt>
                <c:pt idx="7647">
                  <c:v>185</c:v>
                </c:pt>
                <c:pt idx="7648">
                  <c:v>97</c:v>
                </c:pt>
                <c:pt idx="7649">
                  <c:v>83</c:v>
                </c:pt>
                <c:pt idx="7650">
                  <c:v>120</c:v>
                </c:pt>
                <c:pt idx="7651">
                  <c:v>152</c:v>
                </c:pt>
                <c:pt idx="7652">
                  <c:v>110</c:v>
                </c:pt>
                <c:pt idx="7653">
                  <c:v>103</c:v>
                </c:pt>
                <c:pt idx="7654">
                  <c:v>71</c:v>
                </c:pt>
                <c:pt idx="7655">
                  <c:v>85</c:v>
                </c:pt>
                <c:pt idx="7656">
                  <c:v>76</c:v>
                </c:pt>
                <c:pt idx="7657">
                  <c:v>70</c:v>
                </c:pt>
                <c:pt idx="7658">
                  <c:v>113</c:v>
                </c:pt>
                <c:pt idx="7659">
                  <c:v>77</c:v>
                </c:pt>
                <c:pt idx="7660">
                  <c:v>35</c:v>
                </c:pt>
                <c:pt idx="7661">
                  <c:v>49</c:v>
                </c:pt>
                <c:pt idx="7662">
                  <c:v>42</c:v>
                </c:pt>
                <c:pt idx="7663">
                  <c:v>48</c:v>
                </c:pt>
                <c:pt idx="7664">
                  <c:v>45</c:v>
                </c:pt>
                <c:pt idx="7665">
                  <c:v>51</c:v>
                </c:pt>
                <c:pt idx="7666">
                  <c:v>35</c:v>
                </c:pt>
                <c:pt idx="7667">
                  <c:v>36</c:v>
                </c:pt>
                <c:pt idx="7668">
                  <c:v>40</c:v>
                </c:pt>
                <c:pt idx="7669">
                  <c:v>47</c:v>
                </c:pt>
                <c:pt idx="7670">
                  <c:v>30</c:v>
                </c:pt>
                <c:pt idx="7671">
                  <c:v>18</c:v>
                </c:pt>
                <c:pt idx="7672">
                  <c:v>26</c:v>
                </c:pt>
                <c:pt idx="7673">
                  <c:v>16</c:v>
                </c:pt>
                <c:pt idx="7674">
                  <c:v>19</c:v>
                </c:pt>
                <c:pt idx="7675">
                  <c:v>14</c:v>
                </c:pt>
                <c:pt idx="7676">
                  <c:v>14</c:v>
                </c:pt>
                <c:pt idx="7677">
                  <c:v>21</c:v>
                </c:pt>
                <c:pt idx="7678">
                  <c:v>15</c:v>
                </c:pt>
                <c:pt idx="7679">
                  <c:v>11</c:v>
                </c:pt>
                <c:pt idx="7680">
                  <c:v>15</c:v>
                </c:pt>
                <c:pt idx="7681">
                  <c:v>13</c:v>
                </c:pt>
                <c:pt idx="7682">
                  <c:v>11</c:v>
                </c:pt>
                <c:pt idx="7683">
                  <c:v>7</c:v>
                </c:pt>
                <c:pt idx="7684">
                  <c:v>8</c:v>
                </c:pt>
                <c:pt idx="7685">
                  <c:v>9</c:v>
                </c:pt>
                <c:pt idx="7686">
                  <c:v>5</c:v>
                </c:pt>
                <c:pt idx="7687">
                  <c:v>5</c:v>
                </c:pt>
                <c:pt idx="7688">
                  <c:v>2</c:v>
                </c:pt>
                <c:pt idx="7689">
                  <c:v>1</c:v>
                </c:pt>
                <c:pt idx="7690">
                  <c:v>3</c:v>
                </c:pt>
                <c:pt idx="7691">
                  <c:v>2</c:v>
                </c:pt>
                <c:pt idx="7692">
                  <c:v>7</c:v>
                </c:pt>
                <c:pt idx="7693">
                  <c:v>5</c:v>
                </c:pt>
                <c:pt idx="7694">
                  <c:v>4</c:v>
                </c:pt>
                <c:pt idx="7695">
                  <c:v>3</c:v>
                </c:pt>
                <c:pt idx="7696">
                  <c:v>3</c:v>
                </c:pt>
                <c:pt idx="7697">
                  <c:v>3</c:v>
                </c:pt>
                <c:pt idx="7698">
                  <c:v>3</c:v>
                </c:pt>
                <c:pt idx="7699">
                  <c:v>3</c:v>
                </c:pt>
                <c:pt idx="7700">
                  <c:v>3</c:v>
                </c:pt>
                <c:pt idx="7701">
                  <c:v>2</c:v>
                </c:pt>
                <c:pt idx="7702">
                  <c:v>1</c:v>
                </c:pt>
                <c:pt idx="7703">
                  <c:v>0</c:v>
                </c:pt>
                <c:pt idx="7704">
                  <c:v>0</c:v>
                </c:pt>
                <c:pt idx="7705">
                  <c:v>0</c:v>
                </c:pt>
                <c:pt idx="7706">
                  <c:v>0</c:v>
                </c:pt>
                <c:pt idx="7707">
                  <c:v>0</c:v>
                </c:pt>
                <c:pt idx="7708">
                  <c:v>104</c:v>
                </c:pt>
                <c:pt idx="7709">
                  <c:v>79</c:v>
                </c:pt>
                <c:pt idx="7710">
                  <c:v>64</c:v>
                </c:pt>
                <c:pt idx="7711">
                  <c:v>75</c:v>
                </c:pt>
                <c:pt idx="7712">
                  <c:v>59</c:v>
                </c:pt>
                <c:pt idx="7713">
                  <c:v>94</c:v>
                </c:pt>
                <c:pt idx="7714">
                  <c:v>54</c:v>
                </c:pt>
                <c:pt idx="7715">
                  <c:v>58</c:v>
                </c:pt>
                <c:pt idx="7716">
                  <c:v>49</c:v>
                </c:pt>
                <c:pt idx="7717">
                  <c:v>37</c:v>
                </c:pt>
                <c:pt idx="7718">
                  <c:v>69</c:v>
                </c:pt>
                <c:pt idx="7719">
                  <c:v>38</c:v>
                </c:pt>
                <c:pt idx="7720">
                  <c:v>33</c:v>
                </c:pt>
                <c:pt idx="7721">
                  <c:v>30</c:v>
                </c:pt>
                <c:pt idx="7722">
                  <c:v>26</c:v>
                </c:pt>
                <c:pt idx="7723">
                  <c:v>14</c:v>
                </c:pt>
                <c:pt idx="7724">
                  <c:v>10</c:v>
                </c:pt>
                <c:pt idx="7725">
                  <c:v>19</c:v>
                </c:pt>
                <c:pt idx="7726">
                  <c:v>29</c:v>
                </c:pt>
                <c:pt idx="7727">
                  <c:v>20</c:v>
                </c:pt>
                <c:pt idx="7728">
                  <c:v>6</c:v>
                </c:pt>
                <c:pt idx="7729">
                  <c:v>9</c:v>
                </c:pt>
                <c:pt idx="7730">
                  <c:v>15</c:v>
                </c:pt>
                <c:pt idx="7731">
                  <c:v>13</c:v>
                </c:pt>
                <c:pt idx="7732">
                  <c:v>8</c:v>
                </c:pt>
                <c:pt idx="7733">
                  <c:v>6</c:v>
                </c:pt>
                <c:pt idx="7734">
                  <c:v>15</c:v>
                </c:pt>
                <c:pt idx="7735">
                  <c:v>5</c:v>
                </c:pt>
                <c:pt idx="7736">
                  <c:v>6</c:v>
                </c:pt>
                <c:pt idx="7737">
                  <c:v>8</c:v>
                </c:pt>
                <c:pt idx="7738">
                  <c:v>3</c:v>
                </c:pt>
                <c:pt idx="7739">
                  <c:v>6</c:v>
                </c:pt>
                <c:pt idx="7740">
                  <c:v>2</c:v>
                </c:pt>
                <c:pt idx="7741">
                  <c:v>3</c:v>
                </c:pt>
                <c:pt idx="7742">
                  <c:v>6</c:v>
                </c:pt>
                <c:pt idx="7743">
                  <c:v>3</c:v>
                </c:pt>
                <c:pt idx="7744">
                  <c:v>1</c:v>
                </c:pt>
                <c:pt idx="7745">
                  <c:v>3</c:v>
                </c:pt>
                <c:pt idx="7746">
                  <c:v>2</c:v>
                </c:pt>
                <c:pt idx="7747">
                  <c:v>3</c:v>
                </c:pt>
                <c:pt idx="7748">
                  <c:v>3</c:v>
                </c:pt>
                <c:pt idx="7749">
                  <c:v>3</c:v>
                </c:pt>
                <c:pt idx="7750">
                  <c:v>3</c:v>
                </c:pt>
                <c:pt idx="7751">
                  <c:v>1</c:v>
                </c:pt>
                <c:pt idx="7752">
                  <c:v>2</c:v>
                </c:pt>
                <c:pt idx="7753">
                  <c:v>2</c:v>
                </c:pt>
                <c:pt idx="7754">
                  <c:v>2</c:v>
                </c:pt>
                <c:pt idx="7755">
                  <c:v>2</c:v>
                </c:pt>
                <c:pt idx="7756">
                  <c:v>1</c:v>
                </c:pt>
                <c:pt idx="7757">
                  <c:v>1</c:v>
                </c:pt>
                <c:pt idx="7758">
                  <c:v>1</c:v>
                </c:pt>
                <c:pt idx="7759">
                  <c:v>1</c:v>
                </c:pt>
                <c:pt idx="7760">
                  <c:v>1</c:v>
                </c:pt>
                <c:pt idx="7761">
                  <c:v>1</c:v>
                </c:pt>
                <c:pt idx="7762">
                  <c:v>1</c:v>
                </c:pt>
                <c:pt idx="7763">
                  <c:v>0</c:v>
                </c:pt>
                <c:pt idx="7764">
                  <c:v>0</c:v>
                </c:pt>
                <c:pt idx="7765">
                  <c:v>0</c:v>
                </c:pt>
                <c:pt idx="7766">
                  <c:v>0</c:v>
                </c:pt>
                <c:pt idx="7767">
                  <c:v>0</c:v>
                </c:pt>
                <c:pt idx="7768">
                  <c:v>0</c:v>
                </c:pt>
                <c:pt idx="7769">
                  <c:v>0</c:v>
                </c:pt>
                <c:pt idx="7770">
                  <c:v>0</c:v>
                </c:pt>
                <c:pt idx="7771">
                  <c:v>0</c:v>
                </c:pt>
                <c:pt idx="7772">
                  <c:v>0</c:v>
                </c:pt>
                <c:pt idx="7773">
                  <c:v>0</c:v>
                </c:pt>
                <c:pt idx="7774">
                  <c:v>0</c:v>
                </c:pt>
                <c:pt idx="7775">
                  <c:v>0</c:v>
                </c:pt>
                <c:pt idx="7776">
                  <c:v>0</c:v>
                </c:pt>
                <c:pt idx="7777">
                  <c:v>0</c:v>
                </c:pt>
                <c:pt idx="7778">
                  <c:v>0</c:v>
                </c:pt>
                <c:pt idx="7779">
                  <c:v>0</c:v>
                </c:pt>
                <c:pt idx="7780">
                  <c:v>0</c:v>
                </c:pt>
                <c:pt idx="7781">
                  <c:v>0</c:v>
                </c:pt>
                <c:pt idx="7782">
                  <c:v>0</c:v>
                </c:pt>
                <c:pt idx="7783">
                  <c:v>3</c:v>
                </c:pt>
                <c:pt idx="7784">
                  <c:v>0</c:v>
                </c:pt>
                <c:pt idx="7785">
                  <c:v>0</c:v>
                </c:pt>
                <c:pt idx="7786">
                  <c:v>0</c:v>
                </c:pt>
                <c:pt idx="7787">
                  <c:v>0</c:v>
                </c:pt>
                <c:pt idx="7788">
                  <c:v>48</c:v>
                </c:pt>
                <c:pt idx="7789">
                  <c:v>33</c:v>
                </c:pt>
                <c:pt idx="7790">
                  <c:v>11</c:v>
                </c:pt>
                <c:pt idx="7791">
                  <c:v>13</c:v>
                </c:pt>
                <c:pt idx="7792">
                  <c:v>1</c:v>
                </c:pt>
                <c:pt idx="7793">
                  <c:v>14</c:v>
                </c:pt>
                <c:pt idx="7794">
                  <c:v>4</c:v>
                </c:pt>
                <c:pt idx="7795">
                  <c:v>130</c:v>
                </c:pt>
                <c:pt idx="7796">
                  <c:v>136</c:v>
                </c:pt>
                <c:pt idx="7797">
                  <c:v>60</c:v>
                </c:pt>
                <c:pt idx="7798">
                  <c:v>38</c:v>
                </c:pt>
                <c:pt idx="7799">
                  <c:v>23</c:v>
                </c:pt>
                <c:pt idx="7800">
                  <c:v>35</c:v>
                </c:pt>
                <c:pt idx="7801">
                  <c:v>30</c:v>
                </c:pt>
                <c:pt idx="7802">
                  <c:v>10</c:v>
                </c:pt>
                <c:pt idx="7803">
                  <c:v>3</c:v>
                </c:pt>
                <c:pt idx="7804">
                  <c:v>8</c:v>
                </c:pt>
                <c:pt idx="7805">
                  <c:v>4</c:v>
                </c:pt>
                <c:pt idx="7806">
                  <c:v>5</c:v>
                </c:pt>
                <c:pt idx="7807">
                  <c:v>2</c:v>
                </c:pt>
                <c:pt idx="7808">
                  <c:v>1</c:v>
                </c:pt>
                <c:pt idx="7809">
                  <c:v>2</c:v>
                </c:pt>
                <c:pt idx="7810">
                  <c:v>0</c:v>
                </c:pt>
                <c:pt idx="7811">
                  <c:v>0</c:v>
                </c:pt>
                <c:pt idx="7812">
                  <c:v>194</c:v>
                </c:pt>
                <c:pt idx="7813">
                  <c:v>84</c:v>
                </c:pt>
                <c:pt idx="7814">
                  <c:v>105</c:v>
                </c:pt>
                <c:pt idx="7815">
                  <c:v>68</c:v>
                </c:pt>
                <c:pt idx="7816">
                  <c:v>81</c:v>
                </c:pt>
                <c:pt idx="7817">
                  <c:v>109</c:v>
                </c:pt>
                <c:pt idx="7818">
                  <c:v>58</c:v>
                </c:pt>
                <c:pt idx="7819">
                  <c:v>65</c:v>
                </c:pt>
                <c:pt idx="7820">
                  <c:v>35</c:v>
                </c:pt>
                <c:pt idx="7821">
                  <c:v>32</c:v>
                </c:pt>
                <c:pt idx="7822">
                  <c:v>30</c:v>
                </c:pt>
                <c:pt idx="7823">
                  <c:v>38</c:v>
                </c:pt>
                <c:pt idx="7824">
                  <c:v>39</c:v>
                </c:pt>
                <c:pt idx="7825">
                  <c:v>25</c:v>
                </c:pt>
                <c:pt idx="7826">
                  <c:v>18</c:v>
                </c:pt>
                <c:pt idx="7827">
                  <c:v>15</c:v>
                </c:pt>
                <c:pt idx="7828">
                  <c:v>26</c:v>
                </c:pt>
                <c:pt idx="7829">
                  <c:v>16</c:v>
                </c:pt>
                <c:pt idx="7830">
                  <c:v>17</c:v>
                </c:pt>
                <c:pt idx="7831">
                  <c:v>10</c:v>
                </c:pt>
                <c:pt idx="7832">
                  <c:v>15</c:v>
                </c:pt>
                <c:pt idx="7833">
                  <c:v>8</c:v>
                </c:pt>
                <c:pt idx="7834">
                  <c:v>7</c:v>
                </c:pt>
                <c:pt idx="7835">
                  <c:v>3</c:v>
                </c:pt>
                <c:pt idx="7836">
                  <c:v>16</c:v>
                </c:pt>
                <c:pt idx="7837">
                  <c:v>15</c:v>
                </c:pt>
                <c:pt idx="7838">
                  <c:v>20</c:v>
                </c:pt>
                <c:pt idx="7839">
                  <c:v>8</c:v>
                </c:pt>
                <c:pt idx="7840">
                  <c:v>4</c:v>
                </c:pt>
                <c:pt idx="7841">
                  <c:v>14</c:v>
                </c:pt>
                <c:pt idx="7842">
                  <c:v>9</c:v>
                </c:pt>
                <c:pt idx="7843">
                  <c:v>9</c:v>
                </c:pt>
                <c:pt idx="7844">
                  <c:v>7</c:v>
                </c:pt>
                <c:pt idx="7845">
                  <c:v>2</c:v>
                </c:pt>
                <c:pt idx="7846">
                  <c:v>1</c:v>
                </c:pt>
                <c:pt idx="7847">
                  <c:v>1</c:v>
                </c:pt>
                <c:pt idx="7848">
                  <c:v>4</c:v>
                </c:pt>
                <c:pt idx="7849">
                  <c:v>2</c:v>
                </c:pt>
                <c:pt idx="7850">
                  <c:v>2</c:v>
                </c:pt>
                <c:pt idx="7851">
                  <c:v>1</c:v>
                </c:pt>
                <c:pt idx="7852">
                  <c:v>0</c:v>
                </c:pt>
                <c:pt idx="7853">
                  <c:v>0</c:v>
                </c:pt>
                <c:pt idx="7854">
                  <c:v>0</c:v>
                </c:pt>
                <c:pt idx="7855">
                  <c:v>0</c:v>
                </c:pt>
                <c:pt idx="7856">
                  <c:v>150</c:v>
                </c:pt>
                <c:pt idx="7857">
                  <c:v>60</c:v>
                </c:pt>
                <c:pt idx="7858">
                  <c:v>65</c:v>
                </c:pt>
                <c:pt idx="7859">
                  <c:v>42</c:v>
                </c:pt>
                <c:pt idx="7860">
                  <c:v>17</c:v>
                </c:pt>
                <c:pt idx="7861">
                  <c:v>15</c:v>
                </c:pt>
                <c:pt idx="7862">
                  <c:v>10</c:v>
                </c:pt>
                <c:pt idx="7863">
                  <c:v>16</c:v>
                </c:pt>
                <c:pt idx="7864">
                  <c:v>12</c:v>
                </c:pt>
                <c:pt idx="7865">
                  <c:v>9</c:v>
                </c:pt>
                <c:pt idx="7866">
                  <c:v>8</c:v>
                </c:pt>
                <c:pt idx="7867">
                  <c:v>9</c:v>
                </c:pt>
                <c:pt idx="7868">
                  <c:v>4</c:v>
                </c:pt>
                <c:pt idx="7869">
                  <c:v>2</c:v>
                </c:pt>
                <c:pt idx="7870">
                  <c:v>0</c:v>
                </c:pt>
                <c:pt idx="7871">
                  <c:v>79</c:v>
                </c:pt>
                <c:pt idx="7872">
                  <c:v>33</c:v>
                </c:pt>
                <c:pt idx="7873">
                  <c:v>42</c:v>
                </c:pt>
                <c:pt idx="7874">
                  <c:v>38</c:v>
                </c:pt>
                <c:pt idx="7875">
                  <c:v>23</c:v>
                </c:pt>
                <c:pt idx="7876">
                  <c:v>22</c:v>
                </c:pt>
                <c:pt idx="7877">
                  <c:v>16</c:v>
                </c:pt>
                <c:pt idx="7878">
                  <c:v>18</c:v>
                </c:pt>
                <c:pt idx="7879">
                  <c:v>14</c:v>
                </c:pt>
                <c:pt idx="7880">
                  <c:v>13</c:v>
                </c:pt>
                <c:pt idx="7881">
                  <c:v>8</c:v>
                </c:pt>
                <c:pt idx="7882">
                  <c:v>7</c:v>
                </c:pt>
                <c:pt idx="7883">
                  <c:v>6</c:v>
                </c:pt>
                <c:pt idx="7884">
                  <c:v>9</c:v>
                </c:pt>
                <c:pt idx="7885">
                  <c:v>2</c:v>
                </c:pt>
                <c:pt idx="7886">
                  <c:v>3</c:v>
                </c:pt>
                <c:pt idx="7887">
                  <c:v>6</c:v>
                </c:pt>
                <c:pt idx="7888">
                  <c:v>1</c:v>
                </c:pt>
                <c:pt idx="7889">
                  <c:v>1</c:v>
                </c:pt>
                <c:pt idx="7890">
                  <c:v>3</c:v>
                </c:pt>
                <c:pt idx="7891">
                  <c:v>1</c:v>
                </c:pt>
                <c:pt idx="7892">
                  <c:v>1</c:v>
                </c:pt>
                <c:pt idx="7893">
                  <c:v>1</c:v>
                </c:pt>
                <c:pt idx="7894">
                  <c:v>1</c:v>
                </c:pt>
                <c:pt idx="7895">
                  <c:v>115</c:v>
                </c:pt>
                <c:pt idx="7896">
                  <c:v>76</c:v>
                </c:pt>
                <c:pt idx="7897">
                  <c:v>94</c:v>
                </c:pt>
                <c:pt idx="7898">
                  <c:v>75</c:v>
                </c:pt>
                <c:pt idx="7899">
                  <c:v>49</c:v>
                </c:pt>
                <c:pt idx="7900">
                  <c:v>47</c:v>
                </c:pt>
                <c:pt idx="7901">
                  <c:v>48</c:v>
                </c:pt>
                <c:pt idx="7902">
                  <c:v>56</c:v>
                </c:pt>
                <c:pt idx="7903">
                  <c:v>38</c:v>
                </c:pt>
                <c:pt idx="7904">
                  <c:v>33</c:v>
                </c:pt>
                <c:pt idx="7905">
                  <c:v>27</c:v>
                </c:pt>
                <c:pt idx="7906">
                  <c:v>23</c:v>
                </c:pt>
                <c:pt idx="7907">
                  <c:v>21</c:v>
                </c:pt>
                <c:pt idx="7908">
                  <c:v>19</c:v>
                </c:pt>
                <c:pt idx="7909">
                  <c:v>17</c:v>
                </c:pt>
                <c:pt idx="7910">
                  <c:v>18</c:v>
                </c:pt>
                <c:pt idx="7911">
                  <c:v>4</c:v>
                </c:pt>
                <c:pt idx="7912">
                  <c:v>11</c:v>
                </c:pt>
                <c:pt idx="7913">
                  <c:v>12</c:v>
                </c:pt>
                <c:pt idx="7914">
                  <c:v>4</c:v>
                </c:pt>
                <c:pt idx="7915">
                  <c:v>1</c:v>
                </c:pt>
                <c:pt idx="7916">
                  <c:v>4</c:v>
                </c:pt>
                <c:pt idx="7917">
                  <c:v>1</c:v>
                </c:pt>
                <c:pt idx="7918">
                  <c:v>2</c:v>
                </c:pt>
                <c:pt idx="7919">
                  <c:v>1</c:v>
                </c:pt>
                <c:pt idx="7920">
                  <c:v>1</c:v>
                </c:pt>
                <c:pt idx="7921">
                  <c:v>1</c:v>
                </c:pt>
                <c:pt idx="7922">
                  <c:v>0</c:v>
                </c:pt>
                <c:pt idx="7923">
                  <c:v>6</c:v>
                </c:pt>
                <c:pt idx="7924">
                  <c:v>2</c:v>
                </c:pt>
                <c:pt idx="7925">
                  <c:v>0</c:v>
                </c:pt>
                <c:pt idx="7926">
                  <c:v>6</c:v>
                </c:pt>
                <c:pt idx="7927">
                  <c:v>70</c:v>
                </c:pt>
                <c:pt idx="7928">
                  <c:v>40</c:v>
                </c:pt>
                <c:pt idx="7929">
                  <c:v>35</c:v>
                </c:pt>
                <c:pt idx="7930">
                  <c:v>21</c:v>
                </c:pt>
                <c:pt idx="7931">
                  <c:v>16</c:v>
                </c:pt>
                <c:pt idx="7932">
                  <c:v>11</c:v>
                </c:pt>
                <c:pt idx="7933">
                  <c:v>5</c:v>
                </c:pt>
                <c:pt idx="7934">
                  <c:v>2</c:v>
                </c:pt>
                <c:pt idx="7935">
                  <c:v>1</c:v>
                </c:pt>
                <c:pt idx="7936">
                  <c:v>0</c:v>
                </c:pt>
                <c:pt idx="7937">
                  <c:v>109</c:v>
                </c:pt>
                <c:pt idx="7938">
                  <c:v>148</c:v>
                </c:pt>
                <c:pt idx="7939">
                  <c:v>115</c:v>
                </c:pt>
                <c:pt idx="7940">
                  <c:v>104</c:v>
                </c:pt>
                <c:pt idx="7941">
                  <c:v>65</c:v>
                </c:pt>
                <c:pt idx="7942">
                  <c:v>62</c:v>
                </c:pt>
                <c:pt idx="7943">
                  <c:v>83</c:v>
                </c:pt>
                <c:pt idx="7944">
                  <c:v>66</c:v>
                </c:pt>
                <c:pt idx="7945">
                  <c:v>70</c:v>
                </c:pt>
                <c:pt idx="7946">
                  <c:v>61</c:v>
                </c:pt>
                <c:pt idx="7947">
                  <c:v>62</c:v>
                </c:pt>
                <c:pt idx="7948">
                  <c:v>56</c:v>
                </c:pt>
                <c:pt idx="7949">
                  <c:v>63</c:v>
                </c:pt>
                <c:pt idx="7950">
                  <c:v>57</c:v>
                </c:pt>
                <c:pt idx="7951">
                  <c:v>36</c:v>
                </c:pt>
                <c:pt idx="7952">
                  <c:v>39</c:v>
                </c:pt>
                <c:pt idx="7953">
                  <c:v>41</c:v>
                </c:pt>
                <c:pt idx="7954">
                  <c:v>36</c:v>
                </c:pt>
                <c:pt idx="7955">
                  <c:v>31</c:v>
                </c:pt>
                <c:pt idx="7956">
                  <c:v>27</c:v>
                </c:pt>
                <c:pt idx="7957">
                  <c:v>26</c:v>
                </c:pt>
                <c:pt idx="7958">
                  <c:v>23</c:v>
                </c:pt>
                <c:pt idx="7959">
                  <c:v>23</c:v>
                </c:pt>
                <c:pt idx="7960">
                  <c:v>24</c:v>
                </c:pt>
                <c:pt idx="7961">
                  <c:v>18</c:v>
                </c:pt>
                <c:pt idx="7962">
                  <c:v>17</c:v>
                </c:pt>
                <c:pt idx="7963">
                  <c:v>15</c:v>
                </c:pt>
                <c:pt idx="7964">
                  <c:v>13</c:v>
                </c:pt>
                <c:pt idx="7965">
                  <c:v>27</c:v>
                </c:pt>
                <c:pt idx="7966">
                  <c:v>19</c:v>
                </c:pt>
                <c:pt idx="7967">
                  <c:v>16</c:v>
                </c:pt>
                <c:pt idx="7968">
                  <c:v>11</c:v>
                </c:pt>
                <c:pt idx="7969">
                  <c:v>5</c:v>
                </c:pt>
                <c:pt idx="7970">
                  <c:v>2</c:v>
                </c:pt>
                <c:pt idx="7971">
                  <c:v>96</c:v>
                </c:pt>
                <c:pt idx="7972">
                  <c:v>132</c:v>
                </c:pt>
                <c:pt idx="7973">
                  <c:v>39</c:v>
                </c:pt>
                <c:pt idx="7974">
                  <c:v>139</c:v>
                </c:pt>
                <c:pt idx="7975">
                  <c:v>51</c:v>
                </c:pt>
                <c:pt idx="7976">
                  <c:v>19</c:v>
                </c:pt>
                <c:pt idx="7977">
                  <c:v>31</c:v>
                </c:pt>
                <c:pt idx="7978">
                  <c:v>53</c:v>
                </c:pt>
                <c:pt idx="7979">
                  <c:v>93</c:v>
                </c:pt>
                <c:pt idx="7980">
                  <c:v>82</c:v>
                </c:pt>
                <c:pt idx="7981">
                  <c:v>505</c:v>
                </c:pt>
                <c:pt idx="7982">
                  <c:v>622</c:v>
                </c:pt>
                <c:pt idx="7983">
                  <c:v>900</c:v>
                </c:pt>
                <c:pt idx="7984">
                  <c:v>1541</c:v>
                </c:pt>
                <c:pt idx="7985">
                  <c:v>798</c:v>
                </c:pt>
                <c:pt idx="7986">
                  <c:v>917</c:v>
                </c:pt>
                <c:pt idx="7987">
                  <c:v>1041</c:v>
                </c:pt>
                <c:pt idx="7988">
                  <c:v>991</c:v>
                </c:pt>
                <c:pt idx="7989">
                  <c:v>1198</c:v>
                </c:pt>
                <c:pt idx="7990">
                  <c:v>1009</c:v>
                </c:pt>
                <c:pt idx="7991">
                  <c:v>1277</c:v>
                </c:pt>
                <c:pt idx="7992">
                  <c:v>560</c:v>
                </c:pt>
                <c:pt idx="7993">
                  <c:v>613</c:v>
                </c:pt>
                <c:pt idx="7994">
                  <c:v>939</c:v>
                </c:pt>
                <c:pt idx="7995">
                  <c:v>215</c:v>
                </c:pt>
                <c:pt idx="7996">
                  <c:v>687</c:v>
                </c:pt>
                <c:pt idx="7997">
                  <c:v>567</c:v>
                </c:pt>
                <c:pt idx="7998">
                  <c:v>758</c:v>
                </c:pt>
                <c:pt idx="7999">
                  <c:v>754</c:v>
                </c:pt>
                <c:pt idx="8000">
                  <c:v>777</c:v>
                </c:pt>
                <c:pt idx="8001">
                  <c:v>1200</c:v>
                </c:pt>
                <c:pt idx="8002">
                  <c:v>597</c:v>
                </c:pt>
                <c:pt idx="8003">
                  <c:v>577</c:v>
                </c:pt>
                <c:pt idx="8004">
                  <c:v>510</c:v>
                </c:pt>
                <c:pt idx="8005">
                  <c:v>742</c:v>
                </c:pt>
                <c:pt idx="8006">
                  <c:v>746</c:v>
                </c:pt>
                <c:pt idx="8007">
                  <c:v>442</c:v>
                </c:pt>
                <c:pt idx="8008">
                  <c:v>983</c:v>
                </c:pt>
                <c:pt idx="8009">
                  <c:v>1078</c:v>
                </c:pt>
                <c:pt idx="8010">
                  <c:v>1076</c:v>
                </c:pt>
                <c:pt idx="8011">
                  <c:v>1220</c:v>
                </c:pt>
                <c:pt idx="8012">
                  <c:v>381</c:v>
                </c:pt>
                <c:pt idx="8013">
                  <c:v>837</c:v>
                </c:pt>
                <c:pt idx="8014">
                  <c:v>379</c:v>
                </c:pt>
                <c:pt idx="8015">
                  <c:v>567</c:v>
                </c:pt>
                <c:pt idx="8016">
                  <c:v>635</c:v>
                </c:pt>
                <c:pt idx="8017">
                  <c:v>637</c:v>
                </c:pt>
                <c:pt idx="8018">
                  <c:v>459</c:v>
                </c:pt>
                <c:pt idx="8019">
                  <c:v>446</c:v>
                </c:pt>
                <c:pt idx="8020">
                  <c:v>513</c:v>
                </c:pt>
                <c:pt idx="8021">
                  <c:v>638</c:v>
                </c:pt>
                <c:pt idx="8022">
                  <c:v>886</c:v>
                </c:pt>
                <c:pt idx="8023">
                  <c:v>383</c:v>
                </c:pt>
                <c:pt idx="8024">
                  <c:v>650</c:v>
                </c:pt>
                <c:pt idx="8025">
                  <c:v>482</c:v>
                </c:pt>
                <c:pt idx="8026">
                  <c:v>797</c:v>
                </c:pt>
                <c:pt idx="8027">
                  <c:v>575</c:v>
                </c:pt>
                <c:pt idx="8028">
                  <c:v>753</c:v>
                </c:pt>
                <c:pt idx="8029">
                  <c:v>493</c:v>
                </c:pt>
                <c:pt idx="8030">
                  <c:v>394</c:v>
                </c:pt>
                <c:pt idx="8031">
                  <c:v>86</c:v>
                </c:pt>
                <c:pt idx="8032">
                  <c:v>504</c:v>
                </c:pt>
                <c:pt idx="8033">
                  <c:v>193</c:v>
                </c:pt>
                <c:pt idx="8034">
                  <c:v>224</c:v>
                </c:pt>
                <c:pt idx="8035">
                  <c:v>449</c:v>
                </c:pt>
                <c:pt idx="8036">
                  <c:v>776</c:v>
                </c:pt>
                <c:pt idx="8037">
                  <c:v>510</c:v>
                </c:pt>
                <c:pt idx="8038">
                  <c:v>971</c:v>
                </c:pt>
                <c:pt idx="8039">
                  <c:v>535</c:v>
                </c:pt>
                <c:pt idx="8040">
                  <c:v>574</c:v>
                </c:pt>
                <c:pt idx="8041">
                  <c:v>755</c:v>
                </c:pt>
                <c:pt idx="8042">
                  <c:v>332</c:v>
                </c:pt>
                <c:pt idx="8043">
                  <c:v>224</c:v>
                </c:pt>
                <c:pt idx="8044">
                  <c:v>534</c:v>
                </c:pt>
                <c:pt idx="8045">
                  <c:v>340</c:v>
                </c:pt>
                <c:pt idx="8046">
                  <c:v>619</c:v>
                </c:pt>
                <c:pt idx="8047">
                  <c:v>702</c:v>
                </c:pt>
                <c:pt idx="8048">
                  <c:v>614</c:v>
                </c:pt>
                <c:pt idx="8049">
                  <c:v>734</c:v>
                </c:pt>
                <c:pt idx="8050">
                  <c:v>510</c:v>
                </c:pt>
                <c:pt idx="8051">
                  <c:v>472</c:v>
                </c:pt>
                <c:pt idx="8052">
                  <c:v>694</c:v>
                </c:pt>
                <c:pt idx="8053">
                  <c:v>725</c:v>
                </c:pt>
                <c:pt idx="8054">
                  <c:v>393</c:v>
                </c:pt>
                <c:pt idx="8055">
                  <c:v>799</c:v>
                </c:pt>
                <c:pt idx="8056">
                  <c:v>670</c:v>
                </c:pt>
                <c:pt idx="8057">
                  <c:v>383</c:v>
                </c:pt>
                <c:pt idx="8058">
                  <c:v>299</c:v>
                </c:pt>
                <c:pt idx="8059">
                  <c:v>257</c:v>
                </c:pt>
                <c:pt idx="8060">
                  <c:v>635</c:v>
                </c:pt>
                <c:pt idx="8061">
                  <c:v>291</c:v>
                </c:pt>
                <c:pt idx="8062">
                  <c:v>627</c:v>
                </c:pt>
                <c:pt idx="8063">
                  <c:v>471</c:v>
                </c:pt>
                <c:pt idx="8064">
                  <c:v>295</c:v>
                </c:pt>
                <c:pt idx="8065">
                  <c:v>298</c:v>
                </c:pt>
                <c:pt idx="8066">
                  <c:v>543</c:v>
                </c:pt>
                <c:pt idx="8067">
                  <c:v>561</c:v>
                </c:pt>
                <c:pt idx="8068">
                  <c:v>602</c:v>
                </c:pt>
                <c:pt idx="8069">
                  <c:v>423</c:v>
                </c:pt>
                <c:pt idx="8070">
                  <c:v>578</c:v>
                </c:pt>
                <c:pt idx="8071">
                  <c:v>1077</c:v>
                </c:pt>
                <c:pt idx="8072">
                  <c:v>356</c:v>
                </c:pt>
                <c:pt idx="8073">
                  <c:v>210</c:v>
                </c:pt>
                <c:pt idx="8074">
                  <c:v>99</c:v>
                </c:pt>
                <c:pt idx="8075">
                  <c:v>419</c:v>
                </c:pt>
                <c:pt idx="8076">
                  <c:v>346</c:v>
                </c:pt>
                <c:pt idx="8077">
                  <c:v>449</c:v>
                </c:pt>
                <c:pt idx="8078">
                  <c:v>356</c:v>
                </c:pt>
                <c:pt idx="8079">
                  <c:v>225</c:v>
                </c:pt>
                <c:pt idx="8080">
                  <c:v>235</c:v>
                </c:pt>
                <c:pt idx="8081">
                  <c:v>313</c:v>
                </c:pt>
                <c:pt idx="8082">
                  <c:v>449</c:v>
                </c:pt>
                <c:pt idx="8083">
                  <c:v>280</c:v>
                </c:pt>
                <c:pt idx="8084">
                  <c:v>51</c:v>
                </c:pt>
                <c:pt idx="8085">
                  <c:v>56</c:v>
                </c:pt>
                <c:pt idx="8086">
                  <c:v>246</c:v>
                </c:pt>
                <c:pt idx="8087">
                  <c:v>130</c:v>
                </c:pt>
                <c:pt idx="8088">
                  <c:v>100</c:v>
                </c:pt>
                <c:pt idx="8089">
                  <c:v>60</c:v>
                </c:pt>
                <c:pt idx="8090">
                  <c:v>64</c:v>
                </c:pt>
                <c:pt idx="8091">
                  <c:v>102</c:v>
                </c:pt>
                <c:pt idx="8092">
                  <c:v>222</c:v>
                </c:pt>
                <c:pt idx="8093">
                  <c:v>195</c:v>
                </c:pt>
                <c:pt idx="8094">
                  <c:v>74</c:v>
                </c:pt>
                <c:pt idx="8095">
                  <c:v>89</c:v>
                </c:pt>
                <c:pt idx="8096">
                  <c:v>66</c:v>
                </c:pt>
                <c:pt idx="8097">
                  <c:v>48</c:v>
                </c:pt>
                <c:pt idx="8098">
                  <c:v>25</c:v>
                </c:pt>
                <c:pt idx="8099">
                  <c:v>28</c:v>
                </c:pt>
                <c:pt idx="8100">
                  <c:v>23</c:v>
                </c:pt>
                <c:pt idx="8101">
                  <c:v>2</c:v>
                </c:pt>
                <c:pt idx="8102">
                  <c:v>0</c:v>
                </c:pt>
                <c:pt idx="8103">
                  <c:v>313</c:v>
                </c:pt>
                <c:pt idx="8104">
                  <c:v>216</c:v>
                </c:pt>
                <c:pt idx="8105">
                  <c:v>93</c:v>
                </c:pt>
                <c:pt idx="8106">
                  <c:v>19</c:v>
                </c:pt>
                <c:pt idx="8107">
                  <c:v>11</c:v>
                </c:pt>
                <c:pt idx="8108">
                  <c:v>234</c:v>
                </c:pt>
                <c:pt idx="8109">
                  <c:v>299</c:v>
                </c:pt>
                <c:pt idx="8110">
                  <c:v>174</c:v>
                </c:pt>
                <c:pt idx="8111">
                  <c:v>136</c:v>
                </c:pt>
                <c:pt idx="8112">
                  <c:v>172</c:v>
                </c:pt>
                <c:pt idx="8113">
                  <c:v>130</c:v>
                </c:pt>
                <c:pt idx="8114">
                  <c:v>54</c:v>
                </c:pt>
                <c:pt idx="8115">
                  <c:v>94</c:v>
                </c:pt>
                <c:pt idx="8116">
                  <c:v>57</c:v>
                </c:pt>
                <c:pt idx="8117">
                  <c:v>49</c:v>
                </c:pt>
                <c:pt idx="8118">
                  <c:v>58</c:v>
                </c:pt>
                <c:pt idx="8119">
                  <c:v>60</c:v>
                </c:pt>
                <c:pt idx="8120">
                  <c:v>41</c:v>
                </c:pt>
                <c:pt idx="8121">
                  <c:v>30</c:v>
                </c:pt>
                <c:pt idx="8122">
                  <c:v>22</c:v>
                </c:pt>
                <c:pt idx="8123">
                  <c:v>17</c:v>
                </c:pt>
                <c:pt idx="8124">
                  <c:v>94</c:v>
                </c:pt>
                <c:pt idx="8125">
                  <c:v>354</c:v>
                </c:pt>
                <c:pt idx="8126">
                  <c:v>144</c:v>
                </c:pt>
                <c:pt idx="8127">
                  <c:v>6</c:v>
                </c:pt>
                <c:pt idx="8128">
                  <c:v>517</c:v>
                </c:pt>
                <c:pt idx="8129">
                  <c:v>302</c:v>
                </c:pt>
                <c:pt idx="8130">
                  <c:v>37</c:v>
                </c:pt>
                <c:pt idx="8131">
                  <c:v>218</c:v>
                </c:pt>
                <c:pt idx="8132">
                  <c:v>185</c:v>
                </c:pt>
                <c:pt idx="8133">
                  <c:v>129</c:v>
                </c:pt>
                <c:pt idx="8134">
                  <c:v>44</c:v>
                </c:pt>
                <c:pt idx="8135">
                  <c:v>49</c:v>
                </c:pt>
                <c:pt idx="8136">
                  <c:v>75</c:v>
                </c:pt>
                <c:pt idx="8137">
                  <c:v>50</c:v>
                </c:pt>
                <c:pt idx="8138">
                  <c:v>52</c:v>
                </c:pt>
                <c:pt idx="8139">
                  <c:v>24</c:v>
                </c:pt>
                <c:pt idx="8140">
                  <c:v>29</c:v>
                </c:pt>
                <c:pt idx="8141">
                  <c:v>29</c:v>
                </c:pt>
                <c:pt idx="8142">
                  <c:v>25</c:v>
                </c:pt>
                <c:pt idx="8143">
                  <c:v>19</c:v>
                </c:pt>
                <c:pt idx="8144">
                  <c:v>16</c:v>
                </c:pt>
                <c:pt idx="8145">
                  <c:v>15</c:v>
                </c:pt>
                <c:pt idx="8146">
                  <c:v>4</c:v>
                </c:pt>
                <c:pt idx="8147">
                  <c:v>4</c:v>
                </c:pt>
                <c:pt idx="8148">
                  <c:v>3</c:v>
                </c:pt>
                <c:pt idx="8149">
                  <c:v>2</c:v>
                </c:pt>
                <c:pt idx="8150">
                  <c:v>3</c:v>
                </c:pt>
                <c:pt idx="8151">
                  <c:v>4</c:v>
                </c:pt>
                <c:pt idx="8152">
                  <c:v>2</c:v>
                </c:pt>
                <c:pt idx="8153">
                  <c:v>0</c:v>
                </c:pt>
                <c:pt idx="8154">
                  <c:v>126</c:v>
                </c:pt>
                <c:pt idx="8155">
                  <c:v>503</c:v>
                </c:pt>
                <c:pt idx="8156">
                  <c:v>72</c:v>
                </c:pt>
                <c:pt idx="8157">
                  <c:v>80</c:v>
                </c:pt>
                <c:pt idx="8158">
                  <c:v>80</c:v>
                </c:pt>
                <c:pt idx="8159">
                  <c:v>149</c:v>
                </c:pt>
                <c:pt idx="8160">
                  <c:v>499</c:v>
                </c:pt>
                <c:pt idx="8161">
                  <c:v>322</c:v>
                </c:pt>
                <c:pt idx="8162">
                  <c:v>402</c:v>
                </c:pt>
                <c:pt idx="8163">
                  <c:v>402</c:v>
                </c:pt>
                <c:pt idx="8164">
                  <c:v>284</c:v>
                </c:pt>
                <c:pt idx="8165">
                  <c:v>43</c:v>
                </c:pt>
                <c:pt idx="8166">
                  <c:v>6</c:v>
                </c:pt>
                <c:pt idx="8167">
                  <c:v>4</c:v>
                </c:pt>
                <c:pt idx="8168">
                  <c:v>5</c:v>
                </c:pt>
                <c:pt idx="8169">
                  <c:v>2</c:v>
                </c:pt>
                <c:pt idx="8170">
                  <c:v>2</c:v>
                </c:pt>
                <c:pt idx="8171">
                  <c:v>2</c:v>
                </c:pt>
                <c:pt idx="8172">
                  <c:v>171</c:v>
                </c:pt>
                <c:pt idx="8173">
                  <c:v>183</c:v>
                </c:pt>
                <c:pt idx="8174">
                  <c:v>85</c:v>
                </c:pt>
                <c:pt idx="8175">
                  <c:v>88</c:v>
                </c:pt>
                <c:pt idx="8176">
                  <c:v>63</c:v>
                </c:pt>
                <c:pt idx="8177">
                  <c:v>33</c:v>
                </c:pt>
                <c:pt idx="8178">
                  <c:v>128</c:v>
                </c:pt>
                <c:pt idx="8179">
                  <c:v>80</c:v>
                </c:pt>
                <c:pt idx="8180">
                  <c:v>48</c:v>
                </c:pt>
                <c:pt idx="8181">
                  <c:v>95</c:v>
                </c:pt>
                <c:pt idx="8182">
                  <c:v>55</c:v>
                </c:pt>
                <c:pt idx="8183">
                  <c:v>50</c:v>
                </c:pt>
                <c:pt idx="8184">
                  <c:v>18</c:v>
                </c:pt>
                <c:pt idx="8185">
                  <c:v>60</c:v>
                </c:pt>
                <c:pt idx="8186">
                  <c:v>31</c:v>
                </c:pt>
                <c:pt idx="8187">
                  <c:v>56</c:v>
                </c:pt>
                <c:pt idx="8188">
                  <c:v>56</c:v>
                </c:pt>
                <c:pt idx="8189">
                  <c:v>28</c:v>
                </c:pt>
                <c:pt idx="8190">
                  <c:v>32</c:v>
                </c:pt>
                <c:pt idx="8191">
                  <c:v>37</c:v>
                </c:pt>
                <c:pt idx="8192">
                  <c:v>23</c:v>
                </c:pt>
                <c:pt idx="8193">
                  <c:v>31</c:v>
                </c:pt>
                <c:pt idx="8194">
                  <c:v>28</c:v>
                </c:pt>
                <c:pt idx="8195">
                  <c:v>14</c:v>
                </c:pt>
                <c:pt idx="8196">
                  <c:v>32</c:v>
                </c:pt>
                <c:pt idx="8197">
                  <c:v>33</c:v>
                </c:pt>
                <c:pt idx="8198">
                  <c:v>27</c:v>
                </c:pt>
                <c:pt idx="8199">
                  <c:v>11</c:v>
                </c:pt>
                <c:pt idx="8200">
                  <c:v>20</c:v>
                </c:pt>
                <c:pt idx="8201">
                  <c:v>16</c:v>
                </c:pt>
                <c:pt idx="8202">
                  <c:v>35</c:v>
                </c:pt>
                <c:pt idx="8203">
                  <c:v>33</c:v>
                </c:pt>
                <c:pt idx="8204">
                  <c:v>3</c:v>
                </c:pt>
                <c:pt idx="8205">
                  <c:v>19</c:v>
                </c:pt>
                <c:pt idx="8206">
                  <c:v>26</c:v>
                </c:pt>
                <c:pt idx="8207">
                  <c:v>9</c:v>
                </c:pt>
                <c:pt idx="8208">
                  <c:v>6</c:v>
                </c:pt>
                <c:pt idx="8209">
                  <c:v>13</c:v>
                </c:pt>
                <c:pt idx="8210">
                  <c:v>9</c:v>
                </c:pt>
                <c:pt idx="8211">
                  <c:v>14</c:v>
                </c:pt>
                <c:pt idx="8212">
                  <c:v>10</c:v>
                </c:pt>
                <c:pt idx="8213">
                  <c:v>12</c:v>
                </c:pt>
                <c:pt idx="8214">
                  <c:v>10</c:v>
                </c:pt>
                <c:pt idx="8215">
                  <c:v>15</c:v>
                </c:pt>
                <c:pt idx="8216">
                  <c:v>13</c:v>
                </c:pt>
                <c:pt idx="8217">
                  <c:v>3</c:v>
                </c:pt>
                <c:pt idx="8218">
                  <c:v>13</c:v>
                </c:pt>
                <c:pt idx="8219">
                  <c:v>1</c:v>
                </c:pt>
                <c:pt idx="8220">
                  <c:v>4</c:v>
                </c:pt>
                <c:pt idx="8221">
                  <c:v>10</c:v>
                </c:pt>
                <c:pt idx="8222">
                  <c:v>4</c:v>
                </c:pt>
                <c:pt idx="8223">
                  <c:v>7</c:v>
                </c:pt>
                <c:pt idx="8224">
                  <c:v>6</c:v>
                </c:pt>
                <c:pt idx="8225">
                  <c:v>1</c:v>
                </c:pt>
                <c:pt idx="8226">
                  <c:v>8</c:v>
                </c:pt>
                <c:pt idx="8227">
                  <c:v>5</c:v>
                </c:pt>
                <c:pt idx="8228">
                  <c:v>1</c:v>
                </c:pt>
                <c:pt idx="8229">
                  <c:v>5</c:v>
                </c:pt>
                <c:pt idx="8230">
                  <c:v>4</c:v>
                </c:pt>
                <c:pt idx="8231">
                  <c:v>4</c:v>
                </c:pt>
                <c:pt idx="8232">
                  <c:v>1</c:v>
                </c:pt>
                <c:pt idx="8233">
                  <c:v>2</c:v>
                </c:pt>
                <c:pt idx="8234">
                  <c:v>3</c:v>
                </c:pt>
                <c:pt idx="8235">
                  <c:v>1</c:v>
                </c:pt>
                <c:pt idx="8236">
                  <c:v>1</c:v>
                </c:pt>
                <c:pt idx="8237">
                  <c:v>3</c:v>
                </c:pt>
                <c:pt idx="8238">
                  <c:v>3</c:v>
                </c:pt>
                <c:pt idx="8239">
                  <c:v>2</c:v>
                </c:pt>
                <c:pt idx="8240">
                  <c:v>1</c:v>
                </c:pt>
                <c:pt idx="8241">
                  <c:v>1</c:v>
                </c:pt>
                <c:pt idx="8242">
                  <c:v>0</c:v>
                </c:pt>
                <c:pt idx="8243">
                  <c:v>1</c:v>
                </c:pt>
                <c:pt idx="8244">
                  <c:v>1</c:v>
                </c:pt>
                <c:pt idx="8245">
                  <c:v>1</c:v>
                </c:pt>
                <c:pt idx="8246">
                  <c:v>0</c:v>
                </c:pt>
                <c:pt idx="8247">
                  <c:v>0</c:v>
                </c:pt>
                <c:pt idx="8248">
                  <c:v>0</c:v>
                </c:pt>
                <c:pt idx="8249">
                  <c:v>0</c:v>
                </c:pt>
                <c:pt idx="8250">
                  <c:v>0</c:v>
                </c:pt>
                <c:pt idx="8251">
                  <c:v>0</c:v>
                </c:pt>
                <c:pt idx="8252">
                  <c:v>0</c:v>
                </c:pt>
                <c:pt idx="8253">
                  <c:v>0</c:v>
                </c:pt>
                <c:pt idx="8254">
                  <c:v>0</c:v>
                </c:pt>
                <c:pt idx="8255">
                  <c:v>0</c:v>
                </c:pt>
                <c:pt idx="8256">
                  <c:v>0</c:v>
                </c:pt>
                <c:pt idx="8257">
                  <c:v>0</c:v>
                </c:pt>
                <c:pt idx="8258">
                  <c:v>0</c:v>
                </c:pt>
                <c:pt idx="8259">
                  <c:v>0</c:v>
                </c:pt>
                <c:pt idx="8260">
                  <c:v>0</c:v>
                </c:pt>
                <c:pt idx="8261">
                  <c:v>126</c:v>
                </c:pt>
                <c:pt idx="8262">
                  <c:v>123</c:v>
                </c:pt>
                <c:pt idx="8263">
                  <c:v>15</c:v>
                </c:pt>
                <c:pt idx="8264">
                  <c:v>4</c:v>
                </c:pt>
                <c:pt idx="8265">
                  <c:v>187</c:v>
                </c:pt>
                <c:pt idx="8266">
                  <c:v>520</c:v>
                </c:pt>
                <c:pt idx="8267">
                  <c:v>328</c:v>
                </c:pt>
                <c:pt idx="8268">
                  <c:v>571</c:v>
                </c:pt>
                <c:pt idx="8269">
                  <c:v>298</c:v>
                </c:pt>
                <c:pt idx="8270">
                  <c:v>226</c:v>
                </c:pt>
                <c:pt idx="8271">
                  <c:v>151</c:v>
                </c:pt>
                <c:pt idx="8272">
                  <c:v>421</c:v>
                </c:pt>
                <c:pt idx="8273">
                  <c:v>339</c:v>
                </c:pt>
                <c:pt idx="8274">
                  <c:v>320</c:v>
                </c:pt>
                <c:pt idx="8275">
                  <c:v>208</c:v>
                </c:pt>
                <c:pt idx="8276">
                  <c:v>382</c:v>
                </c:pt>
                <c:pt idx="8277">
                  <c:v>181</c:v>
                </c:pt>
                <c:pt idx="8278">
                  <c:v>190</c:v>
                </c:pt>
                <c:pt idx="8279">
                  <c:v>202</c:v>
                </c:pt>
                <c:pt idx="8280">
                  <c:v>128</c:v>
                </c:pt>
                <c:pt idx="8281">
                  <c:v>188</c:v>
                </c:pt>
                <c:pt idx="8282">
                  <c:v>184</c:v>
                </c:pt>
                <c:pt idx="8283">
                  <c:v>202</c:v>
                </c:pt>
                <c:pt idx="8284">
                  <c:v>134</c:v>
                </c:pt>
                <c:pt idx="8285">
                  <c:v>122</c:v>
                </c:pt>
                <c:pt idx="8286">
                  <c:v>60</c:v>
                </c:pt>
                <c:pt idx="8287">
                  <c:v>0</c:v>
                </c:pt>
                <c:pt idx="8288">
                  <c:v>413</c:v>
                </c:pt>
                <c:pt idx="8289">
                  <c:v>438</c:v>
                </c:pt>
                <c:pt idx="8290">
                  <c:v>440</c:v>
                </c:pt>
                <c:pt idx="8291">
                  <c:v>449</c:v>
                </c:pt>
                <c:pt idx="8292">
                  <c:v>293</c:v>
                </c:pt>
                <c:pt idx="8293">
                  <c:v>146</c:v>
                </c:pt>
                <c:pt idx="8294">
                  <c:v>239</c:v>
                </c:pt>
                <c:pt idx="8295">
                  <c:v>109</c:v>
                </c:pt>
                <c:pt idx="8296">
                  <c:v>70</c:v>
                </c:pt>
                <c:pt idx="8297">
                  <c:v>61</c:v>
                </c:pt>
                <c:pt idx="8298">
                  <c:v>25</c:v>
                </c:pt>
                <c:pt idx="8299">
                  <c:v>23</c:v>
                </c:pt>
                <c:pt idx="8300">
                  <c:v>17</c:v>
                </c:pt>
                <c:pt idx="8301">
                  <c:v>158</c:v>
                </c:pt>
                <c:pt idx="8302">
                  <c:v>62</c:v>
                </c:pt>
                <c:pt idx="8303">
                  <c:v>78</c:v>
                </c:pt>
                <c:pt idx="8304">
                  <c:v>23</c:v>
                </c:pt>
                <c:pt idx="8305">
                  <c:v>23</c:v>
                </c:pt>
                <c:pt idx="8306">
                  <c:v>20</c:v>
                </c:pt>
                <c:pt idx="8307">
                  <c:v>445</c:v>
                </c:pt>
                <c:pt idx="8308">
                  <c:v>137</c:v>
                </c:pt>
                <c:pt idx="8309">
                  <c:v>108</c:v>
                </c:pt>
                <c:pt idx="8310">
                  <c:v>57</c:v>
                </c:pt>
                <c:pt idx="8311">
                  <c:v>83</c:v>
                </c:pt>
                <c:pt idx="8312">
                  <c:v>65</c:v>
                </c:pt>
                <c:pt idx="8313">
                  <c:v>52</c:v>
                </c:pt>
                <c:pt idx="8314">
                  <c:v>29</c:v>
                </c:pt>
                <c:pt idx="8315">
                  <c:v>45</c:v>
                </c:pt>
                <c:pt idx="8316">
                  <c:v>40</c:v>
                </c:pt>
                <c:pt idx="8317">
                  <c:v>5</c:v>
                </c:pt>
                <c:pt idx="8318">
                  <c:v>34</c:v>
                </c:pt>
                <c:pt idx="8319">
                  <c:v>26</c:v>
                </c:pt>
                <c:pt idx="8320">
                  <c:v>17</c:v>
                </c:pt>
                <c:pt idx="8321">
                  <c:v>21</c:v>
                </c:pt>
                <c:pt idx="8322">
                  <c:v>20</c:v>
                </c:pt>
                <c:pt idx="8323">
                  <c:v>21</c:v>
                </c:pt>
                <c:pt idx="8324">
                  <c:v>19</c:v>
                </c:pt>
                <c:pt idx="8325">
                  <c:v>14</c:v>
                </c:pt>
                <c:pt idx="8326">
                  <c:v>11</c:v>
                </c:pt>
                <c:pt idx="8327">
                  <c:v>8</c:v>
                </c:pt>
                <c:pt idx="8328">
                  <c:v>239</c:v>
                </c:pt>
                <c:pt idx="8329">
                  <c:v>108</c:v>
                </c:pt>
                <c:pt idx="8330">
                  <c:v>100</c:v>
                </c:pt>
                <c:pt idx="8331">
                  <c:v>62</c:v>
                </c:pt>
                <c:pt idx="8332">
                  <c:v>51</c:v>
                </c:pt>
                <c:pt idx="8333">
                  <c:v>23</c:v>
                </c:pt>
                <c:pt idx="8334">
                  <c:v>31</c:v>
                </c:pt>
                <c:pt idx="8335">
                  <c:v>17</c:v>
                </c:pt>
                <c:pt idx="8336">
                  <c:v>45</c:v>
                </c:pt>
                <c:pt idx="8337">
                  <c:v>49</c:v>
                </c:pt>
                <c:pt idx="8338">
                  <c:v>56</c:v>
                </c:pt>
                <c:pt idx="8339">
                  <c:v>19</c:v>
                </c:pt>
                <c:pt idx="8340">
                  <c:v>28</c:v>
                </c:pt>
                <c:pt idx="8341">
                  <c:v>16</c:v>
                </c:pt>
                <c:pt idx="8342">
                  <c:v>21</c:v>
                </c:pt>
                <c:pt idx="8343">
                  <c:v>22</c:v>
                </c:pt>
                <c:pt idx="8344">
                  <c:v>17</c:v>
                </c:pt>
                <c:pt idx="8345">
                  <c:v>13</c:v>
                </c:pt>
                <c:pt idx="8346">
                  <c:v>16</c:v>
                </c:pt>
                <c:pt idx="8347">
                  <c:v>13</c:v>
                </c:pt>
                <c:pt idx="8348">
                  <c:v>8</c:v>
                </c:pt>
                <c:pt idx="8349">
                  <c:v>7</c:v>
                </c:pt>
                <c:pt idx="8350">
                  <c:v>1</c:v>
                </c:pt>
                <c:pt idx="8351">
                  <c:v>337</c:v>
                </c:pt>
                <c:pt idx="8352">
                  <c:v>86</c:v>
                </c:pt>
                <c:pt idx="8353">
                  <c:v>55</c:v>
                </c:pt>
                <c:pt idx="8354">
                  <c:v>81</c:v>
                </c:pt>
                <c:pt idx="8355">
                  <c:v>63</c:v>
                </c:pt>
                <c:pt idx="8356">
                  <c:v>57</c:v>
                </c:pt>
                <c:pt idx="8357">
                  <c:v>59</c:v>
                </c:pt>
                <c:pt idx="8358">
                  <c:v>42</c:v>
                </c:pt>
                <c:pt idx="8359">
                  <c:v>39</c:v>
                </c:pt>
                <c:pt idx="8360">
                  <c:v>27</c:v>
                </c:pt>
                <c:pt idx="8361">
                  <c:v>34</c:v>
                </c:pt>
                <c:pt idx="8362">
                  <c:v>20</c:v>
                </c:pt>
                <c:pt idx="8363">
                  <c:v>31</c:v>
                </c:pt>
                <c:pt idx="8364">
                  <c:v>18</c:v>
                </c:pt>
                <c:pt idx="8365">
                  <c:v>22</c:v>
                </c:pt>
                <c:pt idx="8366">
                  <c:v>6</c:v>
                </c:pt>
                <c:pt idx="8367">
                  <c:v>18</c:v>
                </c:pt>
                <c:pt idx="8368">
                  <c:v>30</c:v>
                </c:pt>
                <c:pt idx="8369">
                  <c:v>19</c:v>
                </c:pt>
                <c:pt idx="8370">
                  <c:v>22</c:v>
                </c:pt>
                <c:pt idx="8371">
                  <c:v>31</c:v>
                </c:pt>
                <c:pt idx="8372">
                  <c:v>11</c:v>
                </c:pt>
                <c:pt idx="8373">
                  <c:v>14</c:v>
                </c:pt>
                <c:pt idx="8374">
                  <c:v>19</c:v>
                </c:pt>
                <c:pt idx="8375">
                  <c:v>21</c:v>
                </c:pt>
                <c:pt idx="8376">
                  <c:v>7</c:v>
                </c:pt>
                <c:pt idx="8377">
                  <c:v>17</c:v>
                </c:pt>
                <c:pt idx="8378">
                  <c:v>16</c:v>
                </c:pt>
                <c:pt idx="8379">
                  <c:v>4</c:v>
                </c:pt>
                <c:pt idx="8380">
                  <c:v>16</c:v>
                </c:pt>
                <c:pt idx="8381">
                  <c:v>17</c:v>
                </c:pt>
                <c:pt idx="8382">
                  <c:v>19</c:v>
                </c:pt>
                <c:pt idx="8383">
                  <c:v>352</c:v>
                </c:pt>
                <c:pt idx="8384">
                  <c:v>561</c:v>
                </c:pt>
                <c:pt idx="8385">
                  <c:v>345</c:v>
                </c:pt>
                <c:pt idx="8386">
                  <c:v>369</c:v>
                </c:pt>
                <c:pt idx="8387">
                  <c:v>319</c:v>
                </c:pt>
                <c:pt idx="8388">
                  <c:v>152</c:v>
                </c:pt>
                <c:pt idx="8389">
                  <c:v>246</c:v>
                </c:pt>
                <c:pt idx="8390">
                  <c:v>350</c:v>
                </c:pt>
                <c:pt idx="8391">
                  <c:v>511</c:v>
                </c:pt>
                <c:pt idx="8392">
                  <c:v>158</c:v>
                </c:pt>
                <c:pt idx="8393">
                  <c:v>442</c:v>
                </c:pt>
                <c:pt idx="8394">
                  <c:v>276</c:v>
                </c:pt>
                <c:pt idx="8395">
                  <c:v>184</c:v>
                </c:pt>
                <c:pt idx="8396">
                  <c:v>333</c:v>
                </c:pt>
                <c:pt idx="8397">
                  <c:v>331</c:v>
                </c:pt>
                <c:pt idx="8398">
                  <c:v>656</c:v>
                </c:pt>
                <c:pt idx="8399">
                  <c:v>675</c:v>
                </c:pt>
                <c:pt idx="8400">
                  <c:v>378</c:v>
                </c:pt>
                <c:pt idx="8401">
                  <c:v>312</c:v>
                </c:pt>
                <c:pt idx="8402">
                  <c:v>210</c:v>
                </c:pt>
                <c:pt idx="8403">
                  <c:v>386</c:v>
                </c:pt>
                <c:pt idx="8404">
                  <c:v>288</c:v>
                </c:pt>
                <c:pt idx="8405">
                  <c:v>228</c:v>
                </c:pt>
                <c:pt idx="8406">
                  <c:v>126</c:v>
                </c:pt>
                <c:pt idx="8407">
                  <c:v>13</c:v>
                </c:pt>
                <c:pt idx="8408">
                  <c:v>1</c:v>
                </c:pt>
                <c:pt idx="8409">
                  <c:v>369</c:v>
                </c:pt>
                <c:pt idx="8410">
                  <c:v>267</c:v>
                </c:pt>
                <c:pt idx="8411">
                  <c:v>459</c:v>
                </c:pt>
                <c:pt idx="8412">
                  <c:v>388</c:v>
                </c:pt>
                <c:pt idx="8413">
                  <c:v>307</c:v>
                </c:pt>
                <c:pt idx="8414">
                  <c:v>562</c:v>
                </c:pt>
                <c:pt idx="8415">
                  <c:v>455</c:v>
                </c:pt>
                <c:pt idx="8416">
                  <c:v>287</c:v>
                </c:pt>
                <c:pt idx="8417">
                  <c:v>330</c:v>
                </c:pt>
                <c:pt idx="8418">
                  <c:v>413</c:v>
                </c:pt>
                <c:pt idx="8419">
                  <c:v>354</c:v>
                </c:pt>
                <c:pt idx="8420">
                  <c:v>322</c:v>
                </c:pt>
                <c:pt idx="8421">
                  <c:v>287</c:v>
                </c:pt>
                <c:pt idx="8422">
                  <c:v>332</c:v>
                </c:pt>
                <c:pt idx="8423">
                  <c:v>152</c:v>
                </c:pt>
                <c:pt idx="8424">
                  <c:v>211</c:v>
                </c:pt>
                <c:pt idx="8425">
                  <c:v>399</c:v>
                </c:pt>
                <c:pt idx="8426">
                  <c:v>291</c:v>
                </c:pt>
                <c:pt idx="8427">
                  <c:v>327</c:v>
                </c:pt>
                <c:pt idx="8428">
                  <c:v>284</c:v>
                </c:pt>
                <c:pt idx="8429">
                  <c:v>319</c:v>
                </c:pt>
                <c:pt idx="8430">
                  <c:v>189</c:v>
                </c:pt>
                <c:pt idx="8431">
                  <c:v>180</c:v>
                </c:pt>
                <c:pt idx="8432">
                  <c:v>144</c:v>
                </c:pt>
                <c:pt idx="8433">
                  <c:v>277</c:v>
                </c:pt>
                <c:pt idx="8434">
                  <c:v>328</c:v>
                </c:pt>
                <c:pt idx="8435">
                  <c:v>204</c:v>
                </c:pt>
                <c:pt idx="8436">
                  <c:v>187</c:v>
                </c:pt>
                <c:pt idx="8437">
                  <c:v>99</c:v>
                </c:pt>
                <c:pt idx="8438">
                  <c:v>93</c:v>
                </c:pt>
                <c:pt idx="8439">
                  <c:v>23</c:v>
                </c:pt>
                <c:pt idx="8440">
                  <c:v>47</c:v>
                </c:pt>
                <c:pt idx="8441">
                  <c:v>39</c:v>
                </c:pt>
                <c:pt idx="8442">
                  <c:v>42</c:v>
                </c:pt>
                <c:pt idx="8443">
                  <c:v>17</c:v>
                </c:pt>
                <c:pt idx="8444">
                  <c:v>28</c:v>
                </c:pt>
                <c:pt idx="8445">
                  <c:v>1</c:v>
                </c:pt>
                <c:pt idx="8446">
                  <c:v>13</c:v>
                </c:pt>
                <c:pt idx="8447">
                  <c:v>9</c:v>
                </c:pt>
                <c:pt idx="8448">
                  <c:v>5</c:v>
                </c:pt>
                <c:pt idx="8449">
                  <c:v>7</c:v>
                </c:pt>
                <c:pt idx="8450">
                  <c:v>7</c:v>
                </c:pt>
                <c:pt idx="8451">
                  <c:v>6</c:v>
                </c:pt>
                <c:pt idx="8452">
                  <c:v>5</c:v>
                </c:pt>
                <c:pt idx="8453">
                  <c:v>2</c:v>
                </c:pt>
                <c:pt idx="8454">
                  <c:v>1</c:v>
                </c:pt>
                <c:pt idx="8455">
                  <c:v>425</c:v>
                </c:pt>
                <c:pt idx="8456">
                  <c:v>289</c:v>
                </c:pt>
                <c:pt idx="8457">
                  <c:v>171</c:v>
                </c:pt>
                <c:pt idx="8458">
                  <c:v>242</c:v>
                </c:pt>
                <c:pt idx="8459">
                  <c:v>291</c:v>
                </c:pt>
                <c:pt idx="8460">
                  <c:v>239</c:v>
                </c:pt>
                <c:pt idx="8461">
                  <c:v>516</c:v>
                </c:pt>
                <c:pt idx="8462">
                  <c:v>226</c:v>
                </c:pt>
                <c:pt idx="8463">
                  <c:v>295</c:v>
                </c:pt>
                <c:pt idx="8464">
                  <c:v>132</c:v>
                </c:pt>
                <c:pt idx="8465">
                  <c:v>177</c:v>
                </c:pt>
                <c:pt idx="8466">
                  <c:v>314</c:v>
                </c:pt>
                <c:pt idx="8467">
                  <c:v>246</c:v>
                </c:pt>
                <c:pt idx="8468">
                  <c:v>226</c:v>
                </c:pt>
                <c:pt idx="8469">
                  <c:v>151</c:v>
                </c:pt>
                <c:pt idx="8470">
                  <c:v>184</c:v>
                </c:pt>
                <c:pt idx="8471">
                  <c:v>122</c:v>
                </c:pt>
                <c:pt idx="8472">
                  <c:v>252</c:v>
                </c:pt>
                <c:pt idx="8473">
                  <c:v>294</c:v>
                </c:pt>
                <c:pt idx="8474">
                  <c:v>293</c:v>
                </c:pt>
                <c:pt idx="8475">
                  <c:v>156</c:v>
                </c:pt>
                <c:pt idx="8476">
                  <c:v>255</c:v>
                </c:pt>
                <c:pt idx="8477">
                  <c:v>148</c:v>
                </c:pt>
                <c:pt idx="8478">
                  <c:v>206</c:v>
                </c:pt>
                <c:pt idx="8479">
                  <c:v>266</c:v>
                </c:pt>
                <c:pt idx="8480">
                  <c:v>255</c:v>
                </c:pt>
                <c:pt idx="8481">
                  <c:v>67</c:v>
                </c:pt>
                <c:pt idx="8482">
                  <c:v>172</c:v>
                </c:pt>
                <c:pt idx="8483">
                  <c:v>170</c:v>
                </c:pt>
                <c:pt idx="8484">
                  <c:v>40</c:v>
                </c:pt>
                <c:pt idx="8485">
                  <c:v>18</c:v>
                </c:pt>
                <c:pt idx="8486">
                  <c:v>97</c:v>
                </c:pt>
                <c:pt idx="8487">
                  <c:v>108</c:v>
                </c:pt>
                <c:pt idx="8488">
                  <c:v>119</c:v>
                </c:pt>
                <c:pt idx="8489">
                  <c:v>100</c:v>
                </c:pt>
                <c:pt idx="8490">
                  <c:v>65</c:v>
                </c:pt>
                <c:pt idx="8491">
                  <c:v>106</c:v>
                </c:pt>
                <c:pt idx="8492">
                  <c:v>69</c:v>
                </c:pt>
                <c:pt idx="8493">
                  <c:v>98</c:v>
                </c:pt>
                <c:pt idx="8494">
                  <c:v>46</c:v>
                </c:pt>
                <c:pt idx="8495">
                  <c:v>83</c:v>
                </c:pt>
                <c:pt idx="8496">
                  <c:v>22</c:v>
                </c:pt>
                <c:pt idx="8497">
                  <c:v>43</c:v>
                </c:pt>
                <c:pt idx="8498">
                  <c:v>25</c:v>
                </c:pt>
                <c:pt idx="8499">
                  <c:v>32</c:v>
                </c:pt>
                <c:pt idx="8500">
                  <c:v>26</c:v>
                </c:pt>
                <c:pt idx="8501">
                  <c:v>39</c:v>
                </c:pt>
                <c:pt idx="8502">
                  <c:v>9</c:v>
                </c:pt>
                <c:pt idx="8503">
                  <c:v>22</c:v>
                </c:pt>
                <c:pt idx="8504">
                  <c:v>27</c:v>
                </c:pt>
                <c:pt idx="8505">
                  <c:v>25</c:v>
                </c:pt>
                <c:pt idx="8506">
                  <c:v>25</c:v>
                </c:pt>
                <c:pt idx="8507">
                  <c:v>17</c:v>
                </c:pt>
                <c:pt idx="8508">
                  <c:v>30</c:v>
                </c:pt>
                <c:pt idx="8509">
                  <c:v>18</c:v>
                </c:pt>
                <c:pt idx="8510">
                  <c:v>15</c:v>
                </c:pt>
                <c:pt idx="8511">
                  <c:v>14</c:v>
                </c:pt>
                <c:pt idx="8512">
                  <c:v>21</c:v>
                </c:pt>
                <c:pt idx="8513">
                  <c:v>11</c:v>
                </c:pt>
                <c:pt idx="8514">
                  <c:v>13</c:v>
                </c:pt>
                <c:pt idx="8515">
                  <c:v>10</c:v>
                </c:pt>
                <c:pt idx="8516">
                  <c:v>7</c:v>
                </c:pt>
                <c:pt idx="8517">
                  <c:v>9</c:v>
                </c:pt>
                <c:pt idx="8518">
                  <c:v>7</c:v>
                </c:pt>
                <c:pt idx="8519">
                  <c:v>7</c:v>
                </c:pt>
                <c:pt idx="8520">
                  <c:v>7</c:v>
                </c:pt>
                <c:pt idx="8521">
                  <c:v>3</c:v>
                </c:pt>
                <c:pt idx="8522">
                  <c:v>1</c:v>
                </c:pt>
                <c:pt idx="8523">
                  <c:v>4</c:v>
                </c:pt>
                <c:pt idx="8524">
                  <c:v>0</c:v>
                </c:pt>
                <c:pt idx="8525">
                  <c:v>2</c:v>
                </c:pt>
                <c:pt idx="8526">
                  <c:v>1</c:v>
                </c:pt>
                <c:pt idx="8527">
                  <c:v>1</c:v>
                </c:pt>
                <c:pt idx="8528">
                  <c:v>0</c:v>
                </c:pt>
                <c:pt idx="8529">
                  <c:v>700</c:v>
                </c:pt>
                <c:pt idx="8530">
                  <c:v>284</c:v>
                </c:pt>
                <c:pt idx="8531">
                  <c:v>216</c:v>
                </c:pt>
                <c:pt idx="8532">
                  <c:v>227</c:v>
                </c:pt>
                <c:pt idx="8533">
                  <c:v>143</c:v>
                </c:pt>
                <c:pt idx="8534">
                  <c:v>197</c:v>
                </c:pt>
                <c:pt idx="8535">
                  <c:v>170</c:v>
                </c:pt>
                <c:pt idx="8536">
                  <c:v>111</c:v>
                </c:pt>
                <c:pt idx="8537">
                  <c:v>151</c:v>
                </c:pt>
                <c:pt idx="8538">
                  <c:v>56</c:v>
                </c:pt>
                <c:pt idx="8539">
                  <c:v>132</c:v>
                </c:pt>
                <c:pt idx="8540">
                  <c:v>98</c:v>
                </c:pt>
                <c:pt idx="8541">
                  <c:v>75</c:v>
                </c:pt>
                <c:pt idx="8542">
                  <c:v>77</c:v>
                </c:pt>
                <c:pt idx="8543">
                  <c:v>57</c:v>
                </c:pt>
                <c:pt idx="8544">
                  <c:v>55</c:v>
                </c:pt>
                <c:pt idx="8545">
                  <c:v>51</c:v>
                </c:pt>
                <c:pt idx="8546">
                  <c:v>44</c:v>
                </c:pt>
                <c:pt idx="8547">
                  <c:v>75</c:v>
                </c:pt>
                <c:pt idx="8548">
                  <c:v>19</c:v>
                </c:pt>
                <c:pt idx="8549">
                  <c:v>31</c:v>
                </c:pt>
                <c:pt idx="8550">
                  <c:v>21</c:v>
                </c:pt>
                <c:pt idx="8551">
                  <c:v>21</c:v>
                </c:pt>
                <c:pt idx="8552">
                  <c:v>23</c:v>
                </c:pt>
                <c:pt idx="8553">
                  <c:v>14</c:v>
                </c:pt>
                <c:pt idx="8554">
                  <c:v>42</c:v>
                </c:pt>
                <c:pt idx="8555">
                  <c:v>8</c:v>
                </c:pt>
                <c:pt idx="8556">
                  <c:v>18</c:v>
                </c:pt>
                <c:pt idx="8557">
                  <c:v>3</c:v>
                </c:pt>
                <c:pt idx="8558">
                  <c:v>6</c:v>
                </c:pt>
                <c:pt idx="8559">
                  <c:v>5</c:v>
                </c:pt>
                <c:pt idx="8560">
                  <c:v>3</c:v>
                </c:pt>
                <c:pt idx="8561">
                  <c:v>2</c:v>
                </c:pt>
                <c:pt idx="8562">
                  <c:v>1</c:v>
                </c:pt>
                <c:pt idx="8563">
                  <c:v>0</c:v>
                </c:pt>
                <c:pt idx="8564">
                  <c:v>219</c:v>
                </c:pt>
                <c:pt idx="8565">
                  <c:v>245</c:v>
                </c:pt>
                <c:pt idx="8566">
                  <c:v>208</c:v>
                </c:pt>
                <c:pt idx="8567">
                  <c:v>124</c:v>
                </c:pt>
                <c:pt idx="8568">
                  <c:v>70</c:v>
                </c:pt>
                <c:pt idx="8569">
                  <c:v>74</c:v>
                </c:pt>
                <c:pt idx="8570">
                  <c:v>72</c:v>
                </c:pt>
                <c:pt idx="8571">
                  <c:v>81</c:v>
                </c:pt>
                <c:pt idx="8572">
                  <c:v>105</c:v>
                </c:pt>
                <c:pt idx="8573">
                  <c:v>42</c:v>
                </c:pt>
                <c:pt idx="8574">
                  <c:v>77</c:v>
                </c:pt>
                <c:pt idx="8575">
                  <c:v>59</c:v>
                </c:pt>
                <c:pt idx="8576">
                  <c:v>55</c:v>
                </c:pt>
                <c:pt idx="8577">
                  <c:v>48</c:v>
                </c:pt>
                <c:pt idx="8578">
                  <c:v>15</c:v>
                </c:pt>
                <c:pt idx="8579">
                  <c:v>20</c:v>
                </c:pt>
                <c:pt idx="8580">
                  <c:v>18</c:v>
                </c:pt>
                <c:pt idx="8581">
                  <c:v>26</c:v>
                </c:pt>
                <c:pt idx="8582">
                  <c:v>21</c:v>
                </c:pt>
                <c:pt idx="8583">
                  <c:v>25</c:v>
                </c:pt>
                <c:pt idx="8584">
                  <c:v>13</c:v>
                </c:pt>
                <c:pt idx="8585">
                  <c:v>29</c:v>
                </c:pt>
                <c:pt idx="8586">
                  <c:v>24</c:v>
                </c:pt>
                <c:pt idx="8587">
                  <c:v>1</c:v>
                </c:pt>
                <c:pt idx="8588">
                  <c:v>18</c:v>
                </c:pt>
                <c:pt idx="8589">
                  <c:v>5</c:v>
                </c:pt>
                <c:pt idx="8590">
                  <c:v>14</c:v>
                </c:pt>
                <c:pt idx="8591">
                  <c:v>1</c:v>
                </c:pt>
                <c:pt idx="8592">
                  <c:v>13</c:v>
                </c:pt>
                <c:pt idx="8593">
                  <c:v>4</c:v>
                </c:pt>
                <c:pt idx="8594">
                  <c:v>8</c:v>
                </c:pt>
                <c:pt idx="8595">
                  <c:v>11</c:v>
                </c:pt>
                <c:pt idx="8596">
                  <c:v>10</c:v>
                </c:pt>
                <c:pt idx="8597">
                  <c:v>6</c:v>
                </c:pt>
                <c:pt idx="8598">
                  <c:v>7</c:v>
                </c:pt>
                <c:pt idx="8599">
                  <c:v>12</c:v>
                </c:pt>
                <c:pt idx="8600">
                  <c:v>6</c:v>
                </c:pt>
                <c:pt idx="8601">
                  <c:v>5</c:v>
                </c:pt>
                <c:pt idx="8602">
                  <c:v>3</c:v>
                </c:pt>
                <c:pt idx="8603">
                  <c:v>4</c:v>
                </c:pt>
                <c:pt idx="8604">
                  <c:v>2</c:v>
                </c:pt>
                <c:pt idx="8605">
                  <c:v>3</c:v>
                </c:pt>
                <c:pt idx="8606">
                  <c:v>5</c:v>
                </c:pt>
                <c:pt idx="8607">
                  <c:v>1</c:v>
                </c:pt>
                <c:pt idx="8608">
                  <c:v>4</c:v>
                </c:pt>
                <c:pt idx="8609">
                  <c:v>1</c:v>
                </c:pt>
                <c:pt idx="8610">
                  <c:v>1</c:v>
                </c:pt>
                <c:pt idx="8611">
                  <c:v>1</c:v>
                </c:pt>
                <c:pt idx="8612">
                  <c:v>1</c:v>
                </c:pt>
                <c:pt idx="8613">
                  <c:v>2</c:v>
                </c:pt>
                <c:pt idx="8614">
                  <c:v>2</c:v>
                </c:pt>
                <c:pt idx="8615">
                  <c:v>1</c:v>
                </c:pt>
                <c:pt idx="8616">
                  <c:v>1</c:v>
                </c:pt>
                <c:pt idx="8617">
                  <c:v>1</c:v>
                </c:pt>
                <c:pt idx="8618">
                  <c:v>0</c:v>
                </c:pt>
                <c:pt idx="8619">
                  <c:v>0</c:v>
                </c:pt>
                <c:pt idx="8620">
                  <c:v>0</c:v>
                </c:pt>
                <c:pt idx="8621">
                  <c:v>0</c:v>
                </c:pt>
                <c:pt idx="8622">
                  <c:v>0</c:v>
                </c:pt>
                <c:pt idx="8623">
                  <c:v>69</c:v>
                </c:pt>
                <c:pt idx="8624">
                  <c:v>54</c:v>
                </c:pt>
                <c:pt idx="8625">
                  <c:v>3</c:v>
                </c:pt>
                <c:pt idx="8626">
                  <c:v>4</c:v>
                </c:pt>
                <c:pt idx="8627">
                  <c:v>125</c:v>
                </c:pt>
                <c:pt idx="8628">
                  <c:v>193</c:v>
                </c:pt>
                <c:pt idx="8629">
                  <c:v>146</c:v>
                </c:pt>
                <c:pt idx="8630">
                  <c:v>77</c:v>
                </c:pt>
                <c:pt idx="8631">
                  <c:v>64</c:v>
                </c:pt>
                <c:pt idx="8632">
                  <c:v>47</c:v>
                </c:pt>
                <c:pt idx="8633">
                  <c:v>24</c:v>
                </c:pt>
                <c:pt idx="8634">
                  <c:v>26</c:v>
                </c:pt>
                <c:pt idx="8635">
                  <c:v>16</c:v>
                </c:pt>
                <c:pt idx="8636">
                  <c:v>29</c:v>
                </c:pt>
                <c:pt idx="8637">
                  <c:v>18</c:v>
                </c:pt>
                <c:pt idx="8638">
                  <c:v>11</c:v>
                </c:pt>
                <c:pt idx="8639">
                  <c:v>15</c:v>
                </c:pt>
                <c:pt idx="8640">
                  <c:v>9</c:v>
                </c:pt>
                <c:pt idx="8641">
                  <c:v>8</c:v>
                </c:pt>
                <c:pt idx="8642">
                  <c:v>9</c:v>
                </c:pt>
                <c:pt idx="8643">
                  <c:v>4</c:v>
                </c:pt>
                <c:pt idx="8644">
                  <c:v>4</c:v>
                </c:pt>
                <c:pt idx="8645">
                  <c:v>2</c:v>
                </c:pt>
                <c:pt idx="8646">
                  <c:v>3</c:v>
                </c:pt>
                <c:pt idx="8647">
                  <c:v>2</c:v>
                </c:pt>
                <c:pt idx="8648">
                  <c:v>2</c:v>
                </c:pt>
                <c:pt idx="8649">
                  <c:v>1</c:v>
                </c:pt>
                <c:pt idx="8650">
                  <c:v>0</c:v>
                </c:pt>
                <c:pt idx="8651">
                  <c:v>237</c:v>
                </c:pt>
                <c:pt idx="8652">
                  <c:v>52</c:v>
                </c:pt>
                <c:pt idx="8653">
                  <c:v>15</c:v>
                </c:pt>
                <c:pt idx="8654">
                  <c:v>6</c:v>
                </c:pt>
                <c:pt idx="8655">
                  <c:v>6</c:v>
                </c:pt>
                <c:pt idx="8656">
                  <c:v>4</c:v>
                </c:pt>
                <c:pt idx="8657">
                  <c:v>2</c:v>
                </c:pt>
                <c:pt idx="8658">
                  <c:v>3</c:v>
                </c:pt>
                <c:pt idx="8659">
                  <c:v>56</c:v>
                </c:pt>
                <c:pt idx="8660">
                  <c:v>36</c:v>
                </c:pt>
                <c:pt idx="8661">
                  <c:v>6</c:v>
                </c:pt>
                <c:pt idx="8662">
                  <c:v>6</c:v>
                </c:pt>
                <c:pt idx="8663">
                  <c:v>6</c:v>
                </c:pt>
                <c:pt idx="8664">
                  <c:v>1</c:v>
                </c:pt>
                <c:pt idx="8665">
                  <c:v>0</c:v>
                </c:pt>
                <c:pt idx="8666">
                  <c:v>0</c:v>
                </c:pt>
                <c:pt idx="8667">
                  <c:v>24</c:v>
                </c:pt>
                <c:pt idx="8668">
                  <c:v>72</c:v>
                </c:pt>
                <c:pt idx="8669">
                  <c:v>24</c:v>
                </c:pt>
                <c:pt idx="8670">
                  <c:v>18</c:v>
                </c:pt>
                <c:pt idx="8671">
                  <c:v>19</c:v>
                </c:pt>
                <c:pt idx="8672">
                  <c:v>17</c:v>
                </c:pt>
                <c:pt idx="8673">
                  <c:v>10</c:v>
                </c:pt>
                <c:pt idx="8674">
                  <c:v>8</c:v>
                </c:pt>
                <c:pt idx="8675">
                  <c:v>6</c:v>
                </c:pt>
                <c:pt idx="8676">
                  <c:v>3</c:v>
                </c:pt>
                <c:pt idx="8677">
                  <c:v>3</c:v>
                </c:pt>
                <c:pt idx="8678">
                  <c:v>3</c:v>
                </c:pt>
                <c:pt idx="8679">
                  <c:v>1</c:v>
                </c:pt>
                <c:pt idx="8680">
                  <c:v>1</c:v>
                </c:pt>
                <c:pt idx="8681">
                  <c:v>1</c:v>
                </c:pt>
                <c:pt idx="8682">
                  <c:v>0</c:v>
                </c:pt>
                <c:pt idx="8683">
                  <c:v>0</c:v>
                </c:pt>
                <c:pt idx="8684">
                  <c:v>0</c:v>
                </c:pt>
                <c:pt idx="8685">
                  <c:v>101</c:v>
                </c:pt>
                <c:pt idx="8686">
                  <c:v>31</c:v>
                </c:pt>
                <c:pt idx="8687">
                  <c:v>20</c:v>
                </c:pt>
                <c:pt idx="8688">
                  <c:v>21</c:v>
                </c:pt>
                <c:pt idx="8689">
                  <c:v>14</c:v>
                </c:pt>
                <c:pt idx="8690">
                  <c:v>7</c:v>
                </c:pt>
                <c:pt idx="8691">
                  <c:v>12</c:v>
                </c:pt>
                <c:pt idx="8692">
                  <c:v>7</c:v>
                </c:pt>
                <c:pt idx="8693">
                  <c:v>7</c:v>
                </c:pt>
                <c:pt idx="8694">
                  <c:v>0</c:v>
                </c:pt>
                <c:pt idx="8695">
                  <c:v>3</c:v>
                </c:pt>
                <c:pt idx="8696">
                  <c:v>2</c:v>
                </c:pt>
                <c:pt idx="8697">
                  <c:v>1</c:v>
                </c:pt>
                <c:pt idx="8698">
                  <c:v>0</c:v>
                </c:pt>
                <c:pt idx="8699">
                  <c:v>65</c:v>
                </c:pt>
                <c:pt idx="8700">
                  <c:v>28</c:v>
                </c:pt>
                <c:pt idx="8701">
                  <c:v>18</c:v>
                </c:pt>
                <c:pt idx="8702">
                  <c:v>10</c:v>
                </c:pt>
                <c:pt idx="8703">
                  <c:v>8</c:v>
                </c:pt>
                <c:pt idx="8704">
                  <c:v>173</c:v>
                </c:pt>
                <c:pt idx="8705">
                  <c:v>156</c:v>
                </c:pt>
                <c:pt idx="8706">
                  <c:v>154</c:v>
                </c:pt>
                <c:pt idx="8707">
                  <c:v>151</c:v>
                </c:pt>
                <c:pt idx="8708">
                  <c:v>135</c:v>
                </c:pt>
                <c:pt idx="8709">
                  <c:v>177</c:v>
                </c:pt>
                <c:pt idx="8710">
                  <c:v>112</c:v>
                </c:pt>
                <c:pt idx="8711">
                  <c:v>165</c:v>
                </c:pt>
                <c:pt idx="8712">
                  <c:v>106</c:v>
                </c:pt>
                <c:pt idx="8713">
                  <c:v>85</c:v>
                </c:pt>
                <c:pt idx="8714">
                  <c:v>109</c:v>
                </c:pt>
                <c:pt idx="8715">
                  <c:v>105</c:v>
                </c:pt>
                <c:pt idx="8716">
                  <c:v>152</c:v>
                </c:pt>
                <c:pt idx="8717">
                  <c:v>37</c:v>
                </c:pt>
                <c:pt idx="8718">
                  <c:v>155</c:v>
                </c:pt>
                <c:pt idx="8719">
                  <c:v>96</c:v>
                </c:pt>
                <c:pt idx="8720">
                  <c:v>91</c:v>
                </c:pt>
                <c:pt idx="8721">
                  <c:v>79</c:v>
                </c:pt>
                <c:pt idx="8722">
                  <c:v>73</c:v>
                </c:pt>
                <c:pt idx="8723">
                  <c:v>83</c:v>
                </c:pt>
                <c:pt idx="8724">
                  <c:v>106</c:v>
                </c:pt>
                <c:pt idx="8725">
                  <c:v>83</c:v>
                </c:pt>
                <c:pt idx="8726">
                  <c:v>80</c:v>
                </c:pt>
                <c:pt idx="8727">
                  <c:v>59</c:v>
                </c:pt>
                <c:pt idx="8728">
                  <c:v>101</c:v>
                </c:pt>
                <c:pt idx="8729">
                  <c:v>52</c:v>
                </c:pt>
                <c:pt idx="8730">
                  <c:v>61</c:v>
                </c:pt>
                <c:pt idx="8731">
                  <c:v>58</c:v>
                </c:pt>
                <c:pt idx="8732">
                  <c:v>62</c:v>
                </c:pt>
                <c:pt idx="8733">
                  <c:v>59</c:v>
                </c:pt>
                <c:pt idx="8734">
                  <c:v>43</c:v>
                </c:pt>
                <c:pt idx="8735">
                  <c:v>31</c:v>
                </c:pt>
                <c:pt idx="8736">
                  <c:v>28</c:v>
                </c:pt>
                <c:pt idx="8737">
                  <c:v>31</c:v>
                </c:pt>
                <c:pt idx="8738">
                  <c:v>34</c:v>
                </c:pt>
                <c:pt idx="8739">
                  <c:v>73</c:v>
                </c:pt>
                <c:pt idx="8740">
                  <c:v>31</c:v>
                </c:pt>
                <c:pt idx="8741">
                  <c:v>54</c:v>
                </c:pt>
                <c:pt idx="8742">
                  <c:v>188</c:v>
                </c:pt>
                <c:pt idx="8743">
                  <c:v>77</c:v>
                </c:pt>
                <c:pt idx="8744">
                  <c:v>159</c:v>
                </c:pt>
                <c:pt idx="8745">
                  <c:v>2054</c:v>
                </c:pt>
                <c:pt idx="8746">
                  <c:v>429</c:v>
                </c:pt>
                <c:pt idx="8747">
                  <c:v>1357</c:v>
                </c:pt>
                <c:pt idx="8748">
                  <c:v>1521</c:v>
                </c:pt>
                <c:pt idx="8749">
                  <c:v>815</c:v>
                </c:pt>
                <c:pt idx="8750">
                  <c:v>1544</c:v>
                </c:pt>
                <c:pt idx="8751">
                  <c:v>1910</c:v>
                </c:pt>
                <c:pt idx="8752">
                  <c:v>1095</c:v>
                </c:pt>
                <c:pt idx="8753">
                  <c:v>1465</c:v>
                </c:pt>
                <c:pt idx="8754">
                  <c:v>1218</c:v>
                </c:pt>
                <c:pt idx="8755">
                  <c:v>1326</c:v>
                </c:pt>
                <c:pt idx="8756">
                  <c:v>665</c:v>
                </c:pt>
                <c:pt idx="8757">
                  <c:v>1293</c:v>
                </c:pt>
                <c:pt idx="8758">
                  <c:v>1123</c:v>
                </c:pt>
                <c:pt idx="8759">
                  <c:v>845</c:v>
                </c:pt>
                <c:pt idx="8760">
                  <c:v>650</c:v>
                </c:pt>
                <c:pt idx="8761">
                  <c:v>1322</c:v>
                </c:pt>
                <c:pt idx="8762">
                  <c:v>1911</c:v>
                </c:pt>
                <c:pt idx="8763">
                  <c:v>832</c:v>
                </c:pt>
                <c:pt idx="8764">
                  <c:v>1026</c:v>
                </c:pt>
                <c:pt idx="8765">
                  <c:v>762</c:v>
                </c:pt>
                <c:pt idx="8766">
                  <c:v>916</c:v>
                </c:pt>
                <c:pt idx="8767">
                  <c:v>634</c:v>
                </c:pt>
                <c:pt idx="8768">
                  <c:v>601</c:v>
                </c:pt>
                <c:pt idx="8769">
                  <c:v>1949</c:v>
                </c:pt>
                <c:pt idx="8770">
                  <c:v>829</c:v>
                </c:pt>
                <c:pt idx="8771">
                  <c:v>1280</c:v>
                </c:pt>
                <c:pt idx="8772">
                  <c:v>1046</c:v>
                </c:pt>
                <c:pt idx="8773">
                  <c:v>907</c:v>
                </c:pt>
                <c:pt idx="8774">
                  <c:v>1029</c:v>
                </c:pt>
                <c:pt idx="8775">
                  <c:v>792</c:v>
                </c:pt>
                <c:pt idx="8776">
                  <c:v>1991</c:v>
                </c:pt>
                <c:pt idx="8777">
                  <c:v>1003</c:v>
                </c:pt>
                <c:pt idx="8778">
                  <c:v>1217</c:v>
                </c:pt>
                <c:pt idx="8779">
                  <c:v>1404</c:v>
                </c:pt>
                <c:pt idx="8780">
                  <c:v>1515</c:v>
                </c:pt>
                <c:pt idx="8781">
                  <c:v>919</c:v>
                </c:pt>
                <c:pt idx="8782">
                  <c:v>850</c:v>
                </c:pt>
                <c:pt idx="8783">
                  <c:v>759</c:v>
                </c:pt>
                <c:pt idx="8784">
                  <c:v>926</c:v>
                </c:pt>
                <c:pt idx="8785">
                  <c:v>1058</c:v>
                </c:pt>
                <c:pt idx="8786">
                  <c:v>1372</c:v>
                </c:pt>
                <c:pt idx="8787">
                  <c:v>1137</c:v>
                </c:pt>
                <c:pt idx="8788">
                  <c:v>814</c:v>
                </c:pt>
                <c:pt idx="8789">
                  <c:v>952</c:v>
                </c:pt>
                <c:pt idx="8790">
                  <c:v>1096</c:v>
                </c:pt>
                <c:pt idx="8791">
                  <c:v>858</c:v>
                </c:pt>
                <c:pt idx="8792">
                  <c:v>1707</c:v>
                </c:pt>
                <c:pt idx="8793">
                  <c:v>538</c:v>
                </c:pt>
                <c:pt idx="8794">
                  <c:v>1178</c:v>
                </c:pt>
                <c:pt idx="8795">
                  <c:v>1022</c:v>
                </c:pt>
                <c:pt idx="8796">
                  <c:v>1253</c:v>
                </c:pt>
                <c:pt idx="8797">
                  <c:v>559</c:v>
                </c:pt>
                <c:pt idx="8798">
                  <c:v>508</c:v>
                </c:pt>
                <c:pt idx="8799">
                  <c:v>882</c:v>
                </c:pt>
                <c:pt idx="8800">
                  <c:v>726</c:v>
                </c:pt>
                <c:pt idx="8801">
                  <c:v>839</c:v>
                </c:pt>
                <c:pt idx="8802">
                  <c:v>997</c:v>
                </c:pt>
                <c:pt idx="8803">
                  <c:v>1534</c:v>
                </c:pt>
                <c:pt idx="8804">
                  <c:v>756</c:v>
                </c:pt>
                <c:pt idx="8805">
                  <c:v>625</c:v>
                </c:pt>
                <c:pt idx="8806">
                  <c:v>864</c:v>
                </c:pt>
                <c:pt idx="8807">
                  <c:v>309</c:v>
                </c:pt>
                <c:pt idx="8808">
                  <c:v>1407</c:v>
                </c:pt>
                <c:pt idx="8809">
                  <c:v>870</c:v>
                </c:pt>
                <c:pt idx="8810">
                  <c:v>984</c:v>
                </c:pt>
                <c:pt idx="8811">
                  <c:v>1010</c:v>
                </c:pt>
                <c:pt idx="8812">
                  <c:v>1139</c:v>
                </c:pt>
                <c:pt idx="8813">
                  <c:v>880</c:v>
                </c:pt>
                <c:pt idx="8814">
                  <c:v>456</c:v>
                </c:pt>
                <c:pt idx="8815">
                  <c:v>706</c:v>
                </c:pt>
                <c:pt idx="8816">
                  <c:v>1676</c:v>
                </c:pt>
                <c:pt idx="8817">
                  <c:v>894</c:v>
                </c:pt>
                <c:pt idx="8818">
                  <c:v>567</c:v>
                </c:pt>
                <c:pt idx="8819">
                  <c:v>985</c:v>
                </c:pt>
                <c:pt idx="8820">
                  <c:v>866</c:v>
                </c:pt>
                <c:pt idx="8821">
                  <c:v>672</c:v>
                </c:pt>
                <c:pt idx="8822">
                  <c:v>992</c:v>
                </c:pt>
                <c:pt idx="8823">
                  <c:v>641</c:v>
                </c:pt>
                <c:pt idx="8824">
                  <c:v>480</c:v>
                </c:pt>
                <c:pt idx="8825">
                  <c:v>937</c:v>
                </c:pt>
                <c:pt idx="8826">
                  <c:v>765</c:v>
                </c:pt>
                <c:pt idx="8827">
                  <c:v>934</c:v>
                </c:pt>
                <c:pt idx="8828">
                  <c:v>648</c:v>
                </c:pt>
                <c:pt idx="8829">
                  <c:v>1178</c:v>
                </c:pt>
                <c:pt idx="8830">
                  <c:v>1079</c:v>
                </c:pt>
                <c:pt idx="8831">
                  <c:v>562</c:v>
                </c:pt>
                <c:pt idx="8832">
                  <c:v>660</c:v>
                </c:pt>
                <c:pt idx="8833">
                  <c:v>767</c:v>
                </c:pt>
                <c:pt idx="8834">
                  <c:v>650</c:v>
                </c:pt>
                <c:pt idx="8835">
                  <c:v>530</c:v>
                </c:pt>
                <c:pt idx="8836">
                  <c:v>563</c:v>
                </c:pt>
                <c:pt idx="8837">
                  <c:v>888</c:v>
                </c:pt>
                <c:pt idx="8838">
                  <c:v>926</c:v>
                </c:pt>
                <c:pt idx="8839">
                  <c:v>954</c:v>
                </c:pt>
                <c:pt idx="8840">
                  <c:v>95</c:v>
                </c:pt>
                <c:pt idx="8841">
                  <c:v>293</c:v>
                </c:pt>
                <c:pt idx="8842">
                  <c:v>157</c:v>
                </c:pt>
                <c:pt idx="8843">
                  <c:v>123</c:v>
                </c:pt>
                <c:pt idx="8844">
                  <c:v>223</c:v>
                </c:pt>
                <c:pt idx="8845">
                  <c:v>140</c:v>
                </c:pt>
                <c:pt idx="8846">
                  <c:v>54</c:v>
                </c:pt>
                <c:pt idx="8847">
                  <c:v>230</c:v>
                </c:pt>
                <c:pt idx="8848">
                  <c:v>13</c:v>
                </c:pt>
                <c:pt idx="8849">
                  <c:v>279</c:v>
                </c:pt>
                <c:pt idx="8850">
                  <c:v>247</c:v>
                </c:pt>
                <c:pt idx="8851">
                  <c:v>10</c:v>
                </c:pt>
                <c:pt idx="8852">
                  <c:v>19</c:v>
                </c:pt>
                <c:pt idx="8853">
                  <c:v>7</c:v>
                </c:pt>
                <c:pt idx="8854">
                  <c:v>154</c:v>
                </c:pt>
                <c:pt idx="8855">
                  <c:v>8</c:v>
                </c:pt>
                <c:pt idx="8856">
                  <c:v>1276</c:v>
                </c:pt>
                <c:pt idx="8857">
                  <c:v>700</c:v>
                </c:pt>
                <c:pt idx="8858">
                  <c:v>232</c:v>
                </c:pt>
                <c:pt idx="8859">
                  <c:v>163</c:v>
                </c:pt>
                <c:pt idx="8860">
                  <c:v>55</c:v>
                </c:pt>
                <c:pt idx="8861">
                  <c:v>5</c:v>
                </c:pt>
                <c:pt idx="8862">
                  <c:v>197</c:v>
                </c:pt>
                <c:pt idx="8863">
                  <c:v>96</c:v>
                </c:pt>
                <c:pt idx="8864">
                  <c:v>615</c:v>
                </c:pt>
                <c:pt idx="8865">
                  <c:v>1002</c:v>
                </c:pt>
                <c:pt idx="8866">
                  <c:v>724</c:v>
                </c:pt>
                <c:pt idx="8867">
                  <c:v>438</c:v>
                </c:pt>
                <c:pt idx="8868">
                  <c:v>334</c:v>
                </c:pt>
                <c:pt idx="8869">
                  <c:v>91</c:v>
                </c:pt>
                <c:pt idx="8870">
                  <c:v>52</c:v>
                </c:pt>
                <c:pt idx="8871">
                  <c:v>56</c:v>
                </c:pt>
                <c:pt idx="8872">
                  <c:v>56</c:v>
                </c:pt>
                <c:pt idx="8873">
                  <c:v>33</c:v>
                </c:pt>
                <c:pt idx="8874">
                  <c:v>85</c:v>
                </c:pt>
                <c:pt idx="8875">
                  <c:v>34</c:v>
                </c:pt>
                <c:pt idx="8876">
                  <c:v>37</c:v>
                </c:pt>
                <c:pt idx="8877">
                  <c:v>30</c:v>
                </c:pt>
                <c:pt idx="8878">
                  <c:v>4</c:v>
                </c:pt>
                <c:pt idx="8879">
                  <c:v>33</c:v>
                </c:pt>
                <c:pt idx="8880">
                  <c:v>16</c:v>
                </c:pt>
                <c:pt idx="8881">
                  <c:v>10</c:v>
                </c:pt>
                <c:pt idx="8882">
                  <c:v>5</c:v>
                </c:pt>
                <c:pt idx="8883">
                  <c:v>3</c:v>
                </c:pt>
                <c:pt idx="8884">
                  <c:v>2</c:v>
                </c:pt>
                <c:pt idx="8885">
                  <c:v>184</c:v>
                </c:pt>
                <c:pt idx="8886">
                  <c:v>1</c:v>
                </c:pt>
                <c:pt idx="8887">
                  <c:v>344</c:v>
                </c:pt>
                <c:pt idx="8888">
                  <c:v>292</c:v>
                </c:pt>
                <c:pt idx="8889">
                  <c:v>308</c:v>
                </c:pt>
                <c:pt idx="8890">
                  <c:v>221</c:v>
                </c:pt>
                <c:pt idx="8891">
                  <c:v>227</c:v>
                </c:pt>
                <c:pt idx="8892">
                  <c:v>169</c:v>
                </c:pt>
                <c:pt idx="8893">
                  <c:v>161</c:v>
                </c:pt>
                <c:pt idx="8894">
                  <c:v>266</c:v>
                </c:pt>
                <c:pt idx="8895">
                  <c:v>110</c:v>
                </c:pt>
                <c:pt idx="8896">
                  <c:v>44</c:v>
                </c:pt>
                <c:pt idx="8897">
                  <c:v>33</c:v>
                </c:pt>
                <c:pt idx="8898">
                  <c:v>4</c:v>
                </c:pt>
                <c:pt idx="8899">
                  <c:v>9</c:v>
                </c:pt>
                <c:pt idx="8900">
                  <c:v>466</c:v>
                </c:pt>
                <c:pt idx="8901">
                  <c:v>569</c:v>
                </c:pt>
                <c:pt idx="8902">
                  <c:v>507</c:v>
                </c:pt>
                <c:pt idx="8903">
                  <c:v>299</c:v>
                </c:pt>
                <c:pt idx="8904">
                  <c:v>250</c:v>
                </c:pt>
                <c:pt idx="8905">
                  <c:v>28</c:v>
                </c:pt>
                <c:pt idx="8906">
                  <c:v>16</c:v>
                </c:pt>
                <c:pt idx="8907">
                  <c:v>328</c:v>
                </c:pt>
                <c:pt idx="8908">
                  <c:v>466</c:v>
                </c:pt>
                <c:pt idx="8909">
                  <c:v>551</c:v>
                </c:pt>
                <c:pt idx="8910">
                  <c:v>354</c:v>
                </c:pt>
                <c:pt idx="8911">
                  <c:v>292</c:v>
                </c:pt>
                <c:pt idx="8912">
                  <c:v>300</c:v>
                </c:pt>
                <c:pt idx="8913">
                  <c:v>184</c:v>
                </c:pt>
                <c:pt idx="8914">
                  <c:v>182</c:v>
                </c:pt>
                <c:pt idx="8915">
                  <c:v>129</c:v>
                </c:pt>
                <c:pt idx="8916">
                  <c:v>74</c:v>
                </c:pt>
                <c:pt idx="8917">
                  <c:v>80</c:v>
                </c:pt>
                <c:pt idx="8918">
                  <c:v>59</c:v>
                </c:pt>
                <c:pt idx="8919">
                  <c:v>43</c:v>
                </c:pt>
                <c:pt idx="8920">
                  <c:v>4</c:v>
                </c:pt>
                <c:pt idx="8921">
                  <c:v>2</c:v>
                </c:pt>
                <c:pt idx="8922">
                  <c:v>3</c:v>
                </c:pt>
                <c:pt idx="8923">
                  <c:v>903</c:v>
                </c:pt>
                <c:pt idx="8924">
                  <c:v>929</c:v>
                </c:pt>
                <c:pt idx="8925">
                  <c:v>458</c:v>
                </c:pt>
                <c:pt idx="8926">
                  <c:v>556</c:v>
                </c:pt>
                <c:pt idx="8927">
                  <c:v>585</c:v>
                </c:pt>
                <c:pt idx="8928">
                  <c:v>637</c:v>
                </c:pt>
                <c:pt idx="8929">
                  <c:v>414</c:v>
                </c:pt>
                <c:pt idx="8930">
                  <c:v>3</c:v>
                </c:pt>
                <c:pt idx="8931">
                  <c:v>1</c:v>
                </c:pt>
                <c:pt idx="8932">
                  <c:v>2</c:v>
                </c:pt>
                <c:pt idx="8933">
                  <c:v>245</c:v>
                </c:pt>
                <c:pt idx="8934">
                  <c:v>245</c:v>
                </c:pt>
                <c:pt idx="8935">
                  <c:v>156</c:v>
                </c:pt>
                <c:pt idx="8936">
                  <c:v>201</c:v>
                </c:pt>
                <c:pt idx="8937">
                  <c:v>124</c:v>
                </c:pt>
                <c:pt idx="8938">
                  <c:v>95</c:v>
                </c:pt>
                <c:pt idx="8939">
                  <c:v>120</c:v>
                </c:pt>
                <c:pt idx="8940">
                  <c:v>135</c:v>
                </c:pt>
                <c:pt idx="8941">
                  <c:v>136</c:v>
                </c:pt>
                <c:pt idx="8942">
                  <c:v>104</c:v>
                </c:pt>
                <c:pt idx="8943">
                  <c:v>78</c:v>
                </c:pt>
                <c:pt idx="8944">
                  <c:v>72</c:v>
                </c:pt>
                <c:pt idx="8945">
                  <c:v>55</c:v>
                </c:pt>
                <c:pt idx="8946">
                  <c:v>84</c:v>
                </c:pt>
                <c:pt idx="8947">
                  <c:v>98</c:v>
                </c:pt>
                <c:pt idx="8948">
                  <c:v>70</c:v>
                </c:pt>
                <c:pt idx="8949">
                  <c:v>70</c:v>
                </c:pt>
                <c:pt idx="8950">
                  <c:v>60</c:v>
                </c:pt>
                <c:pt idx="8951">
                  <c:v>6</c:v>
                </c:pt>
                <c:pt idx="8952">
                  <c:v>41</c:v>
                </c:pt>
                <c:pt idx="8953">
                  <c:v>33</c:v>
                </c:pt>
                <c:pt idx="8954">
                  <c:v>50</c:v>
                </c:pt>
                <c:pt idx="8955">
                  <c:v>52</c:v>
                </c:pt>
                <c:pt idx="8956">
                  <c:v>38</c:v>
                </c:pt>
                <c:pt idx="8957">
                  <c:v>45</c:v>
                </c:pt>
                <c:pt idx="8958">
                  <c:v>24</c:v>
                </c:pt>
                <c:pt idx="8959">
                  <c:v>38</c:v>
                </c:pt>
                <c:pt idx="8960">
                  <c:v>45</c:v>
                </c:pt>
                <c:pt idx="8961">
                  <c:v>38</c:v>
                </c:pt>
                <c:pt idx="8962">
                  <c:v>20</c:v>
                </c:pt>
                <c:pt idx="8963">
                  <c:v>21</c:v>
                </c:pt>
                <c:pt idx="8964">
                  <c:v>12</c:v>
                </c:pt>
                <c:pt idx="8965">
                  <c:v>25</c:v>
                </c:pt>
                <c:pt idx="8966">
                  <c:v>6</c:v>
                </c:pt>
                <c:pt idx="8967">
                  <c:v>15</c:v>
                </c:pt>
                <c:pt idx="8968">
                  <c:v>17</c:v>
                </c:pt>
                <c:pt idx="8969">
                  <c:v>6</c:v>
                </c:pt>
                <c:pt idx="8970">
                  <c:v>18</c:v>
                </c:pt>
                <c:pt idx="8971">
                  <c:v>15</c:v>
                </c:pt>
                <c:pt idx="8972">
                  <c:v>11</c:v>
                </c:pt>
                <c:pt idx="8973">
                  <c:v>8</c:v>
                </c:pt>
                <c:pt idx="8974">
                  <c:v>12</c:v>
                </c:pt>
                <c:pt idx="8975">
                  <c:v>10</c:v>
                </c:pt>
                <c:pt idx="8976">
                  <c:v>16</c:v>
                </c:pt>
                <c:pt idx="8977">
                  <c:v>12</c:v>
                </c:pt>
                <c:pt idx="8978">
                  <c:v>7</c:v>
                </c:pt>
                <c:pt idx="8979">
                  <c:v>9</c:v>
                </c:pt>
                <c:pt idx="8980">
                  <c:v>9</c:v>
                </c:pt>
                <c:pt idx="8981">
                  <c:v>14</c:v>
                </c:pt>
                <c:pt idx="8982">
                  <c:v>14</c:v>
                </c:pt>
                <c:pt idx="8983">
                  <c:v>6</c:v>
                </c:pt>
                <c:pt idx="8984">
                  <c:v>7</c:v>
                </c:pt>
                <c:pt idx="8985">
                  <c:v>4</c:v>
                </c:pt>
                <c:pt idx="8986">
                  <c:v>9</c:v>
                </c:pt>
                <c:pt idx="8987">
                  <c:v>13</c:v>
                </c:pt>
                <c:pt idx="8988">
                  <c:v>9</c:v>
                </c:pt>
                <c:pt idx="8989">
                  <c:v>12</c:v>
                </c:pt>
                <c:pt idx="8990">
                  <c:v>8</c:v>
                </c:pt>
                <c:pt idx="8991">
                  <c:v>13</c:v>
                </c:pt>
                <c:pt idx="8992">
                  <c:v>2</c:v>
                </c:pt>
                <c:pt idx="8993">
                  <c:v>12</c:v>
                </c:pt>
                <c:pt idx="8994">
                  <c:v>9</c:v>
                </c:pt>
                <c:pt idx="8995">
                  <c:v>7</c:v>
                </c:pt>
                <c:pt idx="8996">
                  <c:v>6</c:v>
                </c:pt>
                <c:pt idx="8997">
                  <c:v>3</c:v>
                </c:pt>
                <c:pt idx="8998">
                  <c:v>11</c:v>
                </c:pt>
                <c:pt idx="8999">
                  <c:v>7</c:v>
                </c:pt>
                <c:pt idx="9000">
                  <c:v>7</c:v>
                </c:pt>
                <c:pt idx="9001">
                  <c:v>10</c:v>
                </c:pt>
                <c:pt idx="9002">
                  <c:v>7</c:v>
                </c:pt>
                <c:pt idx="9003">
                  <c:v>6</c:v>
                </c:pt>
                <c:pt idx="9004">
                  <c:v>6</c:v>
                </c:pt>
                <c:pt idx="9005">
                  <c:v>6</c:v>
                </c:pt>
                <c:pt idx="9006">
                  <c:v>6</c:v>
                </c:pt>
                <c:pt idx="9007">
                  <c:v>2</c:v>
                </c:pt>
                <c:pt idx="9008">
                  <c:v>1</c:v>
                </c:pt>
                <c:pt idx="9009">
                  <c:v>3</c:v>
                </c:pt>
                <c:pt idx="9010">
                  <c:v>7</c:v>
                </c:pt>
                <c:pt idx="9011">
                  <c:v>4</c:v>
                </c:pt>
                <c:pt idx="9012">
                  <c:v>4</c:v>
                </c:pt>
                <c:pt idx="9013">
                  <c:v>2</c:v>
                </c:pt>
                <c:pt idx="9014">
                  <c:v>1</c:v>
                </c:pt>
                <c:pt idx="9015">
                  <c:v>5</c:v>
                </c:pt>
                <c:pt idx="9016">
                  <c:v>4</c:v>
                </c:pt>
                <c:pt idx="9017">
                  <c:v>5</c:v>
                </c:pt>
                <c:pt idx="9018">
                  <c:v>4</c:v>
                </c:pt>
                <c:pt idx="9019">
                  <c:v>5</c:v>
                </c:pt>
                <c:pt idx="9020">
                  <c:v>3</c:v>
                </c:pt>
                <c:pt idx="9021">
                  <c:v>4</c:v>
                </c:pt>
                <c:pt idx="9022">
                  <c:v>3</c:v>
                </c:pt>
                <c:pt idx="9023">
                  <c:v>3</c:v>
                </c:pt>
                <c:pt idx="9024">
                  <c:v>4</c:v>
                </c:pt>
                <c:pt idx="9025">
                  <c:v>0</c:v>
                </c:pt>
                <c:pt idx="9026">
                  <c:v>1</c:v>
                </c:pt>
                <c:pt idx="9027">
                  <c:v>3</c:v>
                </c:pt>
                <c:pt idx="9028">
                  <c:v>3</c:v>
                </c:pt>
                <c:pt idx="9029">
                  <c:v>2</c:v>
                </c:pt>
                <c:pt idx="9030">
                  <c:v>237</c:v>
                </c:pt>
                <c:pt idx="9031">
                  <c:v>109</c:v>
                </c:pt>
                <c:pt idx="9032">
                  <c:v>1315</c:v>
                </c:pt>
                <c:pt idx="9033">
                  <c:v>595</c:v>
                </c:pt>
                <c:pt idx="9034">
                  <c:v>502</c:v>
                </c:pt>
                <c:pt idx="9035">
                  <c:v>312</c:v>
                </c:pt>
                <c:pt idx="9036">
                  <c:v>199</c:v>
                </c:pt>
                <c:pt idx="9037">
                  <c:v>637</c:v>
                </c:pt>
                <c:pt idx="9038">
                  <c:v>898</c:v>
                </c:pt>
                <c:pt idx="9039">
                  <c:v>578</c:v>
                </c:pt>
                <c:pt idx="9040">
                  <c:v>712</c:v>
                </c:pt>
                <c:pt idx="9041">
                  <c:v>588</c:v>
                </c:pt>
                <c:pt idx="9042">
                  <c:v>420</c:v>
                </c:pt>
                <c:pt idx="9043">
                  <c:v>192</c:v>
                </c:pt>
                <c:pt idx="9044">
                  <c:v>309</c:v>
                </c:pt>
                <c:pt idx="9045">
                  <c:v>120</c:v>
                </c:pt>
                <c:pt idx="9046">
                  <c:v>31</c:v>
                </c:pt>
                <c:pt idx="9047">
                  <c:v>601</c:v>
                </c:pt>
                <c:pt idx="9048">
                  <c:v>940</c:v>
                </c:pt>
                <c:pt idx="9049">
                  <c:v>701</c:v>
                </c:pt>
                <c:pt idx="9050">
                  <c:v>476</c:v>
                </c:pt>
                <c:pt idx="9051">
                  <c:v>650</c:v>
                </c:pt>
                <c:pt idx="9052">
                  <c:v>994</c:v>
                </c:pt>
                <c:pt idx="9053">
                  <c:v>649</c:v>
                </c:pt>
                <c:pt idx="9054">
                  <c:v>581</c:v>
                </c:pt>
                <c:pt idx="9055">
                  <c:v>472</c:v>
                </c:pt>
                <c:pt idx="9056">
                  <c:v>503</c:v>
                </c:pt>
                <c:pt idx="9057">
                  <c:v>449</c:v>
                </c:pt>
                <c:pt idx="9058">
                  <c:v>310</c:v>
                </c:pt>
                <c:pt idx="9059">
                  <c:v>297</c:v>
                </c:pt>
                <c:pt idx="9060">
                  <c:v>279</c:v>
                </c:pt>
                <c:pt idx="9061">
                  <c:v>321</c:v>
                </c:pt>
                <c:pt idx="9062">
                  <c:v>130</c:v>
                </c:pt>
                <c:pt idx="9063">
                  <c:v>38</c:v>
                </c:pt>
                <c:pt idx="9064">
                  <c:v>4</c:v>
                </c:pt>
                <c:pt idx="9065">
                  <c:v>354</c:v>
                </c:pt>
                <c:pt idx="9066">
                  <c:v>873</c:v>
                </c:pt>
                <c:pt idx="9067">
                  <c:v>903</c:v>
                </c:pt>
                <c:pt idx="9068">
                  <c:v>547</c:v>
                </c:pt>
                <c:pt idx="9069">
                  <c:v>1380</c:v>
                </c:pt>
                <c:pt idx="9070">
                  <c:v>688</c:v>
                </c:pt>
                <c:pt idx="9071">
                  <c:v>674</c:v>
                </c:pt>
                <c:pt idx="9072">
                  <c:v>834</c:v>
                </c:pt>
                <c:pt idx="9073">
                  <c:v>596</c:v>
                </c:pt>
                <c:pt idx="9074">
                  <c:v>772</c:v>
                </c:pt>
                <c:pt idx="9075">
                  <c:v>792</c:v>
                </c:pt>
                <c:pt idx="9076">
                  <c:v>575</c:v>
                </c:pt>
                <c:pt idx="9077">
                  <c:v>732</c:v>
                </c:pt>
                <c:pt idx="9078">
                  <c:v>292</c:v>
                </c:pt>
                <c:pt idx="9079">
                  <c:v>264</c:v>
                </c:pt>
                <c:pt idx="9080">
                  <c:v>426</c:v>
                </c:pt>
                <c:pt idx="9081">
                  <c:v>336</c:v>
                </c:pt>
                <c:pt idx="9082">
                  <c:v>169</c:v>
                </c:pt>
                <c:pt idx="9083">
                  <c:v>142</c:v>
                </c:pt>
                <c:pt idx="9084">
                  <c:v>29</c:v>
                </c:pt>
                <c:pt idx="9085">
                  <c:v>595</c:v>
                </c:pt>
                <c:pt idx="9086">
                  <c:v>113</c:v>
                </c:pt>
                <c:pt idx="9087">
                  <c:v>229</c:v>
                </c:pt>
                <c:pt idx="9088">
                  <c:v>181</c:v>
                </c:pt>
                <c:pt idx="9089">
                  <c:v>69</c:v>
                </c:pt>
                <c:pt idx="9090">
                  <c:v>65</c:v>
                </c:pt>
                <c:pt idx="9091">
                  <c:v>64</c:v>
                </c:pt>
                <c:pt idx="9092">
                  <c:v>66</c:v>
                </c:pt>
                <c:pt idx="9093">
                  <c:v>21</c:v>
                </c:pt>
                <c:pt idx="9094">
                  <c:v>28</c:v>
                </c:pt>
                <c:pt idx="9095">
                  <c:v>16</c:v>
                </c:pt>
                <c:pt idx="9096">
                  <c:v>118</c:v>
                </c:pt>
                <c:pt idx="9097">
                  <c:v>49</c:v>
                </c:pt>
                <c:pt idx="9098">
                  <c:v>40</c:v>
                </c:pt>
                <c:pt idx="9099">
                  <c:v>44</c:v>
                </c:pt>
                <c:pt idx="9100">
                  <c:v>24</c:v>
                </c:pt>
                <c:pt idx="9101">
                  <c:v>627</c:v>
                </c:pt>
                <c:pt idx="9102">
                  <c:v>395</c:v>
                </c:pt>
                <c:pt idx="9103">
                  <c:v>151</c:v>
                </c:pt>
                <c:pt idx="9104">
                  <c:v>131</c:v>
                </c:pt>
                <c:pt idx="9105">
                  <c:v>72</c:v>
                </c:pt>
                <c:pt idx="9106">
                  <c:v>65</c:v>
                </c:pt>
                <c:pt idx="9107">
                  <c:v>61</c:v>
                </c:pt>
                <c:pt idx="9108">
                  <c:v>42</c:v>
                </c:pt>
                <c:pt idx="9109">
                  <c:v>36</c:v>
                </c:pt>
                <c:pt idx="9110">
                  <c:v>36</c:v>
                </c:pt>
                <c:pt idx="9111">
                  <c:v>41</c:v>
                </c:pt>
                <c:pt idx="9112">
                  <c:v>42</c:v>
                </c:pt>
                <c:pt idx="9113">
                  <c:v>25</c:v>
                </c:pt>
                <c:pt idx="9114">
                  <c:v>27</c:v>
                </c:pt>
                <c:pt idx="9115">
                  <c:v>17</c:v>
                </c:pt>
                <c:pt idx="9116">
                  <c:v>18</c:v>
                </c:pt>
                <c:pt idx="9117">
                  <c:v>20</c:v>
                </c:pt>
                <c:pt idx="9118">
                  <c:v>18</c:v>
                </c:pt>
                <c:pt idx="9119">
                  <c:v>11</c:v>
                </c:pt>
                <c:pt idx="9120">
                  <c:v>5</c:v>
                </c:pt>
                <c:pt idx="9121">
                  <c:v>14</c:v>
                </c:pt>
                <c:pt idx="9122">
                  <c:v>13</c:v>
                </c:pt>
                <c:pt idx="9123">
                  <c:v>6</c:v>
                </c:pt>
                <c:pt idx="9124">
                  <c:v>452</c:v>
                </c:pt>
                <c:pt idx="9125">
                  <c:v>312</c:v>
                </c:pt>
                <c:pt idx="9126">
                  <c:v>283</c:v>
                </c:pt>
                <c:pt idx="9127">
                  <c:v>213</c:v>
                </c:pt>
                <c:pt idx="9128">
                  <c:v>200</c:v>
                </c:pt>
                <c:pt idx="9129">
                  <c:v>229</c:v>
                </c:pt>
                <c:pt idx="9130">
                  <c:v>146</c:v>
                </c:pt>
                <c:pt idx="9131">
                  <c:v>90</c:v>
                </c:pt>
                <c:pt idx="9132">
                  <c:v>92</c:v>
                </c:pt>
                <c:pt idx="9133">
                  <c:v>77</c:v>
                </c:pt>
                <c:pt idx="9134">
                  <c:v>56</c:v>
                </c:pt>
                <c:pt idx="9135">
                  <c:v>42</c:v>
                </c:pt>
                <c:pt idx="9136">
                  <c:v>44</c:v>
                </c:pt>
                <c:pt idx="9137">
                  <c:v>58</c:v>
                </c:pt>
                <c:pt idx="9138">
                  <c:v>42</c:v>
                </c:pt>
                <c:pt idx="9139">
                  <c:v>42</c:v>
                </c:pt>
                <c:pt idx="9140">
                  <c:v>39</c:v>
                </c:pt>
                <c:pt idx="9141">
                  <c:v>21</c:v>
                </c:pt>
                <c:pt idx="9142">
                  <c:v>35</c:v>
                </c:pt>
                <c:pt idx="9143">
                  <c:v>41</c:v>
                </c:pt>
                <c:pt idx="9144">
                  <c:v>41</c:v>
                </c:pt>
                <c:pt idx="9145">
                  <c:v>23</c:v>
                </c:pt>
                <c:pt idx="9146">
                  <c:v>32</c:v>
                </c:pt>
                <c:pt idx="9147">
                  <c:v>24</c:v>
                </c:pt>
                <c:pt idx="9148">
                  <c:v>32</c:v>
                </c:pt>
                <c:pt idx="9149">
                  <c:v>19</c:v>
                </c:pt>
                <c:pt idx="9150">
                  <c:v>20</c:v>
                </c:pt>
                <c:pt idx="9151">
                  <c:v>25</c:v>
                </c:pt>
                <c:pt idx="9152">
                  <c:v>22</c:v>
                </c:pt>
                <c:pt idx="9153">
                  <c:v>18</c:v>
                </c:pt>
                <c:pt idx="9154">
                  <c:v>22</c:v>
                </c:pt>
                <c:pt idx="9155">
                  <c:v>17</c:v>
                </c:pt>
                <c:pt idx="9156">
                  <c:v>13</c:v>
                </c:pt>
                <c:pt idx="9157">
                  <c:v>14</c:v>
                </c:pt>
                <c:pt idx="9158">
                  <c:v>12</c:v>
                </c:pt>
                <c:pt idx="9159">
                  <c:v>13</c:v>
                </c:pt>
                <c:pt idx="9160">
                  <c:v>10</c:v>
                </c:pt>
                <c:pt idx="9161">
                  <c:v>13</c:v>
                </c:pt>
                <c:pt idx="9162">
                  <c:v>12</c:v>
                </c:pt>
                <c:pt idx="9163">
                  <c:v>5</c:v>
                </c:pt>
                <c:pt idx="9164">
                  <c:v>12</c:v>
                </c:pt>
                <c:pt idx="9165">
                  <c:v>13</c:v>
                </c:pt>
                <c:pt idx="9166">
                  <c:v>11</c:v>
                </c:pt>
                <c:pt idx="9167">
                  <c:v>12</c:v>
                </c:pt>
                <c:pt idx="9168">
                  <c:v>5</c:v>
                </c:pt>
                <c:pt idx="9169">
                  <c:v>5</c:v>
                </c:pt>
                <c:pt idx="9170">
                  <c:v>0</c:v>
                </c:pt>
                <c:pt idx="9171">
                  <c:v>0</c:v>
                </c:pt>
                <c:pt idx="9172">
                  <c:v>572</c:v>
                </c:pt>
                <c:pt idx="9173">
                  <c:v>516</c:v>
                </c:pt>
                <c:pt idx="9174">
                  <c:v>376</c:v>
                </c:pt>
                <c:pt idx="9175">
                  <c:v>346</c:v>
                </c:pt>
                <c:pt idx="9176">
                  <c:v>282</c:v>
                </c:pt>
                <c:pt idx="9177">
                  <c:v>232</c:v>
                </c:pt>
                <c:pt idx="9178">
                  <c:v>320</c:v>
                </c:pt>
                <c:pt idx="9179">
                  <c:v>179</c:v>
                </c:pt>
                <c:pt idx="9180">
                  <c:v>181</c:v>
                </c:pt>
                <c:pt idx="9181">
                  <c:v>148</c:v>
                </c:pt>
                <c:pt idx="9182">
                  <c:v>136</c:v>
                </c:pt>
                <c:pt idx="9183">
                  <c:v>696</c:v>
                </c:pt>
                <c:pt idx="9184">
                  <c:v>1137</c:v>
                </c:pt>
                <c:pt idx="9185">
                  <c:v>727</c:v>
                </c:pt>
                <c:pt idx="9186">
                  <c:v>858</c:v>
                </c:pt>
                <c:pt idx="9187">
                  <c:v>758</c:v>
                </c:pt>
                <c:pt idx="9188">
                  <c:v>540</c:v>
                </c:pt>
                <c:pt idx="9189">
                  <c:v>487</c:v>
                </c:pt>
                <c:pt idx="9190">
                  <c:v>753</c:v>
                </c:pt>
                <c:pt idx="9191">
                  <c:v>701</c:v>
                </c:pt>
                <c:pt idx="9192">
                  <c:v>543</c:v>
                </c:pt>
                <c:pt idx="9193">
                  <c:v>470</c:v>
                </c:pt>
                <c:pt idx="9194">
                  <c:v>501</c:v>
                </c:pt>
                <c:pt idx="9195">
                  <c:v>278</c:v>
                </c:pt>
                <c:pt idx="9196">
                  <c:v>364</c:v>
                </c:pt>
                <c:pt idx="9197">
                  <c:v>481</c:v>
                </c:pt>
                <c:pt idx="9198">
                  <c:v>468</c:v>
                </c:pt>
                <c:pt idx="9199">
                  <c:v>493</c:v>
                </c:pt>
                <c:pt idx="9200">
                  <c:v>681</c:v>
                </c:pt>
                <c:pt idx="9201">
                  <c:v>447</c:v>
                </c:pt>
                <c:pt idx="9202">
                  <c:v>490</c:v>
                </c:pt>
                <c:pt idx="9203">
                  <c:v>534</c:v>
                </c:pt>
                <c:pt idx="9204">
                  <c:v>504</c:v>
                </c:pt>
                <c:pt idx="9205">
                  <c:v>415</c:v>
                </c:pt>
                <c:pt idx="9206">
                  <c:v>421</c:v>
                </c:pt>
                <c:pt idx="9207">
                  <c:v>486</c:v>
                </c:pt>
                <c:pt idx="9208">
                  <c:v>492</c:v>
                </c:pt>
                <c:pt idx="9209">
                  <c:v>367</c:v>
                </c:pt>
                <c:pt idx="9210">
                  <c:v>572</c:v>
                </c:pt>
                <c:pt idx="9211">
                  <c:v>536</c:v>
                </c:pt>
                <c:pt idx="9212">
                  <c:v>514</c:v>
                </c:pt>
                <c:pt idx="9213">
                  <c:v>516</c:v>
                </c:pt>
                <c:pt idx="9214">
                  <c:v>431</c:v>
                </c:pt>
                <c:pt idx="9215">
                  <c:v>486</c:v>
                </c:pt>
                <c:pt idx="9216">
                  <c:v>446</c:v>
                </c:pt>
                <c:pt idx="9217">
                  <c:v>353</c:v>
                </c:pt>
                <c:pt idx="9218">
                  <c:v>309</c:v>
                </c:pt>
                <c:pt idx="9219">
                  <c:v>248</c:v>
                </c:pt>
                <c:pt idx="9220">
                  <c:v>242</c:v>
                </c:pt>
                <c:pt idx="9221">
                  <c:v>310</c:v>
                </c:pt>
                <c:pt idx="9222">
                  <c:v>318</c:v>
                </c:pt>
                <c:pt idx="9223">
                  <c:v>248</c:v>
                </c:pt>
                <c:pt idx="9224">
                  <c:v>278</c:v>
                </c:pt>
                <c:pt idx="9225">
                  <c:v>342</c:v>
                </c:pt>
                <c:pt idx="9226">
                  <c:v>304</c:v>
                </c:pt>
                <c:pt idx="9227">
                  <c:v>314</c:v>
                </c:pt>
                <c:pt idx="9228">
                  <c:v>279</c:v>
                </c:pt>
                <c:pt idx="9229">
                  <c:v>237</c:v>
                </c:pt>
                <c:pt idx="9230">
                  <c:v>351</c:v>
                </c:pt>
                <c:pt idx="9231">
                  <c:v>295</c:v>
                </c:pt>
                <c:pt idx="9232">
                  <c:v>357</c:v>
                </c:pt>
                <c:pt idx="9233">
                  <c:v>490</c:v>
                </c:pt>
                <c:pt idx="9234">
                  <c:v>175</c:v>
                </c:pt>
                <c:pt idx="9235">
                  <c:v>173</c:v>
                </c:pt>
                <c:pt idx="9236">
                  <c:v>179</c:v>
                </c:pt>
                <c:pt idx="9237">
                  <c:v>215</c:v>
                </c:pt>
                <c:pt idx="9238">
                  <c:v>180</c:v>
                </c:pt>
                <c:pt idx="9239">
                  <c:v>191</c:v>
                </c:pt>
                <c:pt idx="9240">
                  <c:v>171</c:v>
                </c:pt>
                <c:pt idx="9241">
                  <c:v>147</c:v>
                </c:pt>
                <c:pt idx="9242">
                  <c:v>63</c:v>
                </c:pt>
                <c:pt idx="9243">
                  <c:v>77</c:v>
                </c:pt>
                <c:pt idx="9244">
                  <c:v>129</c:v>
                </c:pt>
                <c:pt idx="9245">
                  <c:v>124</c:v>
                </c:pt>
                <c:pt idx="9246">
                  <c:v>108</c:v>
                </c:pt>
                <c:pt idx="9247">
                  <c:v>38</c:v>
                </c:pt>
                <c:pt idx="9248">
                  <c:v>104</c:v>
                </c:pt>
                <c:pt idx="9249">
                  <c:v>90</c:v>
                </c:pt>
                <c:pt idx="9250">
                  <c:v>53</c:v>
                </c:pt>
                <c:pt idx="9251">
                  <c:v>78</c:v>
                </c:pt>
                <c:pt idx="9252">
                  <c:v>66</c:v>
                </c:pt>
                <c:pt idx="9253">
                  <c:v>20</c:v>
                </c:pt>
                <c:pt idx="9254">
                  <c:v>78</c:v>
                </c:pt>
                <c:pt idx="9255">
                  <c:v>81</c:v>
                </c:pt>
                <c:pt idx="9256">
                  <c:v>63</c:v>
                </c:pt>
                <c:pt idx="9257">
                  <c:v>39</c:v>
                </c:pt>
                <c:pt idx="9258">
                  <c:v>41</c:v>
                </c:pt>
                <c:pt idx="9259">
                  <c:v>59</c:v>
                </c:pt>
                <c:pt idx="9260">
                  <c:v>23</c:v>
                </c:pt>
                <c:pt idx="9261">
                  <c:v>58</c:v>
                </c:pt>
                <c:pt idx="9262">
                  <c:v>46</c:v>
                </c:pt>
                <c:pt idx="9263">
                  <c:v>64</c:v>
                </c:pt>
                <c:pt idx="9264">
                  <c:v>45</c:v>
                </c:pt>
                <c:pt idx="9265">
                  <c:v>18</c:v>
                </c:pt>
                <c:pt idx="9266">
                  <c:v>34</c:v>
                </c:pt>
                <c:pt idx="9267">
                  <c:v>41</c:v>
                </c:pt>
                <c:pt idx="9268">
                  <c:v>49</c:v>
                </c:pt>
                <c:pt idx="9269">
                  <c:v>24</c:v>
                </c:pt>
                <c:pt idx="9270">
                  <c:v>46</c:v>
                </c:pt>
                <c:pt idx="9271">
                  <c:v>42</c:v>
                </c:pt>
                <c:pt idx="9272">
                  <c:v>33</c:v>
                </c:pt>
                <c:pt idx="9273">
                  <c:v>18</c:v>
                </c:pt>
                <c:pt idx="9274">
                  <c:v>25</c:v>
                </c:pt>
                <c:pt idx="9275">
                  <c:v>24</c:v>
                </c:pt>
                <c:pt idx="9276">
                  <c:v>18</c:v>
                </c:pt>
                <c:pt idx="9277">
                  <c:v>21</c:v>
                </c:pt>
                <c:pt idx="9278">
                  <c:v>24</c:v>
                </c:pt>
                <c:pt idx="9279">
                  <c:v>2</c:v>
                </c:pt>
                <c:pt idx="9280">
                  <c:v>4</c:v>
                </c:pt>
                <c:pt idx="9281">
                  <c:v>12</c:v>
                </c:pt>
                <c:pt idx="9282">
                  <c:v>11</c:v>
                </c:pt>
                <c:pt idx="9283">
                  <c:v>14</c:v>
                </c:pt>
                <c:pt idx="9284">
                  <c:v>8</c:v>
                </c:pt>
                <c:pt idx="9285">
                  <c:v>12</c:v>
                </c:pt>
                <c:pt idx="9286">
                  <c:v>9</c:v>
                </c:pt>
                <c:pt idx="9287">
                  <c:v>6</c:v>
                </c:pt>
                <c:pt idx="9288">
                  <c:v>11</c:v>
                </c:pt>
                <c:pt idx="9289">
                  <c:v>3</c:v>
                </c:pt>
                <c:pt idx="9290">
                  <c:v>9</c:v>
                </c:pt>
                <c:pt idx="9291">
                  <c:v>7</c:v>
                </c:pt>
                <c:pt idx="9292">
                  <c:v>3</c:v>
                </c:pt>
                <c:pt idx="9293">
                  <c:v>7</c:v>
                </c:pt>
                <c:pt idx="9294">
                  <c:v>4</c:v>
                </c:pt>
                <c:pt idx="9295">
                  <c:v>4</c:v>
                </c:pt>
                <c:pt idx="9296">
                  <c:v>4</c:v>
                </c:pt>
                <c:pt idx="9297">
                  <c:v>0</c:v>
                </c:pt>
                <c:pt idx="9298">
                  <c:v>1</c:v>
                </c:pt>
                <c:pt idx="9299">
                  <c:v>3</c:v>
                </c:pt>
                <c:pt idx="9300">
                  <c:v>0</c:v>
                </c:pt>
                <c:pt idx="9301">
                  <c:v>1</c:v>
                </c:pt>
                <c:pt idx="9302">
                  <c:v>1</c:v>
                </c:pt>
                <c:pt idx="9303">
                  <c:v>2</c:v>
                </c:pt>
                <c:pt idx="9304">
                  <c:v>1</c:v>
                </c:pt>
                <c:pt idx="9305">
                  <c:v>0</c:v>
                </c:pt>
                <c:pt idx="9306">
                  <c:v>0</c:v>
                </c:pt>
                <c:pt idx="9307">
                  <c:v>0</c:v>
                </c:pt>
                <c:pt idx="9308">
                  <c:v>773</c:v>
                </c:pt>
                <c:pt idx="9309">
                  <c:v>1405</c:v>
                </c:pt>
                <c:pt idx="9310">
                  <c:v>615</c:v>
                </c:pt>
                <c:pt idx="9311">
                  <c:v>587</c:v>
                </c:pt>
                <c:pt idx="9312">
                  <c:v>767</c:v>
                </c:pt>
                <c:pt idx="9313">
                  <c:v>798</c:v>
                </c:pt>
                <c:pt idx="9314">
                  <c:v>735</c:v>
                </c:pt>
                <c:pt idx="9315">
                  <c:v>464</c:v>
                </c:pt>
                <c:pt idx="9316">
                  <c:v>702</c:v>
                </c:pt>
                <c:pt idx="9317">
                  <c:v>660</c:v>
                </c:pt>
                <c:pt idx="9318">
                  <c:v>527</c:v>
                </c:pt>
                <c:pt idx="9319">
                  <c:v>436</c:v>
                </c:pt>
                <c:pt idx="9320">
                  <c:v>608</c:v>
                </c:pt>
                <c:pt idx="9321">
                  <c:v>763</c:v>
                </c:pt>
                <c:pt idx="9322">
                  <c:v>509</c:v>
                </c:pt>
                <c:pt idx="9323">
                  <c:v>1015</c:v>
                </c:pt>
                <c:pt idx="9324">
                  <c:v>686</c:v>
                </c:pt>
                <c:pt idx="9325">
                  <c:v>827</c:v>
                </c:pt>
                <c:pt idx="9326">
                  <c:v>666</c:v>
                </c:pt>
                <c:pt idx="9327">
                  <c:v>675</c:v>
                </c:pt>
                <c:pt idx="9328">
                  <c:v>844</c:v>
                </c:pt>
                <c:pt idx="9329">
                  <c:v>737</c:v>
                </c:pt>
                <c:pt idx="9330">
                  <c:v>407</c:v>
                </c:pt>
                <c:pt idx="9331">
                  <c:v>764</c:v>
                </c:pt>
                <c:pt idx="9332">
                  <c:v>627</c:v>
                </c:pt>
                <c:pt idx="9333">
                  <c:v>559</c:v>
                </c:pt>
                <c:pt idx="9334">
                  <c:v>799</c:v>
                </c:pt>
                <c:pt idx="9335">
                  <c:v>684</c:v>
                </c:pt>
                <c:pt idx="9336">
                  <c:v>415</c:v>
                </c:pt>
                <c:pt idx="9337">
                  <c:v>546</c:v>
                </c:pt>
                <c:pt idx="9338">
                  <c:v>412</c:v>
                </c:pt>
                <c:pt idx="9339">
                  <c:v>628</c:v>
                </c:pt>
                <c:pt idx="9340">
                  <c:v>535</c:v>
                </c:pt>
                <c:pt idx="9341">
                  <c:v>325</c:v>
                </c:pt>
                <c:pt idx="9342">
                  <c:v>698</c:v>
                </c:pt>
                <c:pt idx="9343">
                  <c:v>387</c:v>
                </c:pt>
                <c:pt idx="9344">
                  <c:v>503</c:v>
                </c:pt>
                <c:pt idx="9345">
                  <c:v>841</c:v>
                </c:pt>
                <c:pt idx="9346">
                  <c:v>305</c:v>
                </c:pt>
                <c:pt idx="9347">
                  <c:v>646</c:v>
                </c:pt>
                <c:pt idx="9348">
                  <c:v>407</c:v>
                </c:pt>
                <c:pt idx="9349">
                  <c:v>416</c:v>
                </c:pt>
                <c:pt idx="9350">
                  <c:v>430</c:v>
                </c:pt>
                <c:pt idx="9351">
                  <c:v>445</c:v>
                </c:pt>
                <c:pt idx="9352">
                  <c:v>302</c:v>
                </c:pt>
                <c:pt idx="9353">
                  <c:v>304</c:v>
                </c:pt>
                <c:pt idx="9354">
                  <c:v>349</c:v>
                </c:pt>
                <c:pt idx="9355">
                  <c:v>236</c:v>
                </c:pt>
                <c:pt idx="9356">
                  <c:v>275</c:v>
                </c:pt>
                <c:pt idx="9357">
                  <c:v>407</c:v>
                </c:pt>
                <c:pt idx="9358">
                  <c:v>268</c:v>
                </c:pt>
                <c:pt idx="9359">
                  <c:v>187</c:v>
                </c:pt>
                <c:pt idx="9360">
                  <c:v>239</c:v>
                </c:pt>
                <c:pt idx="9361">
                  <c:v>212</c:v>
                </c:pt>
                <c:pt idx="9362">
                  <c:v>169</c:v>
                </c:pt>
                <c:pt idx="9363">
                  <c:v>164</c:v>
                </c:pt>
                <c:pt idx="9364">
                  <c:v>219</c:v>
                </c:pt>
                <c:pt idx="9365">
                  <c:v>159</c:v>
                </c:pt>
                <c:pt idx="9366">
                  <c:v>176</c:v>
                </c:pt>
                <c:pt idx="9367">
                  <c:v>150</c:v>
                </c:pt>
                <c:pt idx="9368">
                  <c:v>100</c:v>
                </c:pt>
                <c:pt idx="9369">
                  <c:v>160</c:v>
                </c:pt>
                <c:pt idx="9370">
                  <c:v>139</c:v>
                </c:pt>
                <c:pt idx="9371">
                  <c:v>123</c:v>
                </c:pt>
                <c:pt idx="9372">
                  <c:v>88</c:v>
                </c:pt>
                <c:pt idx="9373">
                  <c:v>55</c:v>
                </c:pt>
                <c:pt idx="9374">
                  <c:v>89</c:v>
                </c:pt>
                <c:pt idx="9375">
                  <c:v>103</c:v>
                </c:pt>
                <c:pt idx="9376">
                  <c:v>142</c:v>
                </c:pt>
                <c:pt idx="9377">
                  <c:v>107</c:v>
                </c:pt>
                <c:pt idx="9378">
                  <c:v>99</c:v>
                </c:pt>
                <c:pt idx="9379">
                  <c:v>83</c:v>
                </c:pt>
                <c:pt idx="9380">
                  <c:v>89</c:v>
                </c:pt>
                <c:pt idx="9381">
                  <c:v>85</c:v>
                </c:pt>
                <c:pt idx="9382">
                  <c:v>72</c:v>
                </c:pt>
                <c:pt idx="9383">
                  <c:v>89</c:v>
                </c:pt>
                <c:pt idx="9384">
                  <c:v>86</c:v>
                </c:pt>
                <c:pt idx="9385">
                  <c:v>69</c:v>
                </c:pt>
                <c:pt idx="9386">
                  <c:v>54</c:v>
                </c:pt>
                <c:pt idx="9387">
                  <c:v>54</c:v>
                </c:pt>
                <c:pt idx="9388">
                  <c:v>44</c:v>
                </c:pt>
                <c:pt idx="9389">
                  <c:v>62</c:v>
                </c:pt>
                <c:pt idx="9390">
                  <c:v>39</c:v>
                </c:pt>
                <c:pt idx="9391">
                  <c:v>47</c:v>
                </c:pt>
                <c:pt idx="9392">
                  <c:v>62</c:v>
                </c:pt>
                <c:pt idx="9393">
                  <c:v>40</c:v>
                </c:pt>
                <c:pt idx="9394">
                  <c:v>51</c:v>
                </c:pt>
                <c:pt idx="9395">
                  <c:v>43</c:v>
                </c:pt>
                <c:pt idx="9396">
                  <c:v>37</c:v>
                </c:pt>
                <c:pt idx="9397">
                  <c:v>42</c:v>
                </c:pt>
                <c:pt idx="9398">
                  <c:v>41</c:v>
                </c:pt>
                <c:pt idx="9399">
                  <c:v>33</c:v>
                </c:pt>
                <c:pt idx="9400">
                  <c:v>33</c:v>
                </c:pt>
                <c:pt idx="9401">
                  <c:v>38</c:v>
                </c:pt>
                <c:pt idx="9402">
                  <c:v>31</c:v>
                </c:pt>
                <c:pt idx="9403">
                  <c:v>32</c:v>
                </c:pt>
                <c:pt idx="9404">
                  <c:v>18</c:v>
                </c:pt>
                <c:pt idx="9405">
                  <c:v>25</c:v>
                </c:pt>
                <c:pt idx="9406">
                  <c:v>23</c:v>
                </c:pt>
                <c:pt idx="9407">
                  <c:v>26</c:v>
                </c:pt>
                <c:pt idx="9408">
                  <c:v>24</c:v>
                </c:pt>
                <c:pt idx="9409">
                  <c:v>21</c:v>
                </c:pt>
                <c:pt idx="9410">
                  <c:v>15</c:v>
                </c:pt>
                <c:pt idx="9411">
                  <c:v>27</c:v>
                </c:pt>
                <c:pt idx="9412">
                  <c:v>16</c:v>
                </c:pt>
                <c:pt idx="9413">
                  <c:v>18</c:v>
                </c:pt>
                <c:pt idx="9414">
                  <c:v>11</c:v>
                </c:pt>
                <c:pt idx="9415">
                  <c:v>3</c:v>
                </c:pt>
                <c:pt idx="9416">
                  <c:v>15</c:v>
                </c:pt>
                <c:pt idx="9417">
                  <c:v>17</c:v>
                </c:pt>
                <c:pt idx="9418">
                  <c:v>404</c:v>
                </c:pt>
                <c:pt idx="9419">
                  <c:v>436</c:v>
                </c:pt>
                <c:pt idx="9420">
                  <c:v>551</c:v>
                </c:pt>
                <c:pt idx="9421">
                  <c:v>317</c:v>
                </c:pt>
                <c:pt idx="9422">
                  <c:v>455</c:v>
                </c:pt>
                <c:pt idx="9423">
                  <c:v>337</c:v>
                </c:pt>
                <c:pt idx="9424">
                  <c:v>304</c:v>
                </c:pt>
                <c:pt idx="9425">
                  <c:v>249</c:v>
                </c:pt>
                <c:pt idx="9426">
                  <c:v>384</c:v>
                </c:pt>
                <c:pt idx="9427">
                  <c:v>310</c:v>
                </c:pt>
                <c:pt idx="9428">
                  <c:v>360</c:v>
                </c:pt>
                <c:pt idx="9429">
                  <c:v>215</c:v>
                </c:pt>
                <c:pt idx="9430">
                  <c:v>159</c:v>
                </c:pt>
                <c:pt idx="9431">
                  <c:v>284</c:v>
                </c:pt>
                <c:pt idx="9432">
                  <c:v>202</c:v>
                </c:pt>
                <c:pt idx="9433">
                  <c:v>156</c:v>
                </c:pt>
                <c:pt idx="9434">
                  <c:v>140</c:v>
                </c:pt>
                <c:pt idx="9435">
                  <c:v>122</c:v>
                </c:pt>
                <c:pt idx="9436">
                  <c:v>192</c:v>
                </c:pt>
                <c:pt idx="9437">
                  <c:v>160</c:v>
                </c:pt>
                <c:pt idx="9438">
                  <c:v>246</c:v>
                </c:pt>
                <c:pt idx="9439">
                  <c:v>94</c:v>
                </c:pt>
                <c:pt idx="9440">
                  <c:v>199</c:v>
                </c:pt>
                <c:pt idx="9441">
                  <c:v>131</c:v>
                </c:pt>
                <c:pt idx="9442">
                  <c:v>83</c:v>
                </c:pt>
                <c:pt idx="9443">
                  <c:v>161</c:v>
                </c:pt>
                <c:pt idx="9444">
                  <c:v>173</c:v>
                </c:pt>
                <c:pt idx="9445">
                  <c:v>161</c:v>
                </c:pt>
                <c:pt idx="9446">
                  <c:v>97</c:v>
                </c:pt>
                <c:pt idx="9447">
                  <c:v>126</c:v>
                </c:pt>
                <c:pt idx="9448">
                  <c:v>157</c:v>
                </c:pt>
                <c:pt idx="9449">
                  <c:v>94</c:v>
                </c:pt>
                <c:pt idx="9450">
                  <c:v>123</c:v>
                </c:pt>
                <c:pt idx="9451">
                  <c:v>133</c:v>
                </c:pt>
                <c:pt idx="9452">
                  <c:v>96</c:v>
                </c:pt>
                <c:pt idx="9453">
                  <c:v>114</c:v>
                </c:pt>
                <c:pt idx="9454">
                  <c:v>114</c:v>
                </c:pt>
                <c:pt idx="9455">
                  <c:v>115</c:v>
                </c:pt>
                <c:pt idx="9456">
                  <c:v>65</c:v>
                </c:pt>
                <c:pt idx="9457">
                  <c:v>109</c:v>
                </c:pt>
                <c:pt idx="9458">
                  <c:v>124</c:v>
                </c:pt>
                <c:pt idx="9459">
                  <c:v>114</c:v>
                </c:pt>
                <c:pt idx="9460">
                  <c:v>107</c:v>
                </c:pt>
                <c:pt idx="9461">
                  <c:v>86</c:v>
                </c:pt>
                <c:pt idx="9462">
                  <c:v>126</c:v>
                </c:pt>
                <c:pt idx="9463">
                  <c:v>92</c:v>
                </c:pt>
                <c:pt idx="9464">
                  <c:v>78</c:v>
                </c:pt>
                <c:pt idx="9465">
                  <c:v>102</c:v>
                </c:pt>
                <c:pt idx="9466">
                  <c:v>55</c:v>
                </c:pt>
                <c:pt idx="9467">
                  <c:v>74</c:v>
                </c:pt>
                <c:pt idx="9468">
                  <c:v>79</c:v>
                </c:pt>
                <c:pt idx="9469">
                  <c:v>97</c:v>
                </c:pt>
                <c:pt idx="9470">
                  <c:v>73</c:v>
                </c:pt>
                <c:pt idx="9471">
                  <c:v>94</c:v>
                </c:pt>
                <c:pt idx="9472">
                  <c:v>68</c:v>
                </c:pt>
                <c:pt idx="9473">
                  <c:v>75</c:v>
                </c:pt>
                <c:pt idx="9474">
                  <c:v>90</c:v>
                </c:pt>
                <c:pt idx="9475">
                  <c:v>48</c:v>
                </c:pt>
                <c:pt idx="9476">
                  <c:v>20</c:v>
                </c:pt>
                <c:pt idx="9477">
                  <c:v>31</c:v>
                </c:pt>
                <c:pt idx="9478">
                  <c:v>43</c:v>
                </c:pt>
                <c:pt idx="9479">
                  <c:v>34</c:v>
                </c:pt>
                <c:pt idx="9480">
                  <c:v>71</c:v>
                </c:pt>
                <c:pt idx="9481">
                  <c:v>55</c:v>
                </c:pt>
                <c:pt idx="9482">
                  <c:v>57</c:v>
                </c:pt>
                <c:pt idx="9483">
                  <c:v>41</c:v>
                </c:pt>
                <c:pt idx="9484">
                  <c:v>51</c:v>
                </c:pt>
                <c:pt idx="9485">
                  <c:v>33</c:v>
                </c:pt>
                <c:pt idx="9486">
                  <c:v>50</c:v>
                </c:pt>
                <c:pt idx="9487">
                  <c:v>65</c:v>
                </c:pt>
                <c:pt idx="9488">
                  <c:v>41</c:v>
                </c:pt>
                <c:pt idx="9489">
                  <c:v>48</c:v>
                </c:pt>
                <c:pt idx="9490">
                  <c:v>39</c:v>
                </c:pt>
                <c:pt idx="9491">
                  <c:v>38</c:v>
                </c:pt>
                <c:pt idx="9492">
                  <c:v>10</c:v>
                </c:pt>
                <c:pt idx="9493">
                  <c:v>46</c:v>
                </c:pt>
                <c:pt idx="9494">
                  <c:v>33</c:v>
                </c:pt>
                <c:pt idx="9495">
                  <c:v>33</c:v>
                </c:pt>
                <c:pt idx="9496">
                  <c:v>1183</c:v>
                </c:pt>
                <c:pt idx="9497">
                  <c:v>727</c:v>
                </c:pt>
                <c:pt idx="9498">
                  <c:v>694</c:v>
                </c:pt>
                <c:pt idx="9499">
                  <c:v>133</c:v>
                </c:pt>
                <c:pt idx="9500">
                  <c:v>530</c:v>
                </c:pt>
                <c:pt idx="9501">
                  <c:v>352</c:v>
                </c:pt>
                <c:pt idx="9502">
                  <c:v>297</c:v>
                </c:pt>
                <c:pt idx="9503">
                  <c:v>551</c:v>
                </c:pt>
                <c:pt idx="9504">
                  <c:v>381</c:v>
                </c:pt>
                <c:pt idx="9505">
                  <c:v>321</c:v>
                </c:pt>
                <c:pt idx="9506">
                  <c:v>171</c:v>
                </c:pt>
                <c:pt idx="9507">
                  <c:v>308</c:v>
                </c:pt>
                <c:pt idx="9508">
                  <c:v>249</c:v>
                </c:pt>
                <c:pt idx="9509">
                  <c:v>60</c:v>
                </c:pt>
                <c:pt idx="9510">
                  <c:v>236</c:v>
                </c:pt>
                <c:pt idx="9511">
                  <c:v>179</c:v>
                </c:pt>
                <c:pt idx="9512">
                  <c:v>172</c:v>
                </c:pt>
                <c:pt idx="9513">
                  <c:v>113</c:v>
                </c:pt>
                <c:pt idx="9514">
                  <c:v>89</c:v>
                </c:pt>
                <c:pt idx="9515">
                  <c:v>127</c:v>
                </c:pt>
                <c:pt idx="9516">
                  <c:v>63</c:v>
                </c:pt>
                <c:pt idx="9517">
                  <c:v>118</c:v>
                </c:pt>
                <c:pt idx="9518">
                  <c:v>67</c:v>
                </c:pt>
                <c:pt idx="9519">
                  <c:v>144</c:v>
                </c:pt>
                <c:pt idx="9520">
                  <c:v>66</c:v>
                </c:pt>
                <c:pt idx="9521">
                  <c:v>109</c:v>
                </c:pt>
                <c:pt idx="9522">
                  <c:v>64</c:v>
                </c:pt>
                <c:pt idx="9523">
                  <c:v>101</c:v>
                </c:pt>
                <c:pt idx="9524">
                  <c:v>63</c:v>
                </c:pt>
                <c:pt idx="9525">
                  <c:v>105</c:v>
                </c:pt>
                <c:pt idx="9526">
                  <c:v>84</c:v>
                </c:pt>
                <c:pt idx="9527">
                  <c:v>125</c:v>
                </c:pt>
                <c:pt idx="9528">
                  <c:v>93</c:v>
                </c:pt>
                <c:pt idx="9529">
                  <c:v>101</c:v>
                </c:pt>
                <c:pt idx="9530">
                  <c:v>71</c:v>
                </c:pt>
                <c:pt idx="9531">
                  <c:v>120</c:v>
                </c:pt>
                <c:pt idx="9532">
                  <c:v>57</c:v>
                </c:pt>
                <c:pt idx="9533">
                  <c:v>104</c:v>
                </c:pt>
                <c:pt idx="9534">
                  <c:v>78</c:v>
                </c:pt>
                <c:pt idx="9535">
                  <c:v>79</c:v>
                </c:pt>
                <c:pt idx="9536">
                  <c:v>91</c:v>
                </c:pt>
                <c:pt idx="9537">
                  <c:v>71</c:v>
                </c:pt>
                <c:pt idx="9538">
                  <c:v>105</c:v>
                </c:pt>
                <c:pt idx="9539">
                  <c:v>56</c:v>
                </c:pt>
                <c:pt idx="9540">
                  <c:v>28</c:v>
                </c:pt>
                <c:pt idx="9541">
                  <c:v>41</c:v>
                </c:pt>
                <c:pt idx="9542">
                  <c:v>22</c:v>
                </c:pt>
                <c:pt idx="9543">
                  <c:v>42</c:v>
                </c:pt>
                <c:pt idx="9544">
                  <c:v>62</c:v>
                </c:pt>
                <c:pt idx="9545">
                  <c:v>84</c:v>
                </c:pt>
                <c:pt idx="9546">
                  <c:v>47</c:v>
                </c:pt>
                <c:pt idx="9547">
                  <c:v>41</c:v>
                </c:pt>
                <c:pt idx="9548">
                  <c:v>52</c:v>
                </c:pt>
                <c:pt idx="9549">
                  <c:v>44</c:v>
                </c:pt>
                <c:pt idx="9550">
                  <c:v>57</c:v>
                </c:pt>
                <c:pt idx="9551">
                  <c:v>264</c:v>
                </c:pt>
                <c:pt idx="9552">
                  <c:v>174</c:v>
                </c:pt>
                <c:pt idx="9553">
                  <c:v>84</c:v>
                </c:pt>
                <c:pt idx="9554">
                  <c:v>123</c:v>
                </c:pt>
                <c:pt idx="9555">
                  <c:v>128</c:v>
                </c:pt>
                <c:pt idx="9556">
                  <c:v>134</c:v>
                </c:pt>
                <c:pt idx="9557">
                  <c:v>27</c:v>
                </c:pt>
                <c:pt idx="9558">
                  <c:v>23</c:v>
                </c:pt>
                <c:pt idx="9559">
                  <c:v>17</c:v>
                </c:pt>
                <c:pt idx="9560">
                  <c:v>15</c:v>
                </c:pt>
                <c:pt idx="9561">
                  <c:v>8</c:v>
                </c:pt>
                <c:pt idx="9562">
                  <c:v>6</c:v>
                </c:pt>
                <c:pt idx="9563">
                  <c:v>6</c:v>
                </c:pt>
                <c:pt idx="9564">
                  <c:v>223</c:v>
                </c:pt>
                <c:pt idx="9565">
                  <c:v>136</c:v>
                </c:pt>
                <c:pt idx="9566">
                  <c:v>155</c:v>
                </c:pt>
                <c:pt idx="9567">
                  <c:v>100</c:v>
                </c:pt>
                <c:pt idx="9568">
                  <c:v>119</c:v>
                </c:pt>
                <c:pt idx="9569">
                  <c:v>61</c:v>
                </c:pt>
                <c:pt idx="9570">
                  <c:v>89</c:v>
                </c:pt>
                <c:pt idx="9571">
                  <c:v>190</c:v>
                </c:pt>
                <c:pt idx="9572">
                  <c:v>68</c:v>
                </c:pt>
                <c:pt idx="9573">
                  <c:v>145</c:v>
                </c:pt>
                <c:pt idx="9574">
                  <c:v>151</c:v>
                </c:pt>
                <c:pt idx="9575">
                  <c:v>106</c:v>
                </c:pt>
                <c:pt idx="9576">
                  <c:v>94</c:v>
                </c:pt>
                <c:pt idx="9577">
                  <c:v>118</c:v>
                </c:pt>
                <c:pt idx="9578">
                  <c:v>16</c:v>
                </c:pt>
                <c:pt idx="9579">
                  <c:v>78</c:v>
                </c:pt>
                <c:pt idx="9580">
                  <c:v>52</c:v>
                </c:pt>
                <c:pt idx="9581">
                  <c:v>22</c:v>
                </c:pt>
                <c:pt idx="9582">
                  <c:v>62</c:v>
                </c:pt>
                <c:pt idx="9583">
                  <c:v>43</c:v>
                </c:pt>
                <c:pt idx="9584">
                  <c:v>60</c:v>
                </c:pt>
                <c:pt idx="9585">
                  <c:v>50</c:v>
                </c:pt>
                <c:pt idx="9586">
                  <c:v>64</c:v>
                </c:pt>
                <c:pt idx="9587">
                  <c:v>49</c:v>
                </c:pt>
                <c:pt idx="9588">
                  <c:v>44</c:v>
                </c:pt>
                <c:pt idx="9589">
                  <c:v>48</c:v>
                </c:pt>
                <c:pt idx="9590">
                  <c:v>34</c:v>
                </c:pt>
                <c:pt idx="9591">
                  <c:v>23</c:v>
                </c:pt>
                <c:pt idx="9592">
                  <c:v>14</c:v>
                </c:pt>
                <c:pt idx="9593">
                  <c:v>18</c:v>
                </c:pt>
                <c:pt idx="9594">
                  <c:v>13</c:v>
                </c:pt>
                <c:pt idx="9595">
                  <c:v>9</c:v>
                </c:pt>
                <c:pt idx="9596">
                  <c:v>15</c:v>
                </c:pt>
                <c:pt idx="9597">
                  <c:v>14</c:v>
                </c:pt>
                <c:pt idx="9598">
                  <c:v>11</c:v>
                </c:pt>
                <c:pt idx="9599">
                  <c:v>13</c:v>
                </c:pt>
                <c:pt idx="9600">
                  <c:v>8</c:v>
                </c:pt>
                <c:pt idx="9601">
                  <c:v>5</c:v>
                </c:pt>
                <c:pt idx="9602">
                  <c:v>8</c:v>
                </c:pt>
                <c:pt idx="9603">
                  <c:v>2</c:v>
                </c:pt>
                <c:pt idx="9604">
                  <c:v>1</c:v>
                </c:pt>
                <c:pt idx="9605">
                  <c:v>2</c:v>
                </c:pt>
                <c:pt idx="9606">
                  <c:v>1</c:v>
                </c:pt>
                <c:pt idx="9607">
                  <c:v>0</c:v>
                </c:pt>
                <c:pt idx="9608">
                  <c:v>0</c:v>
                </c:pt>
                <c:pt idx="9609">
                  <c:v>466</c:v>
                </c:pt>
                <c:pt idx="9610">
                  <c:v>231</c:v>
                </c:pt>
                <c:pt idx="9611">
                  <c:v>159</c:v>
                </c:pt>
                <c:pt idx="9612">
                  <c:v>148</c:v>
                </c:pt>
                <c:pt idx="9613">
                  <c:v>134</c:v>
                </c:pt>
                <c:pt idx="9614">
                  <c:v>68</c:v>
                </c:pt>
                <c:pt idx="9615">
                  <c:v>101</c:v>
                </c:pt>
                <c:pt idx="9616">
                  <c:v>86</c:v>
                </c:pt>
                <c:pt idx="9617">
                  <c:v>72</c:v>
                </c:pt>
                <c:pt idx="9618">
                  <c:v>72</c:v>
                </c:pt>
                <c:pt idx="9619">
                  <c:v>57</c:v>
                </c:pt>
                <c:pt idx="9620">
                  <c:v>55</c:v>
                </c:pt>
                <c:pt idx="9621">
                  <c:v>56</c:v>
                </c:pt>
                <c:pt idx="9622">
                  <c:v>36</c:v>
                </c:pt>
                <c:pt idx="9623">
                  <c:v>42</c:v>
                </c:pt>
                <c:pt idx="9624">
                  <c:v>56</c:v>
                </c:pt>
                <c:pt idx="9625">
                  <c:v>36</c:v>
                </c:pt>
                <c:pt idx="9626">
                  <c:v>18</c:v>
                </c:pt>
                <c:pt idx="9627">
                  <c:v>27</c:v>
                </c:pt>
                <c:pt idx="9628">
                  <c:v>27</c:v>
                </c:pt>
                <c:pt idx="9629">
                  <c:v>30</c:v>
                </c:pt>
                <c:pt idx="9630">
                  <c:v>30</c:v>
                </c:pt>
                <c:pt idx="9631">
                  <c:v>24</c:v>
                </c:pt>
                <c:pt idx="9632">
                  <c:v>26</c:v>
                </c:pt>
                <c:pt idx="9633">
                  <c:v>8</c:v>
                </c:pt>
                <c:pt idx="9634">
                  <c:v>24</c:v>
                </c:pt>
                <c:pt idx="9635">
                  <c:v>10</c:v>
                </c:pt>
                <c:pt idx="9636">
                  <c:v>4</c:v>
                </c:pt>
                <c:pt idx="9637">
                  <c:v>15</c:v>
                </c:pt>
                <c:pt idx="9638">
                  <c:v>18</c:v>
                </c:pt>
                <c:pt idx="9639">
                  <c:v>13</c:v>
                </c:pt>
                <c:pt idx="9640">
                  <c:v>16</c:v>
                </c:pt>
                <c:pt idx="9641">
                  <c:v>4</c:v>
                </c:pt>
                <c:pt idx="9642">
                  <c:v>14</c:v>
                </c:pt>
                <c:pt idx="9643">
                  <c:v>12</c:v>
                </c:pt>
                <c:pt idx="9644">
                  <c:v>4</c:v>
                </c:pt>
                <c:pt idx="9645">
                  <c:v>2</c:v>
                </c:pt>
                <c:pt idx="9646">
                  <c:v>5</c:v>
                </c:pt>
                <c:pt idx="9647">
                  <c:v>13</c:v>
                </c:pt>
                <c:pt idx="9648">
                  <c:v>5</c:v>
                </c:pt>
                <c:pt idx="9649">
                  <c:v>3</c:v>
                </c:pt>
                <c:pt idx="9650">
                  <c:v>7</c:v>
                </c:pt>
                <c:pt idx="9651">
                  <c:v>3</c:v>
                </c:pt>
                <c:pt idx="9652">
                  <c:v>1</c:v>
                </c:pt>
                <c:pt idx="9653">
                  <c:v>1</c:v>
                </c:pt>
                <c:pt idx="9654">
                  <c:v>3</c:v>
                </c:pt>
                <c:pt idx="9655">
                  <c:v>3</c:v>
                </c:pt>
                <c:pt idx="9656">
                  <c:v>4</c:v>
                </c:pt>
                <c:pt idx="9657">
                  <c:v>4</c:v>
                </c:pt>
                <c:pt idx="9658">
                  <c:v>1</c:v>
                </c:pt>
                <c:pt idx="9659">
                  <c:v>1</c:v>
                </c:pt>
                <c:pt idx="9660">
                  <c:v>0</c:v>
                </c:pt>
                <c:pt idx="9661">
                  <c:v>2</c:v>
                </c:pt>
                <c:pt idx="9662">
                  <c:v>2</c:v>
                </c:pt>
                <c:pt idx="9663">
                  <c:v>2</c:v>
                </c:pt>
                <c:pt idx="9664">
                  <c:v>2</c:v>
                </c:pt>
                <c:pt idx="9665">
                  <c:v>2</c:v>
                </c:pt>
                <c:pt idx="9666">
                  <c:v>1</c:v>
                </c:pt>
                <c:pt idx="9667">
                  <c:v>2</c:v>
                </c:pt>
                <c:pt idx="9668">
                  <c:v>1</c:v>
                </c:pt>
                <c:pt idx="9669">
                  <c:v>1</c:v>
                </c:pt>
                <c:pt idx="9670">
                  <c:v>1</c:v>
                </c:pt>
                <c:pt idx="9671">
                  <c:v>1</c:v>
                </c:pt>
                <c:pt idx="9672">
                  <c:v>0</c:v>
                </c:pt>
                <c:pt idx="9673">
                  <c:v>1</c:v>
                </c:pt>
                <c:pt idx="9674">
                  <c:v>1</c:v>
                </c:pt>
                <c:pt idx="9675">
                  <c:v>0</c:v>
                </c:pt>
                <c:pt idx="9676">
                  <c:v>0</c:v>
                </c:pt>
                <c:pt idx="9677">
                  <c:v>0</c:v>
                </c:pt>
                <c:pt idx="9678">
                  <c:v>0</c:v>
                </c:pt>
                <c:pt idx="9679">
                  <c:v>0</c:v>
                </c:pt>
                <c:pt idx="9680">
                  <c:v>0</c:v>
                </c:pt>
                <c:pt idx="9681">
                  <c:v>0</c:v>
                </c:pt>
                <c:pt idx="9682">
                  <c:v>0</c:v>
                </c:pt>
                <c:pt idx="9683">
                  <c:v>0</c:v>
                </c:pt>
                <c:pt idx="9684">
                  <c:v>0</c:v>
                </c:pt>
                <c:pt idx="9685">
                  <c:v>0</c:v>
                </c:pt>
                <c:pt idx="9686">
                  <c:v>0</c:v>
                </c:pt>
                <c:pt idx="9687">
                  <c:v>0</c:v>
                </c:pt>
                <c:pt idx="9688">
                  <c:v>0</c:v>
                </c:pt>
                <c:pt idx="9689">
                  <c:v>0</c:v>
                </c:pt>
                <c:pt idx="9690">
                  <c:v>0</c:v>
                </c:pt>
                <c:pt idx="9691">
                  <c:v>254</c:v>
                </c:pt>
                <c:pt idx="9692">
                  <c:v>225</c:v>
                </c:pt>
                <c:pt idx="9693">
                  <c:v>70</c:v>
                </c:pt>
                <c:pt idx="9694">
                  <c:v>53</c:v>
                </c:pt>
                <c:pt idx="9695">
                  <c:v>56</c:v>
                </c:pt>
                <c:pt idx="9696">
                  <c:v>53</c:v>
                </c:pt>
                <c:pt idx="9697">
                  <c:v>45</c:v>
                </c:pt>
                <c:pt idx="9698">
                  <c:v>45</c:v>
                </c:pt>
                <c:pt idx="9699">
                  <c:v>48</c:v>
                </c:pt>
                <c:pt idx="9700">
                  <c:v>36</c:v>
                </c:pt>
                <c:pt idx="9701">
                  <c:v>32</c:v>
                </c:pt>
                <c:pt idx="9702">
                  <c:v>34</c:v>
                </c:pt>
                <c:pt idx="9703">
                  <c:v>32</c:v>
                </c:pt>
                <c:pt idx="9704">
                  <c:v>38</c:v>
                </c:pt>
                <c:pt idx="9705">
                  <c:v>30</c:v>
                </c:pt>
                <c:pt idx="9706">
                  <c:v>23</c:v>
                </c:pt>
                <c:pt idx="9707">
                  <c:v>15</c:v>
                </c:pt>
                <c:pt idx="9708">
                  <c:v>6</c:v>
                </c:pt>
                <c:pt idx="9709">
                  <c:v>4</c:v>
                </c:pt>
                <c:pt idx="9710">
                  <c:v>2</c:v>
                </c:pt>
                <c:pt idx="9711">
                  <c:v>0</c:v>
                </c:pt>
                <c:pt idx="9712">
                  <c:v>399</c:v>
                </c:pt>
                <c:pt idx="9713">
                  <c:v>10</c:v>
                </c:pt>
                <c:pt idx="9714">
                  <c:v>10</c:v>
                </c:pt>
                <c:pt idx="9715">
                  <c:v>11</c:v>
                </c:pt>
                <c:pt idx="9716">
                  <c:v>218</c:v>
                </c:pt>
                <c:pt idx="9717">
                  <c:v>76</c:v>
                </c:pt>
                <c:pt idx="9718">
                  <c:v>443</c:v>
                </c:pt>
                <c:pt idx="9719">
                  <c:v>639</c:v>
                </c:pt>
                <c:pt idx="9720">
                  <c:v>475</c:v>
                </c:pt>
                <c:pt idx="9721">
                  <c:v>399</c:v>
                </c:pt>
                <c:pt idx="9722">
                  <c:v>506</c:v>
                </c:pt>
                <c:pt idx="9723">
                  <c:v>258</c:v>
                </c:pt>
                <c:pt idx="9724">
                  <c:v>310</c:v>
                </c:pt>
                <c:pt idx="9725">
                  <c:v>282</c:v>
                </c:pt>
                <c:pt idx="9726">
                  <c:v>256</c:v>
                </c:pt>
                <c:pt idx="9727">
                  <c:v>306</c:v>
                </c:pt>
                <c:pt idx="9728">
                  <c:v>185</c:v>
                </c:pt>
                <c:pt idx="9729">
                  <c:v>208</c:v>
                </c:pt>
                <c:pt idx="9730">
                  <c:v>114</c:v>
                </c:pt>
                <c:pt idx="9731">
                  <c:v>108</c:v>
                </c:pt>
                <c:pt idx="9732">
                  <c:v>150</c:v>
                </c:pt>
                <c:pt idx="9733">
                  <c:v>117</c:v>
                </c:pt>
                <c:pt idx="9734">
                  <c:v>111</c:v>
                </c:pt>
                <c:pt idx="9735">
                  <c:v>122</c:v>
                </c:pt>
                <c:pt idx="9736">
                  <c:v>115</c:v>
                </c:pt>
                <c:pt idx="9737">
                  <c:v>74</c:v>
                </c:pt>
                <c:pt idx="9738">
                  <c:v>78</c:v>
                </c:pt>
                <c:pt idx="9739">
                  <c:v>115</c:v>
                </c:pt>
                <c:pt idx="9740">
                  <c:v>69</c:v>
                </c:pt>
                <c:pt idx="9741">
                  <c:v>76</c:v>
                </c:pt>
                <c:pt idx="9742">
                  <c:v>72</c:v>
                </c:pt>
                <c:pt idx="9743">
                  <c:v>75</c:v>
                </c:pt>
                <c:pt idx="9744">
                  <c:v>51</c:v>
                </c:pt>
                <c:pt idx="9745">
                  <c:v>55</c:v>
                </c:pt>
                <c:pt idx="9746">
                  <c:v>68</c:v>
                </c:pt>
                <c:pt idx="9747">
                  <c:v>64</c:v>
                </c:pt>
                <c:pt idx="9748">
                  <c:v>61</c:v>
                </c:pt>
                <c:pt idx="9749">
                  <c:v>63</c:v>
                </c:pt>
                <c:pt idx="9750">
                  <c:v>66</c:v>
                </c:pt>
                <c:pt idx="9751">
                  <c:v>44</c:v>
                </c:pt>
                <c:pt idx="9752">
                  <c:v>42</c:v>
                </c:pt>
                <c:pt idx="9753">
                  <c:v>31</c:v>
                </c:pt>
                <c:pt idx="9754">
                  <c:v>50</c:v>
                </c:pt>
                <c:pt idx="9755">
                  <c:v>33</c:v>
                </c:pt>
                <c:pt idx="9756">
                  <c:v>32</c:v>
                </c:pt>
                <c:pt idx="9757">
                  <c:v>42</c:v>
                </c:pt>
                <c:pt idx="9758">
                  <c:v>36</c:v>
                </c:pt>
                <c:pt idx="9759">
                  <c:v>20</c:v>
                </c:pt>
                <c:pt idx="9760">
                  <c:v>28</c:v>
                </c:pt>
                <c:pt idx="9761">
                  <c:v>14</c:v>
                </c:pt>
                <c:pt idx="9762">
                  <c:v>35</c:v>
                </c:pt>
                <c:pt idx="9763">
                  <c:v>26</c:v>
                </c:pt>
                <c:pt idx="9764">
                  <c:v>31</c:v>
                </c:pt>
                <c:pt idx="9765">
                  <c:v>21</c:v>
                </c:pt>
                <c:pt idx="9766">
                  <c:v>19</c:v>
                </c:pt>
                <c:pt idx="9767">
                  <c:v>16</c:v>
                </c:pt>
                <c:pt idx="9768">
                  <c:v>17</c:v>
                </c:pt>
                <c:pt idx="9769">
                  <c:v>33</c:v>
                </c:pt>
                <c:pt idx="9770">
                  <c:v>17</c:v>
                </c:pt>
                <c:pt idx="9771">
                  <c:v>23</c:v>
                </c:pt>
                <c:pt idx="9772">
                  <c:v>23</c:v>
                </c:pt>
                <c:pt idx="9773">
                  <c:v>20</c:v>
                </c:pt>
                <c:pt idx="9774">
                  <c:v>19</c:v>
                </c:pt>
                <c:pt idx="9775">
                  <c:v>20</c:v>
                </c:pt>
                <c:pt idx="9776">
                  <c:v>17</c:v>
                </c:pt>
                <c:pt idx="9777">
                  <c:v>22</c:v>
                </c:pt>
                <c:pt idx="9778">
                  <c:v>11</c:v>
                </c:pt>
                <c:pt idx="9779">
                  <c:v>18</c:v>
                </c:pt>
                <c:pt idx="9780">
                  <c:v>18</c:v>
                </c:pt>
                <c:pt idx="9781">
                  <c:v>12</c:v>
                </c:pt>
                <c:pt idx="9782">
                  <c:v>21</c:v>
                </c:pt>
                <c:pt idx="9783">
                  <c:v>21</c:v>
                </c:pt>
                <c:pt idx="9784">
                  <c:v>17</c:v>
                </c:pt>
                <c:pt idx="9785">
                  <c:v>12</c:v>
                </c:pt>
                <c:pt idx="9786">
                  <c:v>8</c:v>
                </c:pt>
                <c:pt idx="9787">
                  <c:v>13</c:v>
                </c:pt>
                <c:pt idx="9788">
                  <c:v>22</c:v>
                </c:pt>
                <c:pt idx="9789">
                  <c:v>22</c:v>
                </c:pt>
                <c:pt idx="9790">
                  <c:v>18</c:v>
                </c:pt>
                <c:pt idx="9791">
                  <c:v>21</c:v>
                </c:pt>
                <c:pt idx="9792">
                  <c:v>14</c:v>
                </c:pt>
                <c:pt idx="9793">
                  <c:v>15</c:v>
                </c:pt>
                <c:pt idx="9794">
                  <c:v>18</c:v>
                </c:pt>
                <c:pt idx="9795">
                  <c:v>9</c:v>
                </c:pt>
                <c:pt idx="9796">
                  <c:v>9</c:v>
                </c:pt>
                <c:pt idx="9797">
                  <c:v>17</c:v>
                </c:pt>
                <c:pt idx="9798">
                  <c:v>10</c:v>
                </c:pt>
                <c:pt idx="9799">
                  <c:v>16</c:v>
                </c:pt>
                <c:pt idx="9800">
                  <c:v>11</c:v>
                </c:pt>
                <c:pt idx="9801">
                  <c:v>10</c:v>
                </c:pt>
                <c:pt idx="9802">
                  <c:v>13</c:v>
                </c:pt>
                <c:pt idx="9803">
                  <c:v>4</c:v>
                </c:pt>
                <c:pt idx="9804">
                  <c:v>14</c:v>
                </c:pt>
                <c:pt idx="9805">
                  <c:v>7</c:v>
                </c:pt>
                <c:pt idx="9806">
                  <c:v>8</c:v>
                </c:pt>
                <c:pt idx="9807">
                  <c:v>10</c:v>
                </c:pt>
                <c:pt idx="9808">
                  <c:v>13</c:v>
                </c:pt>
                <c:pt idx="9809">
                  <c:v>102</c:v>
                </c:pt>
                <c:pt idx="9810">
                  <c:v>32</c:v>
                </c:pt>
                <c:pt idx="9811">
                  <c:v>20</c:v>
                </c:pt>
                <c:pt idx="9812">
                  <c:v>13</c:v>
                </c:pt>
                <c:pt idx="9813">
                  <c:v>438</c:v>
                </c:pt>
                <c:pt idx="9814">
                  <c:v>227</c:v>
                </c:pt>
                <c:pt idx="9815">
                  <c:v>113</c:v>
                </c:pt>
                <c:pt idx="9816">
                  <c:v>149</c:v>
                </c:pt>
                <c:pt idx="9817">
                  <c:v>152</c:v>
                </c:pt>
                <c:pt idx="9818">
                  <c:v>146</c:v>
                </c:pt>
                <c:pt idx="9819">
                  <c:v>96</c:v>
                </c:pt>
                <c:pt idx="9820">
                  <c:v>90</c:v>
                </c:pt>
                <c:pt idx="9821">
                  <c:v>151</c:v>
                </c:pt>
                <c:pt idx="9822">
                  <c:v>118</c:v>
                </c:pt>
                <c:pt idx="9823">
                  <c:v>78</c:v>
                </c:pt>
                <c:pt idx="9824">
                  <c:v>102</c:v>
                </c:pt>
                <c:pt idx="9825">
                  <c:v>81</c:v>
                </c:pt>
                <c:pt idx="9826">
                  <c:v>54</c:v>
                </c:pt>
                <c:pt idx="9827">
                  <c:v>45</c:v>
                </c:pt>
                <c:pt idx="9828">
                  <c:v>28</c:v>
                </c:pt>
                <c:pt idx="9829">
                  <c:v>54</c:v>
                </c:pt>
                <c:pt idx="9830">
                  <c:v>48</c:v>
                </c:pt>
                <c:pt idx="9831">
                  <c:v>34</c:v>
                </c:pt>
                <c:pt idx="9832">
                  <c:v>33</c:v>
                </c:pt>
                <c:pt idx="9833">
                  <c:v>19</c:v>
                </c:pt>
                <c:pt idx="9834">
                  <c:v>34</c:v>
                </c:pt>
                <c:pt idx="9835">
                  <c:v>34</c:v>
                </c:pt>
                <c:pt idx="9836">
                  <c:v>15</c:v>
                </c:pt>
                <c:pt idx="9837">
                  <c:v>13</c:v>
                </c:pt>
                <c:pt idx="9838">
                  <c:v>12</c:v>
                </c:pt>
                <c:pt idx="9839">
                  <c:v>17</c:v>
                </c:pt>
                <c:pt idx="9840">
                  <c:v>18</c:v>
                </c:pt>
                <c:pt idx="9841">
                  <c:v>10</c:v>
                </c:pt>
                <c:pt idx="9842">
                  <c:v>7</c:v>
                </c:pt>
                <c:pt idx="9843">
                  <c:v>4</c:v>
                </c:pt>
                <c:pt idx="9844">
                  <c:v>3</c:v>
                </c:pt>
                <c:pt idx="9845">
                  <c:v>1</c:v>
                </c:pt>
                <c:pt idx="9846">
                  <c:v>2</c:v>
                </c:pt>
                <c:pt idx="9847">
                  <c:v>1</c:v>
                </c:pt>
                <c:pt idx="9848">
                  <c:v>1</c:v>
                </c:pt>
                <c:pt idx="9849">
                  <c:v>0</c:v>
                </c:pt>
                <c:pt idx="9850">
                  <c:v>0</c:v>
                </c:pt>
                <c:pt idx="9851">
                  <c:v>0</c:v>
                </c:pt>
                <c:pt idx="9852">
                  <c:v>0</c:v>
                </c:pt>
                <c:pt idx="9853">
                  <c:v>0</c:v>
                </c:pt>
                <c:pt idx="9854">
                  <c:v>0</c:v>
                </c:pt>
                <c:pt idx="9855">
                  <c:v>0</c:v>
                </c:pt>
                <c:pt idx="9856">
                  <c:v>127</c:v>
                </c:pt>
                <c:pt idx="9857">
                  <c:v>91</c:v>
                </c:pt>
                <c:pt idx="9858">
                  <c:v>27</c:v>
                </c:pt>
                <c:pt idx="9859">
                  <c:v>37</c:v>
                </c:pt>
                <c:pt idx="9860">
                  <c:v>38</c:v>
                </c:pt>
                <c:pt idx="9861">
                  <c:v>40</c:v>
                </c:pt>
                <c:pt idx="9862">
                  <c:v>25</c:v>
                </c:pt>
                <c:pt idx="9863">
                  <c:v>17</c:v>
                </c:pt>
                <c:pt idx="9864">
                  <c:v>11</c:v>
                </c:pt>
                <c:pt idx="9865">
                  <c:v>9</c:v>
                </c:pt>
                <c:pt idx="9866">
                  <c:v>6</c:v>
                </c:pt>
                <c:pt idx="9867">
                  <c:v>6</c:v>
                </c:pt>
                <c:pt idx="9868">
                  <c:v>3</c:v>
                </c:pt>
                <c:pt idx="9869">
                  <c:v>5</c:v>
                </c:pt>
                <c:pt idx="9870">
                  <c:v>4</c:v>
                </c:pt>
                <c:pt idx="9871">
                  <c:v>0</c:v>
                </c:pt>
                <c:pt idx="9872">
                  <c:v>2</c:v>
                </c:pt>
                <c:pt idx="9873">
                  <c:v>1</c:v>
                </c:pt>
                <c:pt idx="9874">
                  <c:v>1</c:v>
                </c:pt>
                <c:pt idx="9875">
                  <c:v>1</c:v>
                </c:pt>
                <c:pt idx="9876">
                  <c:v>0</c:v>
                </c:pt>
                <c:pt idx="9877">
                  <c:v>0</c:v>
                </c:pt>
                <c:pt idx="9878">
                  <c:v>0</c:v>
                </c:pt>
                <c:pt idx="9879">
                  <c:v>0</c:v>
                </c:pt>
                <c:pt idx="9880">
                  <c:v>214</c:v>
                </c:pt>
                <c:pt idx="9881">
                  <c:v>64</c:v>
                </c:pt>
                <c:pt idx="9882">
                  <c:v>46</c:v>
                </c:pt>
                <c:pt idx="9883">
                  <c:v>35</c:v>
                </c:pt>
                <c:pt idx="9884">
                  <c:v>32</c:v>
                </c:pt>
                <c:pt idx="9885">
                  <c:v>26</c:v>
                </c:pt>
                <c:pt idx="9886">
                  <c:v>32</c:v>
                </c:pt>
                <c:pt idx="9887">
                  <c:v>19</c:v>
                </c:pt>
                <c:pt idx="9888">
                  <c:v>30</c:v>
                </c:pt>
                <c:pt idx="9889">
                  <c:v>30</c:v>
                </c:pt>
                <c:pt idx="9890">
                  <c:v>27</c:v>
                </c:pt>
                <c:pt idx="9891">
                  <c:v>20</c:v>
                </c:pt>
                <c:pt idx="9892">
                  <c:v>17</c:v>
                </c:pt>
                <c:pt idx="9893">
                  <c:v>26</c:v>
                </c:pt>
                <c:pt idx="9894">
                  <c:v>14</c:v>
                </c:pt>
                <c:pt idx="9895">
                  <c:v>16</c:v>
                </c:pt>
                <c:pt idx="9896">
                  <c:v>4</c:v>
                </c:pt>
                <c:pt idx="9897">
                  <c:v>2</c:v>
                </c:pt>
                <c:pt idx="9898">
                  <c:v>4</c:v>
                </c:pt>
                <c:pt idx="9899">
                  <c:v>5</c:v>
                </c:pt>
                <c:pt idx="9900">
                  <c:v>3</c:v>
                </c:pt>
                <c:pt idx="9901">
                  <c:v>3</c:v>
                </c:pt>
                <c:pt idx="9902">
                  <c:v>1</c:v>
                </c:pt>
                <c:pt idx="9903">
                  <c:v>2</c:v>
                </c:pt>
                <c:pt idx="9904">
                  <c:v>2</c:v>
                </c:pt>
                <c:pt idx="9905">
                  <c:v>2</c:v>
                </c:pt>
                <c:pt idx="9906">
                  <c:v>1</c:v>
                </c:pt>
                <c:pt idx="9907">
                  <c:v>0</c:v>
                </c:pt>
                <c:pt idx="9908">
                  <c:v>0</c:v>
                </c:pt>
                <c:pt idx="9909">
                  <c:v>501</c:v>
                </c:pt>
                <c:pt idx="9910">
                  <c:v>9</c:v>
                </c:pt>
                <c:pt idx="9911">
                  <c:v>13</c:v>
                </c:pt>
                <c:pt idx="9912">
                  <c:v>4</c:v>
                </c:pt>
                <c:pt idx="9913">
                  <c:v>6</c:v>
                </c:pt>
                <c:pt idx="9914">
                  <c:v>3</c:v>
                </c:pt>
                <c:pt idx="9915">
                  <c:v>2</c:v>
                </c:pt>
                <c:pt idx="9916">
                  <c:v>2</c:v>
                </c:pt>
                <c:pt idx="9917">
                  <c:v>0</c:v>
                </c:pt>
                <c:pt idx="9918">
                  <c:v>0</c:v>
                </c:pt>
                <c:pt idx="9919">
                  <c:v>0</c:v>
                </c:pt>
                <c:pt idx="9920">
                  <c:v>16</c:v>
                </c:pt>
                <c:pt idx="9921">
                  <c:v>13</c:v>
                </c:pt>
                <c:pt idx="9922">
                  <c:v>2</c:v>
                </c:pt>
                <c:pt idx="9923">
                  <c:v>602</c:v>
                </c:pt>
                <c:pt idx="9924">
                  <c:v>0</c:v>
                </c:pt>
                <c:pt idx="9925">
                  <c:v>128</c:v>
                </c:pt>
                <c:pt idx="9926">
                  <c:v>45</c:v>
                </c:pt>
                <c:pt idx="9927">
                  <c:v>480</c:v>
                </c:pt>
                <c:pt idx="9928">
                  <c:v>509</c:v>
                </c:pt>
                <c:pt idx="9929">
                  <c:v>656</c:v>
                </c:pt>
                <c:pt idx="9930">
                  <c:v>575</c:v>
                </c:pt>
                <c:pt idx="9931">
                  <c:v>774</c:v>
                </c:pt>
                <c:pt idx="9932">
                  <c:v>487</c:v>
                </c:pt>
                <c:pt idx="9933">
                  <c:v>306</c:v>
                </c:pt>
                <c:pt idx="9934">
                  <c:v>418</c:v>
                </c:pt>
                <c:pt idx="9935">
                  <c:v>560</c:v>
                </c:pt>
                <c:pt idx="9936">
                  <c:v>425</c:v>
                </c:pt>
                <c:pt idx="9937">
                  <c:v>634</c:v>
                </c:pt>
                <c:pt idx="9938">
                  <c:v>15</c:v>
                </c:pt>
                <c:pt idx="9939">
                  <c:v>73</c:v>
                </c:pt>
                <c:pt idx="9940">
                  <c:v>45</c:v>
                </c:pt>
                <c:pt idx="9941">
                  <c:v>41</c:v>
                </c:pt>
                <c:pt idx="9942">
                  <c:v>115</c:v>
                </c:pt>
                <c:pt idx="9943">
                  <c:v>111</c:v>
                </c:pt>
                <c:pt idx="9944">
                  <c:v>153</c:v>
                </c:pt>
                <c:pt idx="9945">
                  <c:v>314</c:v>
                </c:pt>
                <c:pt idx="9946">
                  <c:v>266</c:v>
                </c:pt>
                <c:pt idx="9947">
                  <c:v>27</c:v>
                </c:pt>
                <c:pt idx="9948">
                  <c:v>41</c:v>
                </c:pt>
                <c:pt idx="9949">
                  <c:v>27</c:v>
                </c:pt>
                <c:pt idx="9950">
                  <c:v>165</c:v>
                </c:pt>
                <c:pt idx="9951">
                  <c:v>172</c:v>
                </c:pt>
                <c:pt idx="9952">
                  <c:v>103</c:v>
                </c:pt>
                <c:pt idx="9953">
                  <c:v>485</c:v>
                </c:pt>
                <c:pt idx="9954">
                  <c:v>287</c:v>
                </c:pt>
                <c:pt idx="9955">
                  <c:v>477</c:v>
                </c:pt>
                <c:pt idx="9956">
                  <c:v>422</c:v>
                </c:pt>
                <c:pt idx="9957">
                  <c:v>390</c:v>
                </c:pt>
                <c:pt idx="9958">
                  <c:v>257</c:v>
                </c:pt>
                <c:pt idx="9959">
                  <c:v>277</c:v>
                </c:pt>
                <c:pt idx="9960">
                  <c:v>112</c:v>
                </c:pt>
                <c:pt idx="9961">
                  <c:v>205</c:v>
                </c:pt>
                <c:pt idx="9962">
                  <c:v>114</c:v>
                </c:pt>
                <c:pt idx="9963">
                  <c:v>229</c:v>
                </c:pt>
                <c:pt idx="9964">
                  <c:v>171</c:v>
                </c:pt>
                <c:pt idx="9965">
                  <c:v>78</c:v>
                </c:pt>
                <c:pt idx="9966">
                  <c:v>133</c:v>
                </c:pt>
                <c:pt idx="9967">
                  <c:v>461</c:v>
                </c:pt>
                <c:pt idx="9968">
                  <c:v>323</c:v>
                </c:pt>
                <c:pt idx="9969">
                  <c:v>327</c:v>
                </c:pt>
                <c:pt idx="9970">
                  <c:v>367</c:v>
                </c:pt>
                <c:pt idx="9971">
                  <c:v>221</c:v>
                </c:pt>
                <c:pt idx="9972">
                  <c:v>264</c:v>
                </c:pt>
                <c:pt idx="9973">
                  <c:v>113</c:v>
                </c:pt>
                <c:pt idx="9974">
                  <c:v>12</c:v>
                </c:pt>
                <c:pt idx="9975">
                  <c:v>409</c:v>
                </c:pt>
                <c:pt idx="9976">
                  <c:v>462</c:v>
                </c:pt>
                <c:pt idx="9977">
                  <c:v>396</c:v>
                </c:pt>
                <c:pt idx="9978">
                  <c:v>420</c:v>
                </c:pt>
                <c:pt idx="9979">
                  <c:v>311</c:v>
                </c:pt>
                <c:pt idx="9980">
                  <c:v>89</c:v>
                </c:pt>
                <c:pt idx="9981">
                  <c:v>74</c:v>
                </c:pt>
                <c:pt idx="9982">
                  <c:v>80</c:v>
                </c:pt>
                <c:pt idx="9983">
                  <c:v>114</c:v>
                </c:pt>
                <c:pt idx="9984">
                  <c:v>51</c:v>
                </c:pt>
                <c:pt idx="9985">
                  <c:v>16</c:v>
                </c:pt>
                <c:pt idx="9986">
                  <c:v>308</c:v>
                </c:pt>
                <c:pt idx="9987">
                  <c:v>255</c:v>
                </c:pt>
                <c:pt idx="9988">
                  <c:v>115</c:v>
                </c:pt>
                <c:pt idx="9989">
                  <c:v>588</c:v>
                </c:pt>
                <c:pt idx="9990">
                  <c:v>539</c:v>
                </c:pt>
                <c:pt idx="9991">
                  <c:v>441</c:v>
                </c:pt>
                <c:pt idx="9992">
                  <c:v>498</c:v>
                </c:pt>
                <c:pt idx="9993">
                  <c:v>417</c:v>
                </c:pt>
                <c:pt idx="9994">
                  <c:v>399</c:v>
                </c:pt>
                <c:pt idx="9995">
                  <c:v>353</c:v>
                </c:pt>
                <c:pt idx="9996">
                  <c:v>417</c:v>
                </c:pt>
                <c:pt idx="9997">
                  <c:v>362</c:v>
                </c:pt>
                <c:pt idx="9998">
                  <c:v>410</c:v>
                </c:pt>
                <c:pt idx="9999">
                  <c:v>380</c:v>
                </c:pt>
                <c:pt idx="10000">
                  <c:v>356</c:v>
                </c:pt>
                <c:pt idx="10001">
                  <c:v>323</c:v>
                </c:pt>
                <c:pt idx="10002">
                  <c:v>360</c:v>
                </c:pt>
                <c:pt idx="10003">
                  <c:v>321</c:v>
                </c:pt>
                <c:pt idx="10004">
                  <c:v>162</c:v>
                </c:pt>
                <c:pt idx="10005">
                  <c:v>347</c:v>
                </c:pt>
                <c:pt idx="10006">
                  <c:v>260</c:v>
                </c:pt>
                <c:pt idx="10007">
                  <c:v>207</c:v>
                </c:pt>
                <c:pt idx="10008">
                  <c:v>171</c:v>
                </c:pt>
                <c:pt idx="10009">
                  <c:v>209</c:v>
                </c:pt>
                <c:pt idx="10010">
                  <c:v>23</c:v>
                </c:pt>
                <c:pt idx="10011">
                  <c:v>0</c:v>
                </c:pt>
                <c:pt idx="10012">
                  <c:v>232</c:v>
                </c:pt>
                <c:pt idx="10013">
                  <c:v>244</c:v>
                </c:pt>
                <c:pt idx="10014">
                  <c:v>202</c:v>
                </c:pt>
                <c:pt idx="10015">
                  <c:v>273</c:v>
                </c:pt>
                <c:pt idx="10016">
                  <c:v>290</c:v>
                </c:pt>
                <c:pt idx="10017">
                  <c:v>464</c:v>
                </c:pt>
                <c:pt idx="10018">
                  <c:v>509</c:v>
                </c:pt>
                <c:pt idx="10019">
                  <c:v>267</c:v>
                </c:pt>
                <c:pt idx="10020">
                  <c:v>76</c:v>
                </c:pt>
                <c:pt idx="10021">
                  <c:v>160</c:v>
                </c:pt>
                <c:pt idx="10022">
                  <c:v>342</c:v>
                </c:pt>
                <c:pt idx="10023">
                  <c:v>318</c:v>
                </c:pt>
                <c:pt idx="10024">
                  <c:v>221</c:v>
                </c:pt>
                <c:pt idx="10025">
                  <c:v>155</c:v>
                </c:pt>
                <c:pt idx="10026">
                  <c:v>140</c:v>
                </c:pt>
                <c:pt idx="10027">
                  <c:v>1</c:v>
                </c:pt>
                <c:pt idx="10028">
                  <c:v>432</c:v>
                </c:pt>
                <c:pt idx="10029">
                  <c:v>203</c:v>
                </c:pt>
                <c:pt idx="10030">
                  <c:v>183</c:v>
                </c:pt>
                <c:pt idx="10031">
                  <c:v>190</c:v>
                </c:pt>
                <c:pt idx="10032">
                  <c:v>155</c:v>
                </c:pt>
                <c:pt idx="10033">
                  <c:v>215</c:v>
                </c:pt>
                <c:pt idx="10034">
                  <c:v>148</c:v>
                </c:pt>
                <c:pt idx="10035">
                  <c:v>89</c:v>
                </c:pt>
                <c:pt idx="10036">
                  <c:v>140</c:v>
                </c:pt>
                <c:pt idx="10037">
                  <c:v>91</c:v>
                </c:pt>
                <c:pt idx="10038">
                  <c:v>48</c:v>
                </c:pt>
                <c:pt idx="10039">
                  <c:v>61</c:v>
                </c:pt>
                <c:pt idx="10040">
                  <c:v>40</c:v>
                </c:pt>
                <c:pt idx="10041">
                  <c:v>32</c:v>
                </c:pt>
                <c:pt idx="10042">
                  <c:v>24</c:v>
                </c:pt>
                <c:pt idx="10043">
                  <c:v>21</c:v>
                </c:pt>
                <c:pt idx="10044">
                  <c:v>1053</c:v>
                </c:pt>
                <c:pt idx="10045">
                  <c:v>510</c:v>
                </c:pt>
                <c:pt idx="10046">
                  <c:v>1612</c:v>
                </c:pt>
                <c:pt idx="10047">
                  <c:v>2548</c:v>
                </c:pt>
                <c:pt idx="10048">
                  <c:v>1435</c:v>
                </c:pt>
                <c:pt idx="10049">
                  <c:v>1721</c:v>
                </c:pt>
                <c:pt idx="10050">
                  <c:v>1140</c:v>
                </c:pt>
                <c:pt idx="10051">
                  <c:v>1372</c:v>
                </c:pt>
                <c:pt idx="10052">
                  <c:v>1307</c:v>
                </c:pt>
                <c:pt idx="10053">
                  <c:v>807</c:v>
                </c:pt>
                <c:pt idx="10054">
                  <c:v>3014</c:v>
                </c:pt>
                <c:pt idx="10055">
                  <c:v>1002</c:v>
                </c:pt>
                <c:pt idx="10056">
                  <c:v>655</c:v>
                </c:pt>
                <c:pt idx="10057">
                  <c:v>2317</c:v>
                </c:pt>
                <c:pt idx="10058">
                  <c:v>1118</c:v>
                </c:pt>
                <c:pt idx="10059">
                  <c:v>1828</c:v>
                </c:pt>
                <c:pt idx="10060">
                  <c:v>2178</c:v>
                </c:pt>
                <c:pt idx="10061">
                  <c:v>1716</c:v>
                </c:pt>
                <c:pt idx="10062">
                  <c:v>1655</c:v>
                </c:pt>
                <c:pt idx="10063">
                  <c:v>1542</c:v>
                </c:pt>
                <c:pt idx="10064">
                  <c:v>772</c:v>
                </c:pt>
                <c:pt idx="10065">
                  <c:v>736</c:v>
                </c:pt>
                <c:pt idx="10066">
                  <c:v>1010</c:v>
                </c:pt>
                <c:pt idx="10067">
                  <c:v>608</c:v>
                </c:pt>
                <c:pt idx="10068">
                  <c:v>1506</c:v>
                </c:pt>
                <c:pt idx="10069">
                  <c:v>799</c:v>
                </c:pt>
                <c:pt idx="10070">
                  <c:v>1269</c:v>
                </c:pt>
                <c:pt idx="10071">
                  <c:v>1668</c:v>
                </c:pt>
                <c:pt idx="10072">
                  <c:v>1331</c:v>
                </c:pt>
                <c:pt idx="10073">
                  <c:v>862</c:v>
                </c:pt>
                <c:pt idx="10074">
                  <c:v>558</c:v>
                </c:pt>
                <c:pt idx="10075">
                  <c:v>902</c:v>
                </c:pt>
                <c:pt idx="10076">
                  <c:v>1553</c:v>
                </c:pt>
                <c:pt idx="10077">
                  <c:v>1559</c:v>
                </c:pt>
                <c:pt idx="10078">
                  <c:v>1157</c:v>
                </c:pt>
                <c:pt idx="10079">
                  <c:v>921</c:v>
                </c:pt>
                <c:pt idx="10080">
                  <c:v>596</c:v>
                </c:pt>
                <c:pt idx="10081">
                  <c:v>984</c:v>
                </c:pt>
                <c:pt idx="10082">
                  <c:v>1045</c:v>
                </c:pt>
                <c:pt idx="10083">
                  <c:v>1195</c:v>
                </c:pt>
                <c:pt idx="10084">
                  <c:v>740</c:v>
                </c:pt>
                <c:pt idx="10085">
                  <c:v>1436</c:v>
                </c:pt>
                <c:pt idx="10086">
                  <c:v>1394</c:v>
                </c:pt>
                <c:pt idx="10087">
                  <c:v>1286</c:v>
                </c:pt>
                <c:pt idx="10088">
                  <c:v>1299</c:v>
                </c:pt>
                <c:pt idx="10089">
                  <c:v>1221</c:v>
                </c:pt>
                <c:pt idx="10090">
                  <c:v>1284</c:v>
                </c:pt>
                <c:pt idx="10091">
                  <c:v>931</c:v>
                </c:pt>
                <c:pt idx="10092">
                  <c:v>1297</c:v>
                </c:pt>
                <c:pt idx="10093">
                  <c:v>1801</c:v>
                </c:pt>
                <c:pt idx="10094">
                  <c:v>817</c:v>
                </c:pt>
                <c:pt idx="10095">
                  <c:v>1132</c:v>
                </c:pt>
                <c:pt idx="10096">
                  <c:v>960</c:v>
                </c:pt>
                <c:pt idx="10097">
                  <c:v>1027</c:v>
                </c:pt>
                <c:pt idx="10098">
                  <c:v>878</c:v>
                </c:pt>
                <c:pt idx="10099">
                  <c:v>934</c:v>
                </c:pt>
                <c:pt idx="10100">
                  <c:v>1043</c:v>
                </c:pt>
                <c:pt idx="10101">
                  <c:v>971</c:v>
                </c:pt>
                <c:pt idx="10102">
                  <c:v>798</c:v>
                </c:pt>
                <c:pt idx="10103">
                  <c:v>1021</c:v>
                </c:pt>
                <c:pt idx="10104">
                  <c:v>1357</c:v>
                </c:pt>
                <c:pt idx="10105">
                  <c:v>1159</c:v>
                </c:pt>
                <c:pt idx="10106">
                  <c:v>1588</c:v>
                </c:pt>
                <c:pt idx="10107">
                  <c:v>1359</c:v>
                </c:pt>
                <c:pt idx="10108">
                  <c:v>2513</c:v>
                </c:pt>
                <c:pt idx="10109">
                  <c:v>1253</c:v>
                </c:pt>
                <c:pt idx="10110">
                  <c:v>1110</c:v>
                </c:pt>
                <c:pt idx="10111">
                  <c:v>1051</c:v>
                </c:pt>
                <c:pt idx="10112">
                  <c:v>780</c:v>
                </c:pt>
                <c:pt idx="10113">
                  <c:v>1275</c:v>
                </c:pt>
                <c:pt idx="10114">
                  <c:v>1207</c:v>
                </c:pt>
                <c:pt idx="10115">
                  <c:v>1174</c:v>
                </c:pt>
                <c:pt idx="10116">
                  <c:v>1631</c:v>
                </c:pt>
                <c:pt idx="10117">
                  <c:v>638</c:v>
                </c:pt>
                <c:pt idx="10118">
                  <c:v>970</c:v>
                </c:pt>
                <c:pt idx="10119">
                  <c:v>1106</c:v>
                </c:pt>
                <c:pt idx="10120">
                  <c:v>955</c:v>
                </c:pt>
                <c:pt idx="10121">
                  <c:v>1041</c:v>
                </c:pt>
                <c:pt idx="10122">
                  <c:v>966</c:v>
                </c:pt>
                <c:pt idx="10123">
                  <c:v>1217</c:v>
                </c:pt>
                <c:pt idx="10124">
                  <c:v>945</c:v>
                </c:pt>
                <c:pt idx="10125">
                  <c:v>1053</c:v>
                </c:pt>
                <c:pt idx="10126">
                  <c:v>909</c:v>
                </c:pt>
                <c:pt idx="10127">
                  <c:v>962</c:v>
                </c:pt>
                <c:pt idx="10128">
                  <c:v>1166</c:v>
                </c:pt>
                <c:pt idx="10129">
                  <c:v>466</c:v>
                </c:pt>
                <c:pt idx="10130">
                  <c:v>1224</c:v>
                </c:pt>
                <c:pt idx="10131">
                  <c:v>1020</c:v>
                </c:pt>
                <c:pt idx="10132">
                  <c:v>1850</c:v>
                </c:pt>
                <c:pt idx="10133">
                  <c:v>737</c:v>
                </c:pt>
                <c:pt idx="10134">
                  <c:v>949</c:v>
                </c:pt>
                <c:pt idx="10135">
                  <c:v>1172</c:v>
                </c:pt>
                <c:pt idx="10136">
                  <c:v>751</c:v>
                </c:pt>
                <c:pt idx="10137">
                  <c:v>1232</c:v>
                </c:pt>
                <c:pt idx="10138">
                  <c:v>1231</c:v>
                </c:pt>
                <c:pt idx="10139">
                  <c:v>856</c:v>
                </c:pt>
                <c:pt idx="10140">
                  <c:v>720</c:v>
                </c:pt>
                <c:pt idx="10141">
                  <c:v>1181</c:v>
                </c:pt>
                <c:pt idx="10142">
                  <c:v>661</c:v>
                </c:pt>
                <c:pt idx="10143">
                  <c:v>535</c:v>
                </c:pt>
                <c:pt idx="10144">
                  <c:v>547</c:v>
                </c:pt>
                <c:pt idx="10145">
                  <c:v>492</c:v>
                </c:pt>
                <c:pt idx="10146">
                  <c:v>428</c:v>
                </c:pt>
                <c:pt idx="10147">
                  <c:v>447</c:v>
                </c:pt>
                <c:pt idx="10148">
                  <c:v>352</c:v>
                </c:pt>
                <c:pt idx="10149">
                  <c:v>410</c:v>
                </c:pt>
                <c:pt idx="10150">
                  <c:v>320</c:v>
                </c:pt>
                <c:pt idx="10151">
                  <c:v>257</c:v>
                </c:pt>
                <c:pt idx="10152">
                  <c:v>266</c:v>
                </c:pt>
                <c:pt idx="10153">
                  <c:v>276</c:v>
                </c:pt>
                <c:pt idx="10154">
                  <c:v>229</c:v>
                </c:pt>
                <c:pt idx="10155">
                  <c:v>192</c:v>
                </c:pt>
                <c:pt idx="10156">
                  <c:v>193</c:v>
                </c:pt>
                <c:pt idx="10157">
                  <c:v>224</c:v>
                </c:pt>
                <c:pt idx="10158">
                  <c:v>221</c:v>
                </c:pt>
                <c:pt idx="10159">
                  <c:v>132</c:v>
                </c:pt>
                <c:pt idx="10160">
                  <c:v>210</c:v>
                </c:pt>
                <c:pt idx="10161">
                  <c:v>260</c:v>
                </c:pt>
                <c:pt idx="10162">
                  <c:v>109</c:v>
                </c:pt>
                <c:pt idx="10163">
                  <c:v>176</c:v>
                </c:pt>
                <c:pt idx="10164">
                  <c:v>149</c:v>
                </c:pt>
                <c:pt idx="10165">
                  <c:v>199</c:v>
                </c:pt>
                <c:pt idx="10166">
                  <c:v>163</c:v>
                </c:pt>
                <c:pt idx="10167">
                  <c:v>66</c:v>
                </c:pt>
                <c:pt idx="10168">
                  <c:v>195</c:v>
                </c:pt>
                <c:pt idx="10169">
                  <c:v>168</c:v>
                </c:pt>
                <c:pt idx="10170">
                  <c:v>193</c:v>
                </c:pt>
                <c:pt idx="10171">
                  <c:v>164</c:v>
                </c:pt>
                <c:pt idx="10172">
                  <c:v>117</c:v>
                </c:pt>
                <c:pt idx="10173">
                  <c:v>159</c:v>
                </c:pt>
                <c:pt idx="10174">
                  <c:v>84</c:v>
                </c:pt>
                <c:pt idx="10175">
                  <c:v>120</c:v>
                </c:pt>
                <c:pt idx="10176">
                  <c:v>75</c:v>
                </c:pt>
                <c:pt idx="10177">
                  <c:v>139</c:v>
                </c:pt>
                <c:pt idx="10178">
                  <c:v>96</c:v>
                </c:pt>
                <c:pt idx="10179">
                  <c:v>155</c:v>
                </c:pt>
                <c:pt idx="10180">
                  <c:v>84</c:v>
                </c:pt>
                <c:pt idx="10181">
                  <c:v>35</c:v>
                </c:pt>
                <c:pt idx="10182">
                  <c:v>141</c:v>
                </c:pt>
                <c:pt idx="10183">
                  <c:v>124</c:v>
                </c:pt>
                <c:pt idx="10184">
                  <c:v>108</c:v>
                </c:pt>
                <c:pt idx="10185">
                  <c:v>124</c:v>
                </c:pt>
                <c:pt idx="10186">
                  <c:v>83</c:v>
                </c:pt>
                <c:pt idx="10187">
                  <c:v>101</c:v>
                </c:pt>
                <c:pt idx="10188">
                  <c:v>83</c:v>
                </c:pt>
                <c:pt idx="10189">
                  <c:v>61</c:v>
                </c:pt>
                <c:pt idx="10190">
                  <c:v>95</c:v>
                </c:pt>
                <c:pt idx="10191">
                  <c:v>33</c:v>
                </c:pt>
                <c:pt idx="10192">
                  <c:v>92</c:v>
                </c:pt>
                <c:pt idx="10193">
                  <c:v>116</c:v>
                </c:pt>
                <c:pt idx="10194">
                  <c:v>96</c:v>
                </c:pt>
                <c:pt idx="10195">
                  <c:v>79</c:v>
                </c:pt>
                <c:pt idx="10196">
                  <c:v>96</c:v>
                </c:pt>
                <c:pt idx="10197">
                  <c:v>96</c:v>
                </c:pt>
                <c:pt idx="10198">
                  <c:v>97</c:v>
                </c:pt>
                <c:pt idx="10199">
                  <c:v>37</c:v>
                </c:pt>
                <c:pt idx="10200">
                  <c:v>112</c:v>
                </c:pt>
                <c:pt idx="10201">
                  <c:v>30</c:v>
                </c:pt>
                <c:pt idx="10202">
                  <c:v>73</c:v>
                </c:pt>
                <c:pt idx="10203">
                  <c:v>126</c:v>
                </c:pt>
                <c:pt idx="10204">
                  <c:v>80</c:v>
                </c:pt>
                <c:pt idx="10205">
                  <c:v>88</c:v>
                </c:pt>
                <c:pt idx="10206">
                  <c:v>81</c:v>
                </c:pt>
                <c:pt idx="10207">
                  <c:v>82</c:v>
                </c:pt>
                <c:pt idx="10208">
                  <c:v>59</c:v>
                </c:pt>
                <c:pt idx="10209">
                  <c:v>58</c:v>
                </c:pt>
                <c:pt idx="10210">
                  <c:v>67</c:v>
                </c:pt>
                <c:pt idx="10211">
                  <c:v>16</c:v>
                </c:pt>
                <c:pt idx="10212">
                  <c:v>79</c:v>
                </c:pt>
                <c:pt idx="10213">
                  <c:v>84</c:v>
                </c:pt>
                <c:pt idx="10214">
                  <c:v>59</c:v>
                </c:pt>
                <c:pt idx="10215">
                  <c:v>94</c:v>
                </c:pt>
                <c:pt idx="10216">
                  <c:v>76</c:v>
                </c:pt>
                <c:pt idx="10217">
                  <c:v>70</c:v>
                </c:pt>
                <c:pt idx="10218">
                  <c:v>53</c:v>
                </c:pt>
                <c:pt idx="10219">
                  <c:v>56</c:v>
                </c:pt>
                <c:pt idx="10220">
                  <c:v>41</c:v>
                </c:pt>
                <c:pt idx="10221">
                  <c:v>43</c:v>
                </c:pt>
                <c:pt idx="10222">
                  <c:v>72</c:v>
                </c:pt>
                <c:pt idx="10223">
                  <c:v>33</c:v>
                </c:pt>
                <c:pt idx="10224">
                  <c:v>46</c:v>
                </c:pt>
                <c:pt idx="10225">
                  <c:v>70</c:v>
                </c:pt>
                <c:pt idx="10226">
                  <c:v>55</c:v>
                </c:pt>
                <c:pt idx="10227">
                  <c:v>56</c:v>
                </c:pt>
                <c:pt idx="10228">
                  <c:v>74</c:v>
                </c:pt>
                <c:pt idx="10229">
                  <c:v>85</c:v>
                </c:pt>
                <c:pt idx="10230">
                  <c:v>43</c:v>
                </c:pt>
                <c:pt idx="10231">
                  <c:v>75</c:v>
                </c:pt>
                <c:pt idx="10232">
                  <c:v>55</c:v>
                </c:pt>
                <c:pt idx="10233">
                  <c:v>73</c:v>
                </c:pt>
                <c:pt idx="10234">
                  <c:v>63</c:v>
                </c:pt>
                <c:pt idx="10235">
                  <c:v>71</c:v>
                </c:pt>
                <c:pt idx="10236">
                  <c:v>48</c:v>
                </c:pt>
                <c:pt idx="10237">
                  <c:v>38</c:v>
                </c:pt>
                <c:pt idx="10238">
                  <c:v>53</c:v>
                </c:pt>
                <c:pt idx="10239">
                  <c:v>50</c:v>
                </c:pt>
                <c:pt idx="10240">
                  <c:v>797</c:v>
                </c:pt>
                <c:pt idx="10241">
                  <c:v>961</c:v>
                </c:pt>
                <c:pt idx="10242">
                  <c:v>742</c:v>
                </c:pt>
                <c:pt idx="10243">
                  <c:v>532</c:v>
                </c:pt>
                <c:pt idx="10244">
                  <c:v>680</c:v>
                </c:pt>
                <c:pt idx="10245">
                  <c:v>868</c:v>
                </c:pt>
                <c:pt idx="10246">
                  <c:v>1001</c:v>
                </c:pt>
                <c:pt idx="10247">
                  <c:v>821</c:v>
                </c:pt>
                <c:pt idx="10248">
                  <c:v>866</c:v>
                </c:pt>
                <c:pt idx="10249">
                  <c:v>652</c:v>
                </c:pt>
                <c:pt idx="10250">
                  <c:v>931</c:v>
                </c:pt>
                <c:pt idx="10251">
                  <c:v>856</c:v>
                </c:pt>
                <c:pt idx="10252">
                  <c:v>949</c:v>
                </c:pt>
                <c:pt idx="10253">
                  <c:v>740</c:v>
                </c:pt>
                <c:pt idx="10254">
                  <c:v>1013</c:v>
                </c:pt>
                <c:pt idx="10255">
                  <c:v>1277</c:v>
                </c:pt>
                <c:pt idx="10256">
                  <c:v>856</c:v>
                </c:pt>
                <c:pt idx="10257">
                  <c:v>792</c:v>
                </c:pt>
                <c:pt idx="10258">
                  <c:v>1391</c:v>
                </c:pt>
                <c:pt idx="10259">
                  <c:v>1030</c:v>
                </c:pt>
                <c:pt idx="10260">
                  <c:v>819</c:v>
                </c:pt>
                <c:pt idx="10261">
                  <c:v>614</c:v>
                </c:pt>
                <c:pt idx="10262">
                  <c:v>505</c:v>
                </c:pt>
                <c:pt idx="10263">
                  <c:v>825</c:v>
                </c:pt>
                <c:pt idx="10264">
                  <c:v>962</c:v>
                </c:pt>
                <c:pt idx="10265">
                  <c:v>816</c:v>
                </c:pt>
                <c:pt idx="10266">
                  <c:v>711</c:v>
                </c:pt>
                <c:pt idx="10267">
                  <c:v>585</c:v>
                </c:pt>
                <c:pt idx="10268">
                  <c:v>773</c:v>
                </c:pt>
                <c:pt idx="10269">
                  <c:v>732</c:v>
                </c:pt>
                <c:pt idx="10270">
                  <c:v>572</c:v>
                </c:pt>
                <c:pt idx="10271">
                  <c:v>778</c:v>
                </c:pt>
                <c:pt idx="10272">
                  <c:v>776</c:v>
                </c:pt>
                <c:pt idx="10273">
                  <c:v>471</c:v>
                </c:pt>
                <c:pt idx="10274">
                  <c:v>665</c:v>
                </c:pt>
                <c:pt idx="10275">
                  <c:v>565</c:v>
                </c:pt>
                <c:pt idx="10276">
                  <c:v>668</c:v>
                </c:pt>
                <c:pt idx="10277">
                  <c:v>698</c:v>
                </c:pt>
                <c:pt idx="10278">
                  <c:v>719</c:v>
                </c:pt>
                <c:pt idx="10279">
                  <c:v>626</c:v>
                </c:pt>
                <c:pt idx="10280">
                  <c:v>535</c:v>
                </c:pt>
                <c:pt idx="10281">
                  <c:v>645</c:v>
                </c:pt>
                <c:pt idx="10282">
                  <c:v>633</c:v>
                </c:pt>
                <c:pt idx="10283">
                  <c:v>645</c:v>
                </c:pt>
                <c:pt idx="10284">
                  <c:v>621</c:v>
                </c:pt>
                <c:pt idx="10285">
                  <c:v>551</c:v>
                </c:pt>
                <c:pt idx="10286">
                  <c:v>719</c:v>
                </c:pt>
                <c:pt idx="10287">
                  <c:v>566</c:v>
                </c:pt>
                <c:pt idx="10288">
                  <c:v>590</c:v>
                </c:pt>
                <c:pt idx="10289">
                  <c:v>369</c:v>
                </c:pt>
                <c:pt idx="10290">
                  <c:v>592</c:v>
                </c:pt>
                <c:pt idx="10291">
                  <c:v>548</c:v>
                </c:pt>
                <c:pt idx="10292">
                  <c:v>584</c:v>
                </c:pt>
                <c:pt idx="10293">
                  <c:v>498</c:v>
                </c:pt>
                <c:pt idx="10294">
                  <c:v>453</c:v>
                </c:pt>
                <c:pt idx="10295">
                  <c:v>573</c:v>
                </c:pt>
                <c:pt idx="10296">
                  <c:v>552</c:v>
                </c:pt>
                <c:pt idx="10297">
                  <c:v>579</c:v>
                </c:pt>
                <c:pt idx="10298">
                  <c:v>541</c:v>
                </c:pt>
                <c:pt idx="10299">
                  <c:v>535</c:v>
                </c:pt>
                <c:pt idx="10300">
                  <c:v>536</c:v>
                </c:pt>
                <c:pt idx="10301">
                  <c:v>474</c:v>
                </c:pt>
                <c:pt idx="10302">
                  <c:v>567</c:v>
                </c:pt>
                <c:pt idx="10303">
                  <c:v>575</c:v>
                </c:pt>
                <c:pt idx="10304">
                  <c:v>426</c:v>
                </c:pt>
                <c:pt idx="10305">
                  <c:v>542</c:v>
                </c:pt>
                <c:pt idx="10306">
                  <c:v>537</c:v>
                </c:pt>
                <c:pt idx="10307">
                  <c:v>565</c:v>
                </c:pt>
                <c:pt idx="10308">
                  <c:v>419</c:v>
                </c:pt>
                <c:pt idx="10309">
                  <c:v>552</c:v>
                </c:pt>
                <c:pt idx="10310">
                  <c:v>412</c:v>
                </c:pt>
                <c:pt idx="10311">
                  <c:v>481</c:v>
                </c:pt>
                <c:pt idx="10312">
                  <c:v>464</c:v>
                </c:pt>
                <c:pt idx="10313">
                  <c:v>481</c:v>
                </c:pt>
                <c:pt idx="10314">
                  <c:v>459</c:v>
                </c:pt>
                <c:pt idx="10315">
                  <c:v>525</c:v>
                </c:pt>
                <c:pt idx="10316">
                  <c:v>386</c:v>
                </c:pt>
                <c:pt idx="10317">
                  <c:v>477</c:v>
                </c:pt>
                <c:pt idx="10318">
                  <c:v>488</c:v>
                </c:pt>
                <c:pt idx="10319">
                  <c:v>425</c:v>
                </c:pt>
                <c:pt idx="10320">
                  <c:v>489</c:v>
                </c:pt>
                <c:pt idx="10321">
                  <c:v>521</c:v>
                </c:pt>
                <c:pt idx="10322">
                  <c:v>457</c:v>
                </c:pt>
                <c:pt idx="10323">
                  <c:v>437</c:v>
                </c:pt>
                <c:pt idx="10324">
                  <c:v>473</c:v>
                </c:pt>
                <c:pt idx="10325">
                  <c:v>557</c:v>
                </c:pt>
                <c:pt idx="10326">
                  <c:v>1395</c:v>
                </c:pt>
                <c:pt idx="10327">
                  <c:v>806</c:v>
                </c:pt>
                <c:pt idx="10328">
                  <c:v>881</c:v>
                </c:pt>
                <c:pt idx="10329">
                  <c:v>1073</c:v>
                </c:pt>
                <c:pt idx="10330">
                  <c:v>714</c:v>
                </c:pt>
                <c:pt idx="10331">
                  <c:v>738</c:v>
                </c:pt>
                <c:pt idx="10332">
                  <c:v>694</c:v>
                </c:pt>
                <c:pt idx="10333">
                  <c:v>686</c:v>
                </c:pt>
                <c:pt idx="10334">
                  <c:v>614</c:v>
                </c:pt>
                <c:pt idx="10335">
                  <c:v>855</c:v>
                </c:pt>
                <c:pt idx="10336">
                  <c:v>653</c:v>
                </c:pt>
                <c:pt idx="10337">
                  <c:v>706</c:v>
                </c:pt>
                <c:pt idx="10338">
                  <c:v>626</c:v>
                </c:pt>
                <c:pt idx="10339">
                  <c:v>541</c:v>
                </c:pt>
                <c:pt idx="10340">
                  <c:v>320</c:v>
                </c:pt>
                <c:pt idx="10341">
                  <c:v>488</c:v>
                </c:pt>
                <c:pt idx="10342">
                  <c:v>429</c:v>
                </c:pt>
                <c:pt idx="10343">
                  <c:v>538</c:v>
                </c:pt>
                <c:pt idx="10344">
                  <c:v>500</c:v>
                </c:pt>
                <c:pt idx="10345">
                  <c:v>607</c:v>
                </c:pt>
                <c:pt idx="10346">
                  <c:v>556</c:v>
                </c:pt>
                <c:pt idx="10347">
                  <c:v>496</c:v>
                </c:pt>
                <c:pt idx="10348">
                  <c:v>314</c:v>
                </c:pt>
                <c:pt idx="10349">
                  <c:v>303</c:v>
                </c:pt>
                <c:pt idx="10350">
                  <c:v>461</c:v>
                </c:pt>
                <c:pt idx="10351">
                  <c:v>459</c:v>
                </c:pt>
                <c:pt idx="10352">
                  <c:v>333</c:v>
                </c:pt>
                <c:pt idx="10353">
                  <c:v>422</c:v>
                </c:pt>
                <c:pt idx="10354">
                  <c:v>335</c:v>
                </c:pt>
                <c:pt idx="10355">
                  <c:v>350</c:v>
                </c:pt>
                <c:pt idx="10356">
                  <c:v>377</c:v>
                </c:pt>
                <c:pt idx="10357">
                  <c:v>406</c:v>
                </c:pt>
                <c:pt idx="10358">
                  <c:v>232</c:v>
                </c:pt>
                <c:pt idx="10359">
                  <c:v>428</c:v>
                </c:pt>
                <c:pt idx="10360">
                  <c:v>369</c:v>
                </c:pt>
                <c:pt idx="10361">
                  <c:v>400</c:v>
                </c:pt>
                <c:pt idx="10362">
                  <c:v>350</c:v>
                </c:pt>
                <c:pt idx="10363">
                  <c:v>308</c:v>
                </c:pt>
                <c:pt idx="10364">
                  <c:v>373</c:v>
                </c:pt>
                <c:pt idx="10365">
                  <c:v>348</c:v>
                </c:pt>
                <c:pt idx="10366">
                  <c:v>350</c:v>
                </c:pt>
                <c:pt idx="10367">
                  <c:v>311</c:v>
                </c:pt>
                <c:pt idx="10368">
                  <c:v>357</c:v>
                </c:pt>
                <c:pt idx="10369">
                  <c:v>129</c:v>
                </c:pt>
                <c:pt idx="10370">
                  <c:v>276</c:v>
                </c:pt>
                <c:pt idx="10371">
                  <c:v>461</c:v>
                </c:pt>
                <c:pt idx="10372">
                  <c:v>296</c:v>
                </c:pt>
                <c:pt idx="10373">
                  <c:v>283</c:v>
                </c:pt>
                <c:pt idx="10374">
                  <c:v>207</c:v>
                </c:pt>
                <c:pt idx="10375">
                  <c:v>253</c:v>
                </c:pt>
                <c:pt idx="10376">
                  <c:v>260</c:v>
                </c:pt>
                <c:pt idx="10377">
                  <c:v>256</c:v>
                </c:pt>
                <c:pt idx="10378">
                  <c:v>260</c:v>
                </c:pt>
                <c:pt idx="10379">
                  <c:v>441</c:v>
                </c:pt>
                <c:pt idx="10380">
                  <c:v>255</c:v>
                </c:pt>
                <c:pt idx="10381">
                  <c:v>186</c:v>
                </c:pt>
                <c:pt idx="10382">
                  <c:v>254</c:v>
                </c:pt>
                <c:pt idx="10383">
                  <c:v>298</c:v>
                </c:pt>
                <c:pt idx="10384">
                  <c:v>243</c:v>
                </c:pt>
                <c:pt idx="10385">
                  <c:v>235</c:v>
                </c:pt>
                <c:pt idx="10386">
                  <c:v>160</c:v>
                </c:pt>
                <c:pt idx="10387">
                  <c:v>166</c:v>
                </c:pt>
                <c:pt idx="10388">
                  <c:v>228</c:v>
                </c:pt>
                <c:pt idx="10389">
                  <c:v>224</c:v>
                </c:pt>
                <c:pt idx="10390">
                  <c:v>209</c:v>
                </c:pt>
                <c:pt idx="10391">
                  <c:v>183</c:v>
                </c:pt>
                <c:pt idx="10392">
                  <c:v>215</c:v>
                </c:pt>
                <c:pt idx="10393">
                  <c:v>178</c:v>
                </c:pt>
                <c:pt idx="10394">
                  <c:v>195</c:v>
                </c:pt>
                <c:pt idx="10395">
                  <c:v>179</c:v>
                </c:pt>
                <c:pt idx="10396">
                  <c:v>167</c:v>
                </c:pt>
                <c:pt idx="10397">
                  <c:v>193</c:v>
                </c:pt>
                <c:pt idx="10398">
                  <c:v>244</c:v>
                </c:pt>
                <c:pt idx="10399">
                  <c:v>157</c:v>
                </c:pt>
                <c:pt idx="10400">
                  <c:v>206</c:v>
                </c:pt>
                <c:pt idx="10401">
                  <c:v>259</c:v>
                </c:pt>
                <c:pt idx="10402">
                  <c:v>114</c:v>
                </c:pt>
                <c:pt idx="10403">
                  <c:v>175</c:v>
                </c:pt>
                <c:pt idx="10404">
                  <c:v>199</c:v>
                </c:pt>
                <c:pt idx="10405">
                  <c:v>197</c:v>
                </c:pt>
                <c:pt idx="10406">
                  <c:v>207</c:v>
                </c:pt>
                <c:pt idx="10407">
                  <c:v>236</c:v>
                </c:pt>
                <c:pt idx="10408">
                  <c:v>165</c:v>
                </c:pt>
                <c:pt idx="10409">
                  <c:v>116</c:v>
                </c:pt>
                <c:pt idx="10410">
                  <c:v>150</c:v>
                </c:pt>
                <c:pt idx="10411">
                  <c:v>144</c:v>
                </c:pt>
                <c:pt idx="10412">
                  <c:v>89</c:v>
                </c:pt>
                <c:pt idx="10413">
                  <c:v>144</c:v>
                </c:pt>
                <c:pt idx="10414">
                  <c:v>80</c:v>
                </c:pt>
                <c:pt idx="10415">
                  <c:v>91</c:v>
                </c:pt>
                <c:pt idx="10416">
                  <c:v>92</c:v>
                </c:pt>
                <c:pt idx="10417">
                  <c:v>49</c:v>
                </c:pt>
                <c:pt idx="10418">
                  <c:v>61</c:v>
                </c:pt>
                <c:pt idx="10419">
                  <c:v>49</c:v>
                </c:pt>
                <c:pt idx="10420">
                  <c:v>64</c:v>
                </c:pt>
                <c:pt idx="10421">
                  <c:v>57</c:v>
                </c:pt>
                <c:pt idx="10422">
                  <c:v>55</c:v>
                </c:pt>
                <c:pt idx="10423">
                  <c:v>67</c:v>
                </c:pt>
                <c:pt idx="10424">
                  <c:v>48</c:v>
                </c:pt>
                <c:pt idx="10425">
                  <c:v>54</c:v>
                </c:pt>
                <c:pt idx="10426">
                  <c:v>56</c:v>
                </c:pt>
                <c:pt idx="10427">
                  <c:v>57</c:v>
                </c:pt>
                <c:pt idx="10428">
                  <c:v>52</c:v>
                </c:pt>
                <c:pt idx="10429">
                  <c:v>52</c:v>
                </c:pt>
                <c:pt idx="10430">
                  <c:v>40</c:v>
                </c:pt>
                <c:pt idx="10431">
                  <c:v>39</c:v>
                </c:pt>
                <c:pt idx="10432">
                  <c:v>49</c:v>
                </c:pt>
                <c:pt idx="10433">
                  <c:v>29</c:v>
                </c:pt>
                <c:pt idx="10434">
                  <c:v>46</c:v>
                </c:pt>
                <c:pt idx="10435">
                  <c:v>37</c:v>
                </c:pt>
                <c:pt idx="10436">
                  <c:v>48</c:v>
                </c:pt>
                <c:pt idx="10437">
                  <c:v>30</c:v>
                </c:pt>
                <c:pt idx="10438">
                  <c:v>42</c:v>
                </c:pt>
                <c:pt idx="10439">
                  <c:v>35</c:v>
                </c:pt>
                <c:pt idx="10440">
                  <c:v>33</c:v>
                </c:pt>
                <c:pt idx="10441">
                  <c:v>41</c:v>
                </c:pt>
                <c:pt idx="10442">
                  <c:v>15</c:v>
                </c:pt>
                <c:pt idx="10443">
                  <c:v>25</c:v>
                </c:pt>
                <c:pt idx="10444">
                  <c:v>34</c:v>
                </c:pt>
                <c:pt idx="10445">
                  <c:v>31</c:v>
                </c:pt>
                <c:pt idx="10446">
                  <c:v>38</c:v>
                </c:pt>
                <c:pt idx="10447">
                  <c:v>28</c:v>
                </c:pt>
                <c:pt idx="10448">
                  <c:v>34</c:v>
                </c:pt>
                <c:pt idx="10449">
                  <c:v>29</c:v>
                </c:pt>
                <c:pt idx="10450">
                  <c:v>27</c:v>
                </c:pt>
                <c:pt idx="10451">
                  <c:v>27</c:v>
                </c:pt>
                <c:pt idx="10452">
                  <c:v>30</c:v>
                </c:pt>
                <c:pt idx="10453">
                  <c:v>23</c:v>
                </c:pt>
                <c:pt idx="10454">
                  <c:v>24</c:v>
                </c:pt>
                <c:pt idx="10455">
                  <c:v>18</c:v>
                </c:pt>
                <c:pt idx="10456">
                  <c:v>21</c:v>
                </c:pt>
                <c:pt idx="10457">
                  <c:v>16</c:v>
                </c:pt>
                <c:pt idx="10458">
                  <c:v>19</c:v>
                </c:pt>
                <c:pt idx="10459">
                  <c:v>16</c:v>
                </c:pt>
                <c:pt idx="10460">
                  <c:v>18</c:v>
                </c:pt>
                <c:pt idx="10461">
                  <c:v>18</c:v>
                </c:pt>
                <c:pt idx="10462">
                  <c:v>13</c:v>
                </c:pt>
                <c:pt idx="10463">
                  <c:v>12</c:v>
                </c:pt>
                <c:pt idx="10464">
                  <c:v>17</c:v>
                </c:pt>
                <c:pt idx="10465">
                  <c:v>14</c:v>
                </c:pt>
                <c:pt idx="10466">
                  <c:v>19</c:v>
                </c:pt>
                <c:pt idx="10467">
                  <c:v>15</c:v>
                </c:pt>
                <c:pt idx="10468">
                  <c:v>17</c:v>
                </c:pt>
                <c:pt idx="10469">
                  <c:v>9</c:v>
                </c:pt>
                <c:pt idx="10470">
                  <c:v>11</c:v>
                </c:pt>
                <c:pt idx="10471">
                  <c:v>5</c:v>
                </c:pt>
                <c:pt idx="10472">
                  <c:v>9</c:v>
                </c:pt>
                <c:pt idx="10473">
                  <c:v>11</c:v>
                </c:pt>
                <c:pt idx="10474">
                  <c:v>8</c:v>
                </c:pt>
                <c:pt idx="10475">
                  <c:v>11</c:v>
                </c:pt>
                <c:pt idx="10476">
                  <c:v>17</c:v>
                </c:pt>
                <c:pt idx="10477">
                  <c:v>9</c:v>
                </c:pt>
                <c:pt idx="10478">
                  <c:v>9</c:v>
                </c:pt>
                <c:pt idx="10479">
                  <c:v>7</c:v>
                </c:pt>
                <c:pt idx="10480">
                  <c:v>7</c:v>
                </c:pt>
                <c:pt idx="10481">
                  <c:v>8</c:v>
                </c:pt>
                <c:pt idx="10482">
                  <c:v>5</c:v>
                </c:pt>
                <c:pt idx="10483">
                  <c:v>10</c:v>
                </c:pt>
                <c:pt idx="10484">
                  <c:v>9</c:v>
                </c:pt>
                <c:pt idx="10485">
                  <c:v>8</c:v>
                </c:pt>
                <c:pt idx="10486">
                  <c:v>9</c:v>
                </c:pt>
                <c:pt idx="10487">
                  <c:v>11</c:v>
                </c:pt>
                <c:pt idx="10488">
                  <c:v>6</c:v>
                </c:pt>
                <c:pt idx="10489">
                  <c:v>6</c:v>
                </c:pt>
                <c:pt idx="10490">
                  <c:v>8</c:v>
                </c:pt>
                <c:pt idx="10491">
                  <c:v>6</c:v>
                </c:pt>
                <c:pt idx="10492">
                  <c:v>7</c:v>
                </c:pt>
                <c:pt idx="10493">
                  <c:v>7</c:v>
                </c:pt>
                <c:pt idx="10494">
                  <c:v>2</c:v>
                </c:pt>
                <c:pt idx="10495">
                  <c:v>2</c:v>
                </c:pt>
                <c:pt idx="10496">
                  <c:v>3</c:v>
                </c:pt>
                <c:pt idx="10497">
                  <c:v>7</c:v>
                </c:pt>
                <c:pt idx="10498">
                  <c:v>3</c:v>
                </c:pt>
                <c:pt idx="10499">
                  <c:v>6</c:v>
                </c:pt>
                <c:pt idx="10500">
                  <c:v>2</c:v>
                </c:pt>
                <c:pt idx="10501">
                  <c:v>1</c:v>
                </c:pt>
                <c:pt idx="10502">
                  <c:v>5</c:v>
                </c:pt>
                <c:pt idx="10503">
                  <c:v>3</c:v>
                </c:pt>
                <c:pt idx="10504">
                  <c:v>911</c:v>
                </c:pt>
                <c:pt idx="10505">
                  <c:v>1203</c:v>
                </c:pt>
                <c:pt idx="10506">
                  <c:v>1458</c:v>
                </c:pt>
                <c:pt idx="10507">
                  <c:v>1173</c:v>
                </c:pt>
                <c:pt idx="10508">
                  <c:v>784</c:v>
                </c:pt>
                <c:pt idx="10509">
                  <c:v>678</c:v>
                </c:pt>
                <c:pt idx="10510">
                  <c:v>693</c:v>
                </c:pt>
                <c:pt idx="10511">
                  <c:v>645</c:v>
                </c:pt>
                <c:pt idx="10512">
                  <c:v>680</c:v>
                </c:pt>
                <c:pt idx="10513">
                  <c:v>507</c:v>
                </c:pt>
                <c:pt idx="10514">
                  <c:v>388</c:v>
                </c:pt>
                <c:pt idx="10515">
                  <c:v>456</c:v>
                </c:pt>
                <c:pt idx="10516">
                  <c:v>418</c:v>
                </c:pt>
                <c:pt idx="10517">
                  <c:v>368</c:v>
                </c:pt>
                <c:pt idx="10518">
                  <c:v>406</c:v>
                </c:pt>
                <c:pt idx="10519">
                  <c:v>310</c:v>
                </c:pt>
                <c:pt idx="10520">
                  <c:v>377</c:v>
                </c:pt>
                <c:pt idx="10521">
                  <c:v>382</c:v>
                </c:pt>
                <c:pt idx="10522">
                  <c:v>341</c:v>
                </c:pt>
                <c:pt idx="10523">
                  <c:v>345</c:v>
                </c:pt>
                <c:pt idx="10524">
                  <c:v>313</c:v>
                </c:pt>
                <c:pt idx="10525">
                  <c:v>302</c:v>
                </c:pt>
                <c:pt idx="10526">
                  <c:v>275</c:v>
                </c:pt>
                <c:pt idx="10527">
                  <c:v>280</c:v>
                </c:pt>
                <c:pt idx="10528">
                  <c:v>290</c:v>
                </c:pt>
                <c:pt idx="10529">
                  <c:v>249</c:v>
                </c:pt>
                <c:pt idx="10530">
                  <c:v>282</c:v>
                </c:pt>
                <c:pt idx="10531">
                  <c:v>241</c:v>
                </c:pt>
                <c:pt idx="10532">
                  <c:v>209</c:v>
                </c:pt>
                <c:pt idx="10533">
                  <c:v>197</c:v>
                </c:pt>
                <c:pt idx="10534">
                  <c:v>244</c:v>
                </c:pt>
                <c:pt idx="10535">
                  <c:v>217</c:v>
                </c:pt>
                <c:pt idx="10536">
                  <c:v>204</c:v>
                </c:pt>
                <c:pt idx="10537">
                  <c:v>198</c:v>
                </c:pt>
                <c:pt idx="10538">
                  <c:v>174</c:v>
                </c:pt>
                <c:pt idx="10539">
                  <c:v>170</c:v>
                </c:pt>
                <c:pt idx="10540">
                  <c:v>183</c:v>
                </c:pt>
                <c:pt idx="10541">
                  <c:v>231</c:v>
                </c:pt>
                <c:pt idx="10542">
                  <c:v>126</c:v>
                </c:pt>
                <c:pt idx="10543">
                  <c:v>199</c:v>
                </c:pt>
                <c:pt idx="10544">
                  <c:v>167</c:v>
                </c:pt>
                <c:pt idx="10545">
                  <c:v>119</c:v>
                </c:pt>
                <c:pt idx="10546">
                  <c:v>154</c:v>
                </c:pt>
                <c:pt idx="10547">
                  <c:v>195</c:v>
                </c:pt>
                <c:pt idx="10548">
                  <c:v>133</c:v>
                </c:pt>
                <c:pt idx="10549">
                  <c:v>207</c:v>
                </c:pt>
                <c:pt idx="10550">
                  <c:v>190</c:v>
                </c:pt>
                <c:pt idx="10551">
                  <c:v>135</c:v>
                </c:pt>
                <c:pt idx="10552">
                  <c:v>118</c:v>
                </c:pt>
                <c:pt idx="10553">
                  <c:v>162</c:v>
                </c:pt>
                <c:pt idx="10554">
                  <c:v>153</c:v>
                </c:pt>
                <c:pt idx="10555">
                  <c:v>110</c:v>
                </c:pt>
                <c:pt idx="10556">
                  <c:v>175</c:v>
                </c:pt>
                <c:pt idx="10557">
                  <c:v>160</c:v>
                </c:pt>
                <c:pt idx="10558">
                  <c:v>221</c:v>
                </c:pt>
                <c:pt idx="10559">
                  <c:v>138</c:v>
                </c:pt>
                <c:pt idx="10560">
                  <c:v>83</c:v>
                </c:pt>
                <c:pt idx="10561">
                  <c:v>89</c:v>
                </c:pt>
                <c:pt idx="10562">
                  <c:v>152</c:v>
                </c:pt>
                <c:pt idx="10563">
                  <c:v>70</c:v>
                </c:pt>
                <c:pt idx="10564">
                  <c:v>124</c:v>
                </c:pt>
                <c:pt idx="10565">
                  <c:v>148</c:v>
                </c:pt>
                <c:pt idx="10566">
                  <c:v>128</c:v>
                </c:pt>
                <c:pt idx="10567">
                  <c:v>173</c:v>
                </c:pt>
                <c:pt idx="10568">
                  <c:v>124</c:v>
                </c:pt>
                <c:pt idx="10569">
                  <c:v>133</c:v>
                </c:pt>
                <c:pt idx="10570">
                  <c:v>181</c:v>
                </c:pt>
                <c:pt idx="10571">
                  <c:v>164</c:v>
                </c:pt>
                <c:pt idx="10572">
                  <c:v>74</c:v>
                </c:pt>
                <c:pt idx="10573">
                  <c:v>114</c:v>
                </c:pt>
                <c:pt idx="10574">
                  <c:v>153</c:v>
                </c:pt>
                <c:pt idx="10575">
                  <c:v>136</c:v>
                </c:pt>
                <c:pt idx="10576">
                  <c:v>134</c:v>
                </c:pt>
                <c:pt idx="10577">
                  <c:v>109</c:v>
                </c:pt>
                <c:pt idx="10578">
                  <c:v>116</c:v>
                </c:pt>
                <c:pt idx="10579">
                  <c:v>139</c:v>
                </c:pt>
                <c:pt idx="10580">
                  <c:v>778</c:v>
                </c:pt>
                <c:pt idx="10581">
                  <c:v>596</c:v>
                </c:pt>
                <c:pt idx="10582">
                  <c:v>539</c:v>
                </c:pt>
                <c:pt idx="10583">
                  <c:v>360</c:v>
                </c:pt>
                <c:pt idx="10584">
                  <c:v>302</c:v>
                </c:pt>
                <c:pt idx="10585">
                  <c:v>425</c:v>
                </c:pt>
                <c:pt idx="10586">
                  <c:v>307</c:v>
                </c:pt>
                <c:pt idx="10587">
                  <c:v>375</c:v>
                </c:pt>
                <c:pt idx="10588">
                  <c:v>398</c:v>
                </c:pt>
                <c:pt idx="10589">
                  <c:v>249</c:v>
                </c:pt>
                <c:pt idx="10590">
                  <c:v>366</c:v>
                </c:pt>
                <c:pt idx="10591">
                  <c:v>195</c:v>
                </c:pt>
                <c:pt idx="10592">
                  <c:v>208</c:v>
                </c:pt>
                <c:pt idx="10593">
                  <c:v>240</c:v>
                </c:pt>
                <c:pt idx="10594">
                  <c:v>198</c:v>
                </c:pt>
                <c:pt idx="10595">
                  <c:v>218</c:v>
                </c:pt>
                <c:pt idx="10596">
                  <c:v>174</c:v>
                </c:pt>
                <c:pt idx="10597">
                  <c:v>219</c:v>
                </c:pt>
                <c:pt idx="10598">
                  <c:v>210</c:v>
                </c:pt>
                <c:pt idx="10599">
                  <c:v>202</c:v>
                </c:pt>
                <c:pt idx="10600">
                  <c:v>178</c:v>
                </c:pt>
                <c:pt idx="10601">
                  <c:v>168</c:v>
                </c:pt>
                <c:pt idx="10602">
                  <c:v>169</c:v>
                </c:pt>
                <c:pt idx="10603">
                  <c:v>186</c:v>
                </c:pt>
                <c:pt idx="10604">
                  <c:v>128</c:v>
                </c:pt>
                <c:pt idx="10605">
                  <c:v>101</c:v>
                </c:pt>
                <c:pt idx="10606">
                  <c:v>106</c:v>
                </c:pt>
                <c:pt idx="10607">
                  <c:v>186</c:v>
                </c:pt>
                <c:pt idx="10608">
                  <c:v>125</c:v>
                </c:pt>
                <c:pt idx="10609">
                  <c:v>131</c:v>
                </c:pt>
                <c:pt idx="10610">
                  <c:v>132</c:v>
                </c:pt>
                <c:pt idx="10611">
                  <c:v>140</c:v>
                </c:pt>
                <c:pt idx="10612">
                  <c:v>132</c:v>
                </c:pt>
                <c:pt idx="10613">
                  <c:v>150</c:v>
                </c:pt>
                <c:pt idx="10614">
                  <c:v>107</c:v>
                </c:pt>
                <c:pt idx="10615">
                  <c:v>85</c:v>
                </c:pt>
                <c:pt idx="10616">
                  <c:v>137</c:v>
                </c:pt>
                <c:pt idx="10617">
                  <c:v>129</c:v>
                </c:pt>
                <c:pt idx="10618">
                  <c:v>129</c:v>
                </c:pt>
                <c:pt idx="10619">
                  <c:v>92</c:v>
                </c:pt>
                <c:pt idx="10620">
                  <c:v>90</c:v>
                </c:pt>
                <c:pt idx="10621">
                  <c:v>83</c:v>
                </c:pt>
                <c:pt idx="10622">
                  <c:v>40</c:v>
                </c:pt>
                <c:pt idx="10623">
                  <c:v>103</c:v>
                </c:pt>
                <c:pt idx="10624">
                  <c:v>125</c:v>
                </c:pt>
                <c:pt idx="10625">
                  <c:v>78</c:v>
                </c:pt>
                <c:pt idx="10626">
                  <c:v>124</c:v>
                </c:pt>
                <c:pt idx="10627">
                  <c:v>107</c:v>
                </c:pt>
                <c:pt idx="10628">
                  <c:v>96</c:v>
                </c:pt>
                <c:pt idx="10629">
                  <c:v>82</c:v>
                </c:pt>
                <c:pt idx="10630">
                  <c:v>77</c:v>
                </c:pt>
                <c:pt idx="10631">
                  <c:v>79</c:v>
                </c:pt>
                <c:pt idx="10632">
                  <c:v>84</c:v>
                </c:pt>
                <c:pt idx="10633">
                  <c:v>88</c:v>
                </c:pt>
                <c:pt idx="10634">
                  <c:v>83</c:v>
                </c:pt>
                <c:pt idx="10635">
                  <c:v>81</c:v>
                </c:pt>
                <c:pt idx="10636">
                  <c:v>74</c:v>
                </c:pt>
                <c:pt idx="10637">
                  <c:v>111</c:v>
                </c:pt>
                <c:pt idx="10638">
                  <c:v>75</c:v>
                </c:pt>
                <c:pt idx="10639">
                  <c:v>69</c:v>
                </c:pt>
                <c:pt idx="10640">
                  <c:v>87</c:v>
                </c:pt>
                <c:pt idx="10641">
                  <c:v>74</c:v>
                </c:pt>
                <c:pt idx="10642">
                  <c:v>76</c:v>
                </c:pt>
                <c:pt idx="10643">
                  <c:v>70</c:v>
                </c:pt>
                <c:pt idx="10644">
                  <c:v>25</c:v>
                </c:pt>
                <c:pt idx="10645">
                  <c:v>69</c:v>
                </c:pt>
                <c:pt idx="10646">
                  <c:v>41</c:v>
                </c:pt>
                <c:pt idx="10647">
                  <c:v>59</c:v>
                </c:pt>
                <c:pt idx="10648">
                  <c:v>80</c:v>
                </c:pt>
                <c:pt idx="10649">
                  <c:v>71</c:v>
                </c:pt>
                <c:pt idx="10650">
                  <c:v>68</c:v>
                </c:pt>
                <c:pt idx="10651">
                  <c:v>51</c:v>
                </c:pt>
                <c:pt idx="10652">
                  <c:v>67</c:v>
                </c:pt>
                <c:pt idx="10653">
                  <c:v>55</c:v>
                </c:pt>
                <c:pt idx="10654">
                  <c:v>79</c:v>
                </c:pt>
                <c:pt idx="10655">
                  <c:v>66</c:v>
                </c:pt>
                <c:pt idx="10656">
                  <c:v>50</c:v>
                </c:pt>
                <c:pt idx="10657">
                  <c:v>43</c:v>
                </c:pt>
                <c:pt idx="10658">
                  <c:v>64</c:v>
                </c:pt>
                <c:pt idx="10659">
                  <c:v>66</c:v>
                </c:pt>
                <c:pt idx="10660">
                  <c:v>45</c:v>
                </c:pt>
                <c:pt idx="10661">
                  <c:v>37</c:v>
                </c:pt>
                <c:pt idx="10662">
                  <c:v>50</c:v>
                </c:pt>
                <c:pt idx="10663">
                  <c:v>60</c:v>
                </c:pt>
                <c:pt idx="10664">
                  <c:v>45</c:v>
                </c:pt>
                <c:pt idx="10665">
                  <c:v>57</c:v>
                </c:pt>
                <c:pt idx="10666">
                  <c:v>34</c:v>
                </c:pt>
                <c:pt idx="10667">
                  <c:v>51</c:v>
                </c:pt>
                <c:pt idx="10668">
                  <c:v>49</c:v>
                </c:pt>
                <c:pt idx="10669">
                  <c:v>40</c:v>
                </c:pt>
                <c:pt idx="10670">
                  <c:v>48</c:v>
                </c:pt>
                <c:pt idx="10671">
                  <c:v>37</c:v>
                </c:pt>
                <c:pt idx="10672">
                  <c:v>37</c:v>
                </c:pt>
                <c:pt idx="10673">
                  <c:v>942</c:v>
                </c:pt>
                <c:pt idx="10674">
                  <c:v>1114</c:v>
                </c:pt>
                <c:pt idx="10675">
                  <c:v>903</c:v>
                </c:pt>
                <c:pt idx="10676">
                  <c:v>1066</c:v>
                </c:pt>
                <c:pt idx="10677">
                  <c:v>929</c:v>
                </c:pt>
                <c:pt idx="10678">
                  <c:v>1799</c:v>
                </c:pt>
                <c:pt idx="10679">
                  <c:v>731</c:v>
                </c:pt>
                <c:pt idx="10680">
                  <c:v>695</c:v>
                </c:pt>
                <c:pt idx="10681">
                  <c:v>636</c:v>
                </c:pt>
                <c:pt idx="10682">
                  <c:v>821</c:v>
                </c:pt>
                <c:pt idx="10683">
                  <c:v>548</c:v>
                </c:pt>
                <c:pt idx="10684">
                  <c:v>704</c:v>
                </c:pt>
                <c:pt idx="10685">
                  <c:v>585</c:v>
                </c:pt>
                <c:pt idx="10686">
                  <c:v>650</c:v>
                </c:pt>
                <c:pt idx="10687">
                  <c:v>521</c:v>
                </c:pt>
                <c:pt idx="10688">
                  <c:v>578</c:v>
                </c:pt>
                <c:pt idx="10689">
                  <c:v>585</c:v>
                </c:pt>
                <c:pt idx="10690">
                  <c:v>591</c:v>
                </c:pt>
                <c:pt idx="10691">
                  <c:v>624</c:v>
                </c:pt>
                <c:pt idx="10692">
                  <c:v>552</c:v>
                </c:pt>
                <c:pt idx="10693">
                  <c:v>506</c:v>
                </c:pt>
                <c:pt idx="10694">
                  <c:v>491</c:v>
                </c:pt>
                <c:pt idx="10695">
                  <c:v>357</c:v>
                </c:pt>
                <c:pt idx="10696">
                  <c:v>476</c:v>
                </c:pt>
                <c:pt idx="10697">
                  <c:v>407</c:v>
                </c:pt>
                <c:pt idx="10698">
                  <c:v>428</c:v>
                </c:pt>
                <c:pt idx="10699">
                  <c:v>403</c:v>
                </c:pt>
                <c:pt idx="10700">
                  <c:v>414</c:v>
                </c:pt>
                <c:pt idx="10701">
                  <c:v>326</c:v>
                </c:pt>
                <c:pt idx="10702">
                  <c:v>381</c:v>
                </c:pt>
                <c:pt idx="10703">
                  <c:v>367</c:v>
                </c:pt>
                <c:pt idx="10704">
                  <c:v>380</c:v>
                </c:pt>
                <c:pt idx="10705">
                  <c:v>389</c:v>
                </c:pt>
                <c:pt idx="10706">
                  <c:v>370</c:v>
                </c:pt>
                <c:pt idx="10707">
                  <c:v>289</c:v>
                </c:pt>
                <c:pt idx="10708">
                  <c:v>283</c:v>
                </c:pt>
                <c:pt idx="10709">
                  <c:v>271</c:v>
                </c:pt>
                <c:pt idx="10710">
                  <c:v>319</c:v>
                </c:pt>
                <c:pt idx="10711">
                  <c:v>156</c:v>
                </c:pt>
                <c:pt idx="10712">
                  <c:v>296</c:v>
                </c:pt>
                <c:pt idx="10713">
                  <c:v>314</c:v>
                </c:pt>
                <c:pt idx="10714">
                  <c:v>291</c:v>
                </c:pt>
                <c:pt idx="10715">
                  <c:v>295</c:v>
                </c:pt>
                <c:pt idx="10716">
                  <c:v>264</c:v>
                </c:pt>
                <c:pt idx="10717">
                  <c:v>274</c:v>
                </c:pt>
                <c:pt idx="10718">
                  <c:v>243</c:v>
                </c:pt>
                <c:pt idx="10719">
                  <c:v>245</c:v>
                </c:pt>
                <c:pt idx="10720">
                  <c:v>234</c:v>
                </c:pt>
                <c:pt idx="10721">
                  <c:v>231</c:v>
                </c:pt>
                <c:pt idx="10722">
                  <c:v>242</c:v>
                </c:pt>
                <c:pt idx="10723">
                  <c:v>181</c:v>
                </c:pt>
                <c:pt idx="10724">
                  <c:v>231</c:v>
                </c:pt>
                <c:pt idx="10725">
                  <c:v>246</c:v>
                </c:pt>
                <c:pt idx="10726">
                  <c:v>225</c:v>
                </c:pt>
                <c:pt idx="10727">
                  <c:v>225</c:v>
                </c:pt>
                <c:pt idx="10728">
                  <c:v>175</c:v>
                </c:pt>
                <c:pt idx="10729">
                  <c:v>194</c:v>
                </c:pt>
                <c:pt idx="10730">
                  <c:v>201</c:v>
                </c:pt>
                <c:pt idx="10731">
                  <c:v>207</c:v>
                </c:pt>
                <c:pt idx="10732">
                  <c:v>190</c:v>
                </c:pt>
                <c:pt idx="10733">
                  <c:v>188</c:v>
                </c:pt>
                <c:pt idx="10734">
                  <c:v>176</c:v>
                </c:pt>
                <c:pt idx="10735">
                  <c:v>238</c:v>
                </c:pt>
                <c:pt idx="10736">
                  <c:v>176</c:v>
                </c:pt>
                <c:pt idx="10737">
                  <c:v>177</c:v>
                </c:pt>
                <c:pt idx="10738">
                  <c:v>166</c:v>
                </c:pt>
                <c:pt idx="10739">
                  <c:v>122</c:v>
                </c:pt>
                <c:pt idx="10740">
                  <c:v>267</c:v>
                </c:pt>
                <c:pt idx="10741">
                  <c:v>144</c:v>
                </c:pt>
                <c:pt idx="10742">
                  <c:v>131</c:v>
                </c:pt>
                <c:pt idx="10743">
                  <c:v>123</c:v>
                </c:pt>
                <c:pt idx="10744">
                  <c:v>113</c:v>
                </c:pt>
                <c:pt idx="10745">
                  <c:v>95</c:v>
                </c:pt>
                <c:pt idx="10746">
                  <c:v>177</c:v>
                </c:pt>
                <c:pt idx="10747">
                  <c:v>96</c:v>
                </c:pt>
                <c:pt idx="10748">
                  <c:v>208</c:v>
                </c:pt>
                <c:pt idx="10749">
                  <c:v>68</c:v>
                </c:pt>
                <c:pt idx="10750">
                  <c:v>70</c:v>
                </c:pt>
                <c:pt idx="10751">
                  <c:v>85</c:v>
                </c:pt>
                <c:pt idx="10752">
                  <c:v>224</c:v>
                </c:pt>
                <c:pt idx="10753">
                  <c:v>106</c:v>
                </c:pt>
                <c:pt idx="10754">
                  <c:v>45</c:v>
                </c:pt>
                <c:pt idx="10755">
                  <c:v>106</c:v>
                </c:pt>
                <c:pt idx="10756">
                  <c:v>98</c:v>
                </c:pt>
                <c:pt idx="10757">
                  <c:v>89</c:v>
                </c:pt>
                <c:pt idx="10758">
                  <c:v>132</c:v>
                </c:pt>
                <c:pt idx="10759">
                  <c:v>160</c:v>
                </c:pt>
                <c:pt idx="10760">
                  <c:v>46</c:v>
                </c:pt>
                <c:pt idx="10761">
                  <c:v>119</c:v>
                </c:pt>
                <c:pt idx="10762">
                  <c:v>150</c:v>
                </c:pt>
                <c:pt idx="10763">
                  <c:v>85</c:v>
                </c:pt>
                <c:pt idx="10764">
                  <c:v>108</c:v>
                </c:pt>
                <c:pt idx="10765">
                  <c:v>88</c:v>
                </c:pt>
                <c:pt idx="10766">
                  <c:v>118</c:v>
                </c:pt>
                <c:pt idx="10767">
                  <c:v>130</c:v>
                </c:pt>
                <c:pt idx="10768">
                  <c:v>100</c:v>
                </c:pt>
                <c:pt idx="10769">
                  <c:v>556</c:v>
                </c:pt>
                <c:pt idx="10770">
                  <c:v>496</c:v>
                </c:pt>
                <c:pt idx="10771">
                  <c:v>391</c:v>
                </c:pt>
                <c:pt idx="10772">
                  <c:v>261</c:v>
                </c:pt>
                <c:pt idx="10773">
                  <c:v>325</c:v>
                </c:pt>
                <c:pt idx="10774">
                  <c:v>270</c:v>
                </c:pt>
                <c:pt idx="10775">
                  <c:v>172</c:v>
                </c:pt>
                <c:pt idx="10776">
                  <c:v>187</c:v>
                </c:pt>
                <c:pt idx="10777">
                  <c:v>224</c:v>
                </c:pt>
                <c:pt idx="10778">
                  <c:v>235</c:v>
                </c:pt>
                <c:pt idx="10779">
                  <c:v>207</c:v>
                </c:pt>
                <c:pt idx="10780">
                  <c:v>226</c:v>
                </c:pt>
                <c:pt idx="10781">
                  <c:v>143</c:v>
                </c:pt>
                <c:pt idx="10782">
                  <c:v>122</c:v>
                </c:pt>
                <c:pt idx="10783">
                  <c:v>157</c:v>
                </c:pt>
                <c:pt idx="10784">
                  <c:v>107</c:v>
                </c:pt>
                <c:pt idx="10785">
                  <c:v>151</c:v>
                </c:pt>
                <c:pt idx="10786">
                  <c:v>103</c:v>
                </c:pt>
                <c:pt idx="10787">
                  <c:v>126</c:v>
                </c:pt>
                <c:pt idx="10788">
                  <c:v>113</c:v>
                </c:pt>
                <c:pt idx="10789">
                  <c:v>100</c:v>
                </c:pt>
                <c:pt idx="10790">
                  <c:v>132</c:v>
                </c:pt>
                <c:pt idx="10791">
                  <c:v>63</c:v>
                </c:pt>
                <c:pt idx="10792">
                  <c:v>69</c:v>
                </c:pt>
                <c:pt idx="10793">
                  <c:v>44</c:v>
                </c:pt>
                <c:pt idx="10794">
                  <c:v>66</c:v>
                </c:pt>
                <c:pt idx="10795">
                  <c:v>63</c:v>
                </c:pt>
                <c:pt idx="10796">
                  <c:v>63</c:v>
                </c:pt>
                <c:pt idx="10797">
                  <c:v>23</c:v>
                </c:pt>
                <c:pt idx="10798">
                  <c:v>25</c:v>
                </c:pt>
                <c:pt idx="10799">
                  <c:v>50</c:v>
                </c:pt>
                <c:pt idx="10800">
                  <c:v>42</c:v>
                </c:pt>
                <c:pt idx="10801">
                  <c:v>39</c:v>
                </c:pt>
                <c:pt idx="10802">
                  <c:v>63</c:v>
                </c:pt>
                <c:pt idx="10803">
                  <c:v>42</c:v>
                </c:pt>
                <c:pt idx="10804">
                  <c:v>33</c:v>
                </c:pt>
                <c:pt idx="10805">
                  <c:v>42</c:v>
                </c:pt>
                <c:pt idx="10806">
                  <c:v>27</c:v>
                </c:pt>
                <c:pt idx="10807">
                  <c:v>29</c:v>
                </c:pt>
                <c:pt idx="10808">
                  <c:v>24</c:v>
                </c:pt>
                <c:pt idx="10809">
                  <c:v>16</c:v>
                </c:pt>
                <c:pt idx="10810">
                  <c:v>17</c:v>
                </c:pt>
                <c:pt idx="10811">
                  <c:v>15</c:v>
                </c:pt>
                <c:pt idx="10812">
                  <c:v>19</c:v>
                </c:pt>
                <c:pt idx="10813">
                  <c:v>14</c:v>
                </c:pt>
                <c:pt idx="10814">
                  <c:v>11</c:v>
                </c:pt>
                <c:pt idx="10815">
                  <c:v>16</c:v>
                </c:pt>
                <c:pt idx="10816">
                  <c:v>11</c:v>
                </c:pt>
                <c:pt idx="10817">
                  <c:v>17</c:v>
                </c:pt>
                <c:pt idx="10818">
                  <c:v>11</c:v>
                </c:pt>
                <c:pt idx="10819">
                  <c:v>10</c:v>
                </c:pt>
                <c:pt idx="10820">
                  <c:v>12</c:v>
                </c:pt>
                <c:pt idx="10821">
                  <c:v>10</c:v>
                </c:pt>
                <c:pt idx="10822">
                  <c:v>9</c:v>
                </c:pt>
                <c:pt idx="10823">
                  <c:v>12</c:v>
                </c:pt>
                <c:pt idx="10824">
                  <c:v>6</c:v>
                </c:pt>
                <c:pt idx="10825">
                  <c:v>5</c:v>
                </c:pt>
                <c:pt idx="10826">
                  <c:v>5</c:v>
                </c:pt>
                <c:pt idx="10827">
                  <c:v>3</c:v>
                </c:pt>
                <c:pt idx="10828">
                  <c:v>7</c:v>
                </c:pt>
                <c:pt idx="10829">
                  <c:v>6</c:v>
                </c:pt>
                <c:pt idx="10830">
                  <c:v>4</c:v>
                </c:pt>
                <c:pt idx="10831">
                  <c:v>7</c:v>
                </c:pt>
                <c:pt idx="10832">
                  <c:v>2</c:v>
                </c:pt>
                <c:pt idx="10833">
                  <c:v>2</c:v>
                </c:pt>
                <c:pt idx="10834">
                  <c:v>3</c:v>
                </c:pt>
                <c:pt idx="10835">
                  <c:v>2</c:v>
                </c:pt>
                <c:pt idx="10836">
                  <c:v>2</c:v>
                </c:pt>
                <c:pt idx="10837">
                  <c:v>2</c:v>
                </c:pt>
                <c:pt idx="10838">
                  <c:v>3</c:v>
                </c:pt>
                <c:pt idx="10839">
                  <c:v>2</c:v>
                </c:pt>
                <c:pt idx="10840">
                  <c:v>3</c:v>
                </c:pt>
                <c:pt idx="10841">
                  <c:v>2</c:v>
                </c:pt>
                <c:pt idx="10842">
                  <c:v>2</c:v>
                </c:pt>
                <c:pt idx="10843">
                  <c:v>1</c:v>
                </c:pt>
                <c:pt idx="10844">
                  <c:v>1</c:v>
                </c:pt>
                <c:pt idx="10845">
                  <c:v>1</c:v>
                </c:pt>
                <c:pt idx="10846">
                  <c:v>0</c:v>
                </c:pt>
                <c:pt idx="10847">
                  <c:v>0</c:v>
                </c:pt>
                <c:pt idx="10848">
                  <c:v>0</c:v>
                </c:pt>
                <c:pt idx="10849">
                  <c:v>0</c:v>
                </c:pt>
                <c:pt idx="10850">
                  <c:v>0</c:v>
                </c:pt>
                <c:pt idx="10851">
                  <c:v>0</c:v>
                </c:pt>
                <c:pt idx="10852">
                  <c:v>0</c:v>
                </c:pt>
                <c:pt idx="10853">
                  <c:v>798</c:v>
                </c:pt>
                <c:pt idx="10854">
                  <c:v>809</c:v>
                </c:pt>
                <c:pt idx="10855">
                  <c:v>579</c:v>
                </c:pt>
                <c:pt idx="10856">
                  <c:v>397</c:v>
                </c:pt>
                <c:pt idx="10857">
                  <c:v>467</c:v>
                </c:pt>
                <c:pt idx="10858">
                  <c:v>486</c:v>
                </c:pt>
                <c:pt idx="10859">
                  <c:v>290</c:v>
                </c:pt>
                <c:pt idx="10860">
                  <c:v>282</c:v>
                </c:pt>
                <c:pt idx="10861">
                  <c:v>148</c:v>
                </c:pt>
                <c:pt idx="10862">
                  <c:v>174</c:v>
                </c:pt>
                <c:pt idx="10863">
                  <c:v>165</c:v>
                </c:pt>
                <c:pt idx="10864">
                  <c:v>157</c:v>
                </c:pt>
                <c:pt idx="10865">
                  <c:v>124</c:v>
                </c:pt>
                <c:pt idx="10866">
                  <c:v>134</c:v>
                </c:pt>
                <c:pt idx="10867">
                  <c:v>89</c:v>
                </c:pt>
                <c:pt idx="10868">
                  <c:v>91</c:v>
                </c:pt>
                <c:pt idx="10869">
                  <c:v>63</c:v>
                </c:pt>
                <c:pt idx="10870">
                  <c:v>75</c:v>
                </c:pt>
                <c:pt idx="10871">
                  <c:v>42</c:v>
                </c:pt>
                <c:pt idx="10872">
                  <c:v>76</c:v>
                </c:pt>
                <c:pt idx="10873">
                  <c:v>58</c:v>
                </c:pt>
                <c:pt idx="10874">
                  <c:v>62</c:v>
                </c:pt>
                <c:pt idx="10875">
                  <c:v>55</c:v>
                </c:pt>
                <c:pt idx="10876">
                  <c:v>29</c:v>
                </c:pt>
                <c:pt idx="10877">
                  <c:v>48</c:v>
                </c:pt>
                <c:pt idx="10878">
                  <c:v>56</c:v>
                </c:pt>
                <c:pt idx="10879">
                  <c:v>29</c:v>
                </c:pt>
                <c:pt idx="10880">
                  <c:v>44</c:v>
                </c:pt>
                <c:pt idx="10881">
                  <c:v>58</c:v>
                </c:pt>
                <c:pt idx="10882">
                  <c:v>28</c:v>
                </c:pt>
                <c:pt idx="10883">
                  <c:v>41</c:v>
                </c:pt>
                <c:pt idx="10884">
                  <c:v>39</c:v>
                </c:pt>
                <c:pt idx="10885">
                  <c:v>29</c:v>
                </c:pt>
                <c:pt idx="10886">
                  <c:v>20</c:v>
                </c:pt>
                <c:pt idx="10887">
                  <c:v>35</c:v>
                </c:pt>
                <c:pt idx="10888">
                  <c:v>9</c:v>
                </c:pt>
                <c:pt idx="10889">
                  <c:v>5</c:v>
                </c:pt>
                <c:pt idx="10890">
                  <c:v>3</c:v>
                </c:pt>
                <c:pt idx="10891">
                  <c:v>2</c:v>
                </c:pt>
                <c:pt idx="10892">
                  <c:v>806</c:v>
                </c:pt>
                <c:pt idx="10893">
                  <c:v>458</c:v>
                </c:pt>
                <c:pt idx="10894">
                  <c:v>601</c:v>
                </c:pt>
                <c:pt idx="10895">
                  <c:v>480</c:v>
                </c:pt>
                <c:pt idx="10896">
                  <c:v>362</c:v>
                </c:pt>
                <c:pt idx="10897">
                  <c:v>305</c:v>
                </c:pt>
                <c:pt idx="10898">
                  <c:v>240</c:v>
                </c:pt>
                <c:pt idx="10899">
                  <c:v>255</c:v>
                </c:pt>
                <c:pt idx="10900">
                  <c:v>239</c:v>
                </c:pt>
                <c:pt idx="10901">
                  <c:v>182</c:v>
                </c:pt>
                <c:pt idx="10902">
                  <c:v>143</c:v>
                </c:pt>
                <c:pt idx="10903">
                  <c:v>90</c:v>
                </c:pt>
                <c:pt idx="10904">
                  <c:v>72</c:v>
                </c:pt>
                <c:pt idx="10905">
                  <c:v>57</c:v>
                </c:pt>
                <c:pt idx="10906">
                  <c:v>60</c:v>
                </c:pt>
                <c:pt idx="10907">
                  <c:v>61</c:v>
                </c:pt>
                <c:pt idx="10908">
                  <c:v>42</c:v>
                </c:pt>
                <c:pt idx="10909">
                  <c:v>47</c:v>
                </c:pt>
                <c:pt idx="10910">
                  <c:v>27</c:v>
                </c:pt>
                <c:pt idx="10911">
                  <c:v>22</c:v>
                </c:pt>
                <c:pt idx="10912">
                  <c:v>13</c:v>
                </c:pt>
                <c:pt idx="10913">
                  <c:v>10</c:v>
                </c:pt>
                <c:pt idx="10914">
                  <c:v>9</c:v>
                </c:pt>
                <c:pt idx="10915">
                  <c:v>580</c:v>
                </c:pt>
                <c:pt idx="10916">
                  <c:v>377</c:v>
                </c:pt>
                <c:pt idx="10917">
                  <c:v>379</c:v>
                </c:pt>
                <c:pt idx="10918">
                  <c:v>280</c:v>
                </c:pt>
                <c:pt idx="10919">
                  <c:v>297</c:v>
                </c:pt>
                <c:pt idx="10920">
                  <c:v>317</c:v>
                </c:pt>
                <c:pt idx="10921">
                  <c:v>293</c:v>
                </c:pt>
                <c:pt idx="10922">
                  <c:v>335</c:v>
                </c:pt>
                <c:pt idx="10923">
                  <c:v>233</c:v>
                </c:pt>
                <c:pt idx="10924">
                  <c:v>243</c:v>
                </c:pt>
                <c:pt idx="10925">
                  <c:v>211</c:v>
                </c:pt>
                <c:pt idx="10926">
                  <c:v>299</c:v>
                </c:pt>
                <c:pt idx="10927">
                  <c:v>327</c:v>
                </c:pt>
                <c:pt idx="10928">
                  <c:v>169</c:v>
                </c:pt>
                <c:pt idx="10929">
                  <c:v>256</c:v>
                </c:pt>
                <c:pt idx="10930">
                  <c:v>223</c:v>
                </c:pt>
                <c:pt idx="10931">
                  <c:v>294</c:v>
                </c:pt>
                <c:pt idx="10932">
                  <c:v>191</c:v>
                </c:pt>
                <c:pt idx="10933">
                  <c:v>221</c:v>
                </c:pt>
                <c:pt idx="10934">
                  <c:v>193</c:v>
                </c:pt>
                <c:pt idx="10935">
                  <c:v>245</c:v>
                </c:pt>
                <c:pt idx="10936">
                  <c:v>173</c:v>
                </c:pt>
                <c:pt idx="10937">
                  <c:v>170</c:v>
                </c:pt>
                <c:pt idx="10938">
                  <c:v>173</c:v>
                </c:pt>
                <c:pt idx="10939">
                  <c:v>204</c:v>
                </c:pt>
                <c:pt idx="10940">
                  <c:v>202</c:v>
                </c:pt>
                <c:pt idx="10941">
                  <c:v>137</c:v>
                </c:pt>
                <c:pt idx="10942">
                  <c:v>142</c:v>
                </c:pt>
                <c:pt idx="10943">
                  <c:v>166</c:v>
                </c:pt>
                <c:pt idx="10944">
                  <c:v>122</c:v>
                </c:pt>
                <c:pt idx="10945">
                  <c:v>188</c:v>
                </c:pt>
                <c:pt idx="10946">
                  <c:v>122</c:v>
                </c:pt>
                <c:pt idx="10947">
                  <c:v>183</c:v>
                </c:pt>
                <c:pt idx="10948">
                  <c:v>118</c:v>
                </c:pt>
                <c:pt idx="10949">
                  <c:v>104</c:v>
                </c:pt>
                <c:pt idx="10950">
                  <c:v>98</c:v>
                </c:pt>
                <c:pt idx="10951">
                  <c:v>119</c:v>
                </c:pt>
                <c:pt idx="10952">
                  <c:v>92</c:v>
                </c:pt>
                <c:pt idx="10953">
                  <c:v>80</c:v>
                </c:pt>
                <c:pt idx="10954">
                  <c:v>141</c:v>
                </c:pt>
                <c:pt idx="10955">
                  <c:v>74</c:v>
                </c:pt>
                <c:pt idx="10956">
                  <c:v>137</c:v>
                </c:pt>
                <c:pt idx="10957">
                  <c:v>99</c:v>
                </c:pt>
                <c:pt idx="10958">
                  <c:v>117</c:v>
                </c:pt>
                <c:pt idx="10959">
                  <c:v>95</c:v>
                </c:pt>
                <c:pt idx="10960">
                  <c:v>109</c:v>
                </c:pt>
                <c:pt idx="10961">
                  <c:v>124</c:v>
                </c:pt>
                <c:pt idx="10962">
                  <c:v>100</c:v>
                </c:pt>
                <c:pt idx="10963">
                  <c:v>80</c:v>
                </c:pt>
                <c:pt idx="10964">
                  <c:v>86</c:v>
                </c:pt>
                <c:pt idx="10965">
                  <c:v>97</c:v>
                </c:pt>
                <c:pt idx="10966">
                  <c:v>97</c:v>
                </c:pt>
                <c:pt idx="10967">
                  <c:v>70</c:v>
                </c:pt>
                <c:pt idx="10968">
                  <c:v>90</c:v>
                </c:pt>
                <c:pt idx="10969">
                  <c:v>109</c:v>
                </c:pt>
                <c:pt idx="10970">
                  <c:v>87</c:v>
                </c:pt>
                <c:pt idx="10971">
                  <c:v>52</c:v>
                </c:pt>
                <c:pt idx="10972">
                  <c:v>87</c:v>
                </c:pt>
                <c:pt idx="10973">
                  <c:v>75</c:v>
                </c:pt>
                <c:pt idx="10974">
                  <c:v>73</c:v>
                </c:pt>
                <c:pt idx="10975">
                  <c:v>82</c:v>
                </c:pt>
                <c:pt idx="10976">
                  <c:v>70</c:v>
                </c:pt>
                <c:pt idx="10977">
                  <c:v>98</c:v>
                </c:pt>
                <c:pt idx="10978">
                  <c:v>76</c:v>
                </c:pt>
                <c:pt idx="10979">
                  <c:v>100</c:v>
                </c:pt>
                <c:pt idx="10980">
                  <c:v>77</c:v>
                </c:pt>
                <c:pt idx="10981">
                  <c:v>86</c:v>
                </c:pt>
                <c:pt idx="10982">
                  <c:v>69</c:v>
                </c:pt>
                <c:pt idx="10983">
                  <c:v>63</c:v>
                </c:pt>
                <c:pt idx="10984">
                  <c:v>80</c:v>
                </c:pt>
                <c:pt idx="10985">
                  <c:v>80</c:v>
                </c:pt>
                <c:pt idx="10986">
                  <c:v>76</c:v>
                </c:pt>
                <c:pt idx="10987">
                  <c:v>73</c:v>
                </c:pt>
                <c:pt idx="10988">
                  <c:v>66</c:v>
                </c:pt>
                <c:pt idx="10989">
                  <c:v>68</c:v>
                </c:pt>
                <c:pt idx="10990">
                  <c:v>78</c:v>
                </c:pt>
                <c:pt idx="10991">
                  <c:v>82</c:v>
                </c:pt>
                <c:pt idx="10992">
                  <c:v>74</c:v>
                </c:pt>
                <c:pt idx="10993">
                  <c:v>85</c:v>
                </c:pt>
                <c:pt idx="10994">
                  <c:v>83</c:v>
                </c:pt>
                <c:pt idx="10995">
                  <c:v>59</c:v>
                </c:pt>
                <c:pt idx="10996">
                  <c:v>60</c:v>
                </c:pt>
                <c:pt idx="10997">
                  <c:v>77</c:v>
                </c:pt>
                <c:pt idx="10998">
                  <c:v>67</c:v>
                </c:pt>
                <c:pt idx="10999">
                  <c:v>64</c:v>
                </c:pt>
                <c:pt idx="11000">
                  <c:v>63</c:v>
                </c:pt>
                <c:pt idx="11001">
                  <c:v>37</c:v>
                </c:pt>
                <c:pt idx="11002">
                  <c:v>73</c:v>
                </c:pt>
                <c:pt idx="11003">
                  <c:v>70</c:v>
                </c:pt>
                <c:pt idx="11004">
                  <c:v>72</c:v>
                </c:pt>
                <c:pt idx="11005">
                  <c:v>69</c:v>
                </c:pt>
                <c:pt idx="11006">
                  <c:v>40</c:v>
                </c:pt>
                <c:pt idx="11007">
                  <c:v>72</c:v>
                </c:pt>
                <c:pt idx="11008">
                  <c:v>66</c:v>
                </c:pt>
                <c:pt idx="11009">
                  <c:v>62</c:v>
                </c:pt>
                <c:pt idx="11010">
                  <c:v>58</c:v>
                </c:pt>
                <c:pt idx="11011">
                  <c:v>1241</c:v>
                </c:pt>
                <c:pt idx="11012">
                  <c:v>883</c:v>
                </c:pt>
                <c:pt idx="11013">
                  <c:v>577</c:v>
                </c:pt>
                <c:pt idx="11014">
                  <c:v>457</c:v>
                </c:pt>
                <c:pt idx="11015">
                  <c:v>168</c:v>
                </c:pt>
                <c:pt idx="11016">
                  <c:v>567</c:v>
                </c:pt>
                <c:pt idx="11017">
                  <c:v>667</c:v>
                </c:pt>
                <c:pt idx="11018">
                  <c:v>565</c:v>
                </c:pt>
                <c:pt idx="11019">
                  <c:v>886</c:v>
                </c:pt>
                <c:pt idx="11020">
                  <c:v>381</c:v>
                </c:pt>
                <c:pt idx="11021">
                  <c:v>390</c:v>
                </c:pt>
                <c:pt idx="11022">
                  <c:v>340</c:v>
                </c:pt>
                <c:pt idx="11023">
                  <c:v>236</c:v>
                </c:pt>
                <c:pt idx="11024">
                  <c:v>288</c:v>
                </c:pt>
                <c:pt idx="11025">
                  <c:v>197</c:v>
                </c:pt>
                <c:pt idx="11026">
                  <c:v>236</c:v>
                </c:pt>
                <c:pt idx="11027">
                  <c:v>229</c:v>
                </c:pt>
                <c:pt idx="11028">
                  <c:v>242</c:v>
                </c:pt>
                <c:pt idx="11029">
                  <c:v>239</c:v>
                </c:pt>
                <c:pt idx="11030">
                  <c:v>200</c:v>
                </c:pt>
                <c:pt idx="11031">
                  <c:v>170</c:v>
                </c:pt>
                <c:pt idx="11032">
                  <c:v>347</c:v>
                </c:pt>
                <c:pt idx="11033">
                  <c:v>282</c:v>
                </c:pt>
                <c:pt idx="11034">
                  <c:v>237</c:v>
                </c:pt>
                <c:pt idx="11035">
                  <c:v>100</c:v>
                </c:pt>
                <c:pt idx="11036">
                  <c:v>161</c:v>
                </c:pt>
                <c:pt idx="11037">
                  <c:v>257</c:v>
                </c:pt>
                <c:pt idx="11038">
                  <c:v>265</c:v>
                </c:pt>
                <c:pt idx="11039">
                  <c:v>239</c:v>
                </c:pt>
                <c:pt idx="11040">
                  <c:v>162</c:v>
                </c:pt>
                <c:pt idx="11041">
                  <c:v>242</c:v>
                </c:pt>
                <c:pt idx="11042">
                  <c:v>263</c:v>
                </c:pt>
                <c:pt idx="11043">
                  <c:v>151</c:v>
                </c:pt>
                <c:pt idx="11044">
                  <c:v>53</c:v>
                </c:pt>
                <c:pt idx="11045">
                  <c:v>177</c:v>
                </c:pt>
                <c:pt idx="11046">
                  <c:v>165</c:v>
                </c:pt>
                <c:pt idx="11047">
                  <c:v>195</c:v>
                </c:pt>
                <c:pt idx="11048">
                  <c:v>74</c:v>
                </c:pt>
                <c:pt idx="11049">
                  <c:v>116</c:v>
                </c:pt>
                <c:pt idx="11050">
                  <c:v>85</c:v>
                </c:pt>
                <c:pt idx="11051">
                  <c:v>159</c:v>
                </c:pt>
                <c:pt idx="11052">
                  <c:v>88</c:v>
                </c:pt>
                <c:pt idx="11053">
                  <c:v>76</c:v>
                </c:pt>
                <c:pt idx="11054">
                  <c:v>110</c:v>
                </c:pt>
                <c:pt idx="11055">
                  <c:v>143</c:v>
                </c:pt>
                <c:pt idx="11056">
                  <c:v>109</c:v>
                </c:pt>
                <c:pt idx="11057">
                  <c:v>83</c:v>
                </c:pt>
                <c:pt idx="11058">
                  <c:v>77</c:v>
                </c:pt>
                <c:pt idx="11059">
                  <c:v>56</c:v>
                </c:pt>
                <c:pt idx="11060">
                  <c:v>98</c:v>
                </c:pt>
                <c:pt idx="11061">
                  <c:v>19</c:v>
                </c:pt>
                <c:pt idx="11062">
                  <c:v>95</c:v>
                </c:pt>
                <c:pt idx="11063">
                  <c:v>46</c:v>
                </c:pt>
                <c:pt idx="11064">
                  <c:v>76</c:v>
                </c:pt>
                <c:pt idx="11065">
                  <c:v>72</c:v>
                </c:pt>
                <c:pt idx="11066">
                  <c:v>59</c:v>
                </c:pt>
                <c:pt idx="11067">
                  <c:v>16</c:v>
                </c:pt>
                <c:pt idx="11068">
                  <c:v>36</c:v>
                </c:pt>
                <c:pt idx="11069">
                  <c:v>80</c:v>
                </c:pt>
                <c:pt idx="11070">
                  <c:v>62</c:v>
                </c:pt>
                <c:pt idx="11071">
                  <c:v>61</c:v>
                </c:pt>
                <c:pt idx="11072">
                  <c:v>10</c:v>
                </c:pt>
                <c:pt idx="11073">
                  <c:v>52</c:v>
                </c:pt>
                <c:pt idx="11074">
                  <c:v>60</c:v>
                </c:pt>
                <c:pt idx="11075">
                  <c:v>61</c:v>
                </c:pt>
                <c:pt idx="11076">
                  <c:v>46</c:v>
                </c:pt>
                <c:pt idx="11077">
                  <c:v>56</c:v>
                </c:pt>
                <c:pt idx="11078">
                  <c:v>49</c:v>
                </c:pt>
                <c:pt idx="11079">
                  <c:v>46</c:v>
                </c:pt>
                <c:pt idx="11080">
                  <c:v>42</c:v>
                </c:pt>
                <c:pt idx="11081">
                  <c:v>42</c:v>
                </c:pt>
                <c:pt idx="11082">
                  <c:v>45</c:v>
                </c:pt>
                <c:pt idx="11083">
                  <c:v>33</c:v>
                </c:pt>
                <c:pt idx="11084">
                  <c:v>47</c:v>
                </c:pt>
                <c:pt idx="11085">
                  <c:v>34</c:v>
                </c:pt>
                <c:pt idx="11086">
                  <c:v>27</c:v>
                </c:pt>
                <c:pt idx="11087">
                  <c:v>19</c:v>
                </c:pt>
                <c:pt idx="11088">
                  <c:v>36</c:v>
                </c:pt>
                <c:pt idx="11089">
                  <c:v>35</c:v>
                </c:pt>
                <c:pt idx="11090">
                  <c:v>943</c:v>
                </c:pt>
                <c:pt idx="11091">
                  <c:v>673</c:v>
                </c:pt>
                <c:pt idx="11092">
                  <c:v>835</c:v>
                </c:pt>
                <c:pt idx="11093">
                  <c:v>620</c:v>
                </c:pt>
                <c:pt idx="11094">
                  <c:v>350</c:v>
                </c:pt>
                <c:pt idx="11095">
                  <c:v>268</c:v>
                </c:pt>
                <c:pt idx="11096">
                  <c:v>117</c:v>
                </c:pt>
                <c:pt idx="11097">
                  <c:v>179</c:v>
                </c:pt>
                <c:pt idx="11098">
                  <c:v>236</c:v>
                </c:pt>
                <c:pt idx="11099">
                  <c:v>156</c:v>
                </c:pt>
                <c:pt idx="11100">
                  <c:v>131</c:v>
                </c:pt>
                <c:pt idx="11101">
                  <c:v>133</c:v>
                </c:pt>
                <c:pt idx="11102">
                  <c:v>157</c:v>
                </c:pt>
                <c:pt idx="11103">
                  <c:v>142</c:v>
                </c:pt>
                <c:pt idx="11104">
                  <c:v>101</c:v>
                </c:pt>
                <c:pt idx="11105">
                  <c:v>141</c:v>
                </c:pt>
                <c:pt idx="11106">
                  <c:v>108</c:v>
                </c:pt>
                <c:pt idx="11107">
                  <c:v>111</c:v>
                </c:pt>
                <c:pt idx="11108">
                  <c:v>109</c:v>
                </c:pt>
                <c:pt idx="11109">
                  <c:v>105</c:v>
                </c:pt>
                <c:pt idx="11110">
                  <c:v>107</c:v>
                </c:pt>
                <c:pt idx="11111">
                  <c:v>104</c:v>
                </c:pt>
                <c:pt idx="11112">
                  <c:v>69</c:v>
                </c:pt>
                <c:pt idx="11113">
                  <c:v>86</c:v>
                </c:pt>
                <c:pt idx="11114">
                  <c:v>57</c:v>
                </c:pt>
                <c:pt idx="11115">
                  <c:v>76</c:v>
                </c:pt>
                <c:pt idx="11116">
                  <c:v>60</c:v>
                </c:pt>
                <c:pt idx="11117">
                  <c:v>54</c:v>
                </c:pt>
                <c:pt idx="11118">
                  <c:v>71</c:v>
                </c:pt>
                <c:pt idx="11119">
                  <c:v>58</c:v>
                </c:pt>
                <c:pt idx="11120">
                  <c:v>28</c:v>
                </c:pt>
                <c:pt idx="11121">
                  <c:v>45</c:v>
                </c:pt>
                <c:pt idx="11122">
                  <c:v>47</c:v>
                </c:pt>
                <c:pt idx="11123">
                  <c:v>48</c:v>
                </c:pt>
                <c:pt idx="11124">
                  <c:v>39</c:v>
                </c:pt>
                <c:pt idx="11125">
                  <c:v>45</c:v>
                </c:pt>
                <c:pt idx="11126">
                  <c:v>37</c:v>
                </c:pt>
                <c:pt idx="11127">
                  <c:v>38</c:v>
                </c:pt>
                <c:pt idx="11128">
                  <c:v>38</c:v>
                </c:pt>
                <c:pt idx="11129">
                  <c:v>26</c:v>
                </c:pt>
                <c:pt idx="11130">
                  <c:v>35</c:v>
                </c:pt>
                <c:pt idx="11131">
                  <c:v>28</c:v>
                </c:pt>
                <c:pt idx="11132">
                  <c:v>34</c:v>
                </c:pt>
                <c:pt idx="11133">
                  <c:v>22</c:v>
                </c:pt>
                <c:pt idx="11134">
                  <c:v>25</c:v>
                </c:pt>
                <c:pt idx="11135">
                  <c:v>24</c:v>
                </c:pt>
                <c:pt idx="11136">
                  <c:v>22</c:v>
                </c:pt>
                <c:pt idx="11137">
                  <c:v>16</c:v>
                </c:pt>
                <c:pt idx="11138">
                  <c:v>25</c:v>
                </c:pt>
                <c:pt idx="11139">
                  <c:v>17</c:v>
                </c:pt>
                <c:pt idx="11140">
                  <c:v>24</c:v>
                </c:pt>
                <c:pt idx="11141">
                  <c:v>23</c:v>
                </c:pt>
                <c:pt idx="11142">
                  <c:v>14</c:v>
                </c:pt>
                <c:pt idx="11143">
                  <c:v>15</c:v>
                </c:pt>
                <c:pt idx="11144">
                  <c:v>18</c:v>
                </c:pt>
                <c:pt idx="11145">
                  <c:v>18</c:v>
                </c:pt>
                <c:pt idx="11146">
                  <c:v>25</c:v>
                </c:pt>
                <c:pt idx="11147">
                  <c:v>20</c:v>
                </c:pt>
                <c:pt idx="11148">
                  <c:v>7</c:v>
                </c:pt>
                <c:pt idx="11149">
                  <c:v>15</c:v>
                </c:pt>
                <c:pt idx="11150">
                  <c:v>11</c:v>
                </c:pt>
                <c:pt idx="11151">
                  <c:v>14</c:v>
                </c:pt>
                <c:pt idx="11152">
                  <c:v>17</c:v>
                </c:pt>
                <c:pt idx="11153">
                  <c:v>11</c:v>
                </c:pt>
                <c:pt idx="11154">
                  <c:v>15</c:v>
                </c:pt>
                <c:pt idx="11155">
                  <c:v>10</c:v>
                </c:pt>
                <c:pt idx="11156">
                  <c:v>5</c:v>
                </c:pt>
                <c:pt idx="11157">
                  <c:v>9</c:v>
                </c:pt>
                <c:pt idx="11158">
                  <c:v>10</c:v>
                </c:pt>
                <c:pt idx="11159">
                  <c:v>7</c:v>
                </c:pt>
                <c:pt idx="11160">
                  <c:v>9</c:v>
                </c:pt>
                <c:pt idx="11161">
                  <c:v>10</c:v>
                </c:pt>
                <c:pt idx="11162">
                  <c:v>6</c:v>
                </c:pt>
                <c:pt idx="11163">
                  <c:v>7</c:v>
                </c:pt>
                <c:pt idx="11164">
                  <c:v>4</c:v>
                </c:pt>
                <c:pt idx="11165">
                  <c:v>8</c:v>
                </c:pt>
                <c:pt idx="11166">
                  <c:v>4</c:v>
                </c:pt>
                <c:pt idx="11167">
                  <c:v>6</c:v>
                </c:pt>
                <c:pt idx="11168">
                  <c:v>6</c:v>
                </c:pt>
                <c:pt idx="11169">
                  <c:v>2</c:v>
                </c:pt>
                <c:pt idx="11170">
                  <c:v>3</c:v>
                </c:pt>
                <c:pt idx="11171">
                  <c:v>6</c:v>
                </c:pt>
                <c:pt idx="11172">
                  <c:v>5</c:v>
                </c:pt>
                <c:pt idx="11173">
                  <c:v>3</c:v>
                </c:pt>
                <c:pt idx="11174">
                  <c:v>2</c:v>
                </c:pt>
                <c:pt idx="11175">
                  <c:v>3</c:v>
                </c:pt>
                <c:pt idx="11176">
                  <c:v>5</c:v>
                </c:pt>
                <c:pt idx="11177">
                  <c:v>2</c:v>
                </c:pt>
                <c:pt idx="11178">
                  <c:v>4</c:v>
                </c:pt>
                <c:pt idx="11179">
                  <c:v>1</c:v>
                </c:pt>
                <c:pt idx="11180">
                  <c:v>4</c:v>
                </c:pt>
                <c:pt idx="11181">
                  <c:v>0</c:v>
                </c:pt>
                <c:pt idx="11182">
                  <c:v>3</c:v>
                </c:pt>
                <c:pt idx="11183">
                  <c:v>3</c:v>
                </c:pt>
                <c:pt idx="11184">
                  <c:v>4</c:v>
                </c:pt>
                <c:pt idx="11185">
                  <c:v>4</c:v>
                </c:pt>
                <c:pt idx="11186">
                  <c:v>3</c:v>
                </c:pt>
                <c:pt idx="11187">
                  <c:v>1</c:v>
                </c:pt>
                <c:pt idx="11188">
                  <c:v>3</c:v>
                </c:pt>
                <c:pt idx="11189">
                  <c:v>2</c:v>
                </c:pt>
                <c:pt idx="11190">
                  <c:v>577</c:v>
                </c:pt>
                <c:pt idx="11191">
                  <c:v>264</c:v>
                </c:pt>
                <c:pt idx="11192">
                  <c:v>191</c:v>
                </c:pt>
                <c:pt idx="11193">
                  <c:v>89</c:v>
                </c:pt>
                <c:pt idx="11194">
                  <c:v>112</c:v>
                </c:pt>
                <c:pt idx="11195">
                  <c:v>66</c:v>
                </c:pt>
                <c:pt idx="11196">
                  <c:v>34</c:v>
                </c:pt>
                <c:pt idx="11197">
                  <c:v>28</c:v>
                </c:pt>
                <c:pt idx="11198">
                  <c:v>16</c:v>
                </c:pt>
                <c:pt idx="11199">
                  <c:v>8</c:v>
                </c:pt>
                <c:pt idx="11200">
                  <c:v>4</c:v>
                </c:pt>
                <c:pt idx="11201">
                  <c:v>0</c:v>
                </c:pt>
                <c:pt idx="11202">
                  <c:v>0</c:v>
                </c:pt>
                <c:pt idx="11203">
                  <c:v>0</c:v>
                </c:pt>
                <c:pt idx="11204">
                  <c:v>173</c:v>
                </c:pt>
                <c:pt idx="11205">
                  <c:v>76</c:v>
                </c:pt>
                <c:pt idx="11206">
                  <c:v>57</c:v>
                </c:pt>
                <c:pt idx="11207">
                  <c:v>41</c:v>
                </c:pt>
                <c:pt idx="11208">
                  <c:v>42</c:v>
                </c:pt>
                <c:pt idx="11209">
                  <c:v>29</c:v>
                </c:pt>
                <c:pt idx="11210">
                  <c:v>26</c:v>
                </c:pt>
                <c:pt idx="11211">
                  <c:v>11</c:v>
                </c:pt>
                <c:pt idx="11212">
                  <c:v>18</c:v>
                </c:pt>
                <c:pt idx="11213">
                  <c:v>14</c:v>
                </c:pt>
                <c:pt idx="11214">
                  <c:v>7</c:v>
                </c:pt>
                <c:pt idx="11215">
                  <c:v>5</c:v>
                </c:pt>
                <c:pt idx="11216">
                  <c:v>4</c:v>
                </c:pt>
                <c:pt idx="11217">
                  <c:v>5</c:v>
                </c:pt>
                <c:pt idx="11218">
                  <c:v>3</c:v>
                </c:pt>
                <c:pt idx="11219">
                  <c:v>3</c:v>
                </c:pt>
                <c:pt idx="11220">
                  <c:v>1</c:v>
                </c:pt>
                <c:pt idx="11221">
                  <c:v>0</c:v>
                </c:pt>
                <c:pt idx="11222">
                  <c:v>0</c:v>
                </c:pt>
                <c:pt idx="11223">
                  <c:v>0</c:v>
                </c:pt>
                <c:pt idx="11224">
                  <c:v>11</c:v>
                </c:pt>
                <c:pt idx="11225">
                  <c:v>28</c:v>
                </c:pt>
                <c:pt idx="11226">
                  <c:v>3</c:v>
                </c:pt>
                <c:pt idx="11227">
                  <c:v>0</c:v>
                </c:pt>
                <c:pt idx="11228">
                  <c:v>2</c:v>
                </c:pt>
                <c:pt idx="11229">
                  <c:v>1</c:v>
                </c:pt>
                <c:pt idx="11230">
                  <c:v>1</c:v>
                </c:pt>
                <c:pt idx="11231">
                  <c:v>0</c:v>
                </c:pt>
                <c:pt idx="11232">
                  <c:v>0</c:v>
                </c:pt>
                <c:pt idx="11233">
                  <c:v>33</c:v>
                </c:pt>
                <c:pt idx="11234">
                  <c:v>9</c:v>
                </c:pt>
                <c:pt idx="11235">
                  <c:v>6</c:v>
                </c:pt>
                <c:pt idx="11236">
                  <c:v>31</c:v>
                </c:pt>
                <c:pt idx="11237">
                  <c:v>2</c:v>
                </c:pt>
                <c:pt idx="11238">
                  <c:v>1</c:v>
                </c:pt>
                <c:pt idx="11239">
                  <c:v>1</c:v>
                </c:pt>
                <c:pt idx="11240">
                  <c:v>19</c:v>
                </c:pt>
                <c:pt idx="11241">
                  <c:v>531</c:v>
                </c:pt>
                <c:pt idx="11242">
                  <c:v>135</c:v>
                </c:pt>
                <c:pt idx="11243">
                  <c:v>169</c:v>
                </c:pt>
                <c:pt idx="11244">
                  <c:v>424</c:v>
                </c:pt>
                <c:pt idx="11245">
                  <c:v>242</c:v>
                </c:pt>
                <c:pt idx="11246">
                  <c:v>33</c:v>
                </c:pt>
                <c:pt idx="11247">
                  <c:v>40</c:v>
                </c:pt>
                <c:pt idx="11248">
                  <c:v>77</c:v>
                </c:pt>
                <c:pt idx="11249">
                  <c:v>121</c:v>
                </c:pt>
                <c:pt idx="11250">
                  <c:v>78</c:v>
                </c:pt>
                <c:pt idx="11251">
                  <c:v>240</c:v>
                </c:pt>
                <c:pt idx="11252">
                  <c:v>352</c:v>
                </c:pt>
                <c:pt idx="11253">
                  <c:v>1477</c:v>
                </c:pt>
                <c:pt idx="11254">
                  <c:v>663</c:v>
                </c:pt>
                <c:pt idx="11255">
                  <c:v>594</c:v>
                </c:pt>
                <c:pt idx="11256">
                  <c:v>764</c:v>
                </c:pt>
                <c:pt idx="11257">
                  <c:v>489</c:v>
                </c:pt>
                <c:pt idx="11258">
                  <c:v>329</c:v>
                </c:pt>
                <c:pt idx="11259">
                  <c:v>329</c:v>
                </c:pt>
                <c:pt idx="11260">
                  <c:v>211</c:v>
                </c:pt>
                <c:pt idx="11261">
                  <c:v>25</c:v>
                </c:pt>
                <c:pt idx="11262">
                  <c:v>22</c:v>
                </c:pt>
                <c:pt idx="11263">
                  <c:v>12</c:v>
                </c:pt>
                <c:pt idx="11264">
                  <c:v>60</c:v>
                </c:pt>
                <c:pt idx="11265">
                  <c:v>43</c:v>
                </c:pt>
                <c:pt idx="11266">
                  <c:v>24</c:v>
                </c:pt>
                <c:pt idx="11267">
                  <c:v>13</c:v>
                </c:pt>
                <c:pt idx="11268">
                  <c:v>6</c:v>
                </c:pt>
                <c:pt idx="11269">
                  <c:v>6</c:v>
                </c:pt>
                <c:pt idx="11270">
                  <c:v>2</c:v>
                </c:pt>
                <c:pt idx="11271">
                  <c:v>1</c:v>
                </c:pt>
                <c:pt idx="11272">
                  <c:v>170</c:v>
                </c:pt>
                <c:pt idx="11273">
                  <c:v>208</c:v>
                </c:pt>
                <c:pt idx="11274">
                  <c:v>109</c:v>
                </c:pt>
                <c:pt idx="11275">
                  <c:v>126</c:v>
                </c:pt>
                <c:pt idx="11276">
                  <c:v>97</c:v>
                </c:pt>
                <c:pt idx="11277">
                  <c:v>151</c:v>
                </c:pt>
                <c:pt idx="11278">
                  <c:v>91</c:v>
                </c:pt>
                <c:pt idx="11279">
                  <c:v>96</c:v>
                </c:pt>
                <c:pt idx="11280">
                  <c:v>86</c:v>
                </c:pt>
                <c:pt idx="11281">
                  <c:v>80</c:v>
                </c:pt>
                <c:pt idx="11282">
                  <c:v>86</c:v>
                </c:pt>
                <c:pt idx="11283">
                  <c:v>52</c:v>
                </c:pt>
                <c:pt idx="11284">
                  <c:v>81</c:v>
                </c:pt>
                <c:pt idx="11285">
                  <c:v>87</c:v>
                </c:pt>
                <c:pt idx="11286">
                  <c:v>90</c:v>
                </c:pt>
                <c:pt idx="11287">
                  <c:v>61</c:v>
                </c:pt>
                <c:pt idx="11288">
                  <c:v>91</c:v>
                </c:pt>
                <c:pt idx="11289">
                  <c:v>47</c:v>
                </c:pt>
                <c:pt idx="11290">
                  <c:v>1586</c:v>
                </c:pt>
                <c:pt idx="11291">
                  <c:v>613</c:v>
                </c:pt>
                <c:pt idx="11292">
                  <c:v>677</c:v>
                </c:pt>
                <c:pt idx="11293">
                  <c:v>592</c:v>
                </c:pt>
                <c:pt idx="11294">
                  <c:v>527</c:v>
                </c:pt>
                <c:pt idx="11295">
                  <c:v>149</c:v>
                </c:pt>
                <c:pt idx="11296">
                  <c:v>134</c:v>
                </c:pt>
                <c:pt idx="11297">
                  <c:v>119</c:v>
                </c:pt>
                <c:pt idx="11298">
                  <c:v>57</c:v>
                </c:pt>
                <c:pt idx="11299">
                  <c:v>65</c:v>
                </c:pt>
                <c:pt idx="11300">
                  <c:v>423</c:v>
                </c:pt>
                <c:pt idx="11301">
                  <c:v>207</c:v>
                </c:pt>
                <c:pt idx="11302">
                  <c:v>140</c:v>
                </c:pt>
                <c:pt idx="11303">
                  <c:v>66</c:v>
                </c:pt>
                <c:pt idx="11304">
                  <c:v>1651</c:v>
                </c:pt>
                <c:pt idx="11305">
                  <c:v>760</c:v>
                </c:pt>
                <c:pt idx="11306">
                  <c:v>585</c:v>
                </c:pt>
                <c:pt idx="11307">
                  <c:v>542</c:v>
                </c:pt>
                <c:pt idx="11308">
                  <c:v>253</c:v>
                </c:pt>
                <c:pt idx="11309">
                  <c:v>238</c:v>
                </c:pt>
                <c:pt idx="11310">
                  <c:v>149</c:v>
                </c:pt>
                <c:pt idx="11311">
                  <c:v>142</c:v>
                </c:pt>
                <c:pt idx="11312">
                  <c:v>79</c:v>
                </c:pt>
                <c:pt idx="11313">
                  <c:v>31</c:v>
                </c:pt>
                <c:pt idx="11314">
                  <c:v>66</c:v>
                </c:pt>
                <c:pt idx="11315">
                  <c:v>31</c:v>
                </c:pt>
                <c:pt idx="11316">
                  <c:v>28</c:v>
                </c:pt>
                <c:pt idx="11317">
                  <c:v>20</c:v>
                </c:pt>
                <c:pt idx="11318">
                  <c:v>13</c:v>
                </c:pt>
                <c:pt idx="11319">
                  <c:v>8</c:v>
                </c:pt>
                <c:pt idx="11320">
                  <c:v>2</c:v>
                </c:pt>
                <c:pt idx="11321">
                  <c:v>735</c:v>
                </c:pt>
                <c:pt idx="11322">
                  <c:v>715</c:v>
                </c:pt>
                <c:pt idx="11323">
                  <c:v>595</c:v>
                </c:pt>
                <c:pt idx="11324">
                  <c:v>437</c:v>
                </c:pt>
                <c:pt idx="11325">
                  <c:v>580</c:v>
                </c:pt>
                <c:pt idx="11326">
                  <c:v>598</c:v>
                </c:pt>
                <c:pt idx="11327">
                  <c:v>465</c:v>
                </c:pt>
                <c:pt idx="11328">
                  <c:v>554</c:v>
                </c:pt>
                <c:pt idx="11329">
                  <c:v>453</c:v>
                </c:pt>
                <c:pt idx="11330">
                  <c:v>311</c:v>
                </c:pt>
                <c:pt idx="11331">
                  <c:v>305</c:v>
                </c:pt>
                <c:pt idx="11332">
                  <c:v>221</c:v>
                </c:pt>
                <c:pt idx="11333">
                  <c:v>148</c:v>
                </c:pt>
                <c:pt idx="11334">
                  <c:v>159</c:v>
                </c:pt>
                <c:pt idx="11335">
                  <c:v>162</c:v>
                </c:pt>
                <c:pt idx="11336">
                  <c:v>157</c:v>
                </c:pt>
                <c:pt idx="11337">
                  <c:v>91</c:v>
                </c:pt>
                <c:pt idx="11338">
                  <c:v>157</c:v>
                </c:pt>
                <c:pt idx="11339">
                  <c:v>134</c:v>
                </c:pt>
                <c:pt idx="11340">
                  <c:v>52</c:v>
                </c:pt>
                <c:pt idx="11341">
                  <c:v>83</c:v>
                </c:pt>
                <c:pt idx="11342">
                  <c:v>40</c:v>
                </c:pt>
                <c:pt idx="11343">
                  <c:v>55</c:v>
                </c:pt>
                <c:pt idx="11344">
                  <c:v>43</c:v>
                </c:pt>
                <c:pt idx="11345">
                  <c:v>58</c:v>
                </c:pt>
                <c:pt idx="11346">
                  <c:v>35</c:v>
                </c:pt>
                <c:pt idx="11347">
                  <c:v>27</c:v>
                </c:pt>
                <c:pt idx="11348">
                  <c:v>23</c:v>
                </c:pt>
                <c:pt idx="11349">
                  <c:v>27</c:v>
                </c:pt>
                <c:pt idx="11350">
                  <c:v>23</c:v>
                </c:pt>
                <c:pt idx="11351">
                  <c:v>14</c:v>
                </c:pt>
                <c:pt idx="11352">
                  <c:v>12</c:v>
                </c:pt>
                <c:pt idx="11353">
                  <c:v>8</c:v>
                </c:pt>
                <c:pt idx="11354">
                  <c:v>2</c:v>
                </c:pt>
                <c:pt idx="11355">
                  <c:v>781</c:v>
                </c:pt>
                <c:pt idx="11356">
                  <c:v>1157</c:v>
                </c:pt>
                <c:pt idx="11357">
                  <c:v>1004</c:v>
                </c:pt>
                <c:pt idx="11358">
                  <c:v>518</c:v>
                </c:pt>
                <c:pt idx="11359">
                  <c:v>252</c:v>
                </c:pt>
                <c:pt idx="11360">
                  <c:v>487</c:v>
                </c:pt>
                <c:pt idx="11361">
                  <c:v>478</c:v>
                </c:pt>
                <c:pt idx="11362">
                  <c:v>294</c:v>
                </c:pt>
                <c:pt idx="11363">
                  <c:v>347</c:v>
                </c:pt>
                <c:pt idx="11364">
                  <c:v>285</c:v>
                </c:pt>
                <c:pt idx="11365">
                  <c:v>164</c:v>
                </c:pt>
                <c:pt idx="11366">
                  <c:v>176</c:v>
                </c:pt>
                <c:pt idx="11367">
                  <c:v>0</c:v>
                </c:pt>
                <c:pt idx="11368">
                  <c:v>272</c:v>
                </c:pt>
                <c:pt idx="11369">
                  <c:v>1350</c:v>
                </c:pt>
                <c:pt idx="11370">
                  <c:v>1462</c:v>
                </c:pt>
                <c:pt idx="11371">
                  <c:v>739</c:v>
                </c:pt>
                <c:pt idx="11372">
                  <c:v>675</c:v>
                </c:pt>
                <c:pt idx="11373">
                  <c:v>2226</c:v>
                </c:pt>
                <c:pt idx="11374">
                  <c:v>996</c:v>
                </c:pt>
                <c:pt idx="11375">
                  <c:v>796</c:v>
                </c:pt>
                <c:pt idx="11376">
                  <c:v>603</c:v>
                </c:pt>
                <c:pt idx="11377">
                  <c:v>619</c:v>
                </c:pt>
                <c:pt idx="11378">
                  <c:v>537</c:v>
                </c:pt>
                <c:pt idx="11379">
                  <c:v>432</c:v>
                </c:pt>
                <c:pt idx="11380">
                  <c:v>478</c:v>
                </c:pt>
                <c:pt idx="11381">
                  <c:v>423</c:v>
                </c:pt>
                <c:pt idx="11382">
                  <c:v>485</c:v>
                </c:pt>
                <c:pt idx="11383">
                  <c:v>363</c:v>
                </c:pt>
                <c:pt idx="11384">
                  <c:v>391</c:v>
                </c:pt>
                <c:pt idx="11385">
                  <c:v>431</c:v>
                </c:pt>
                <c:pt idx="11386">
                  <c:v>396</c:v>
                </c:pt>
                <c:pt idx="11387">
                  <c:v>371</c:v>
                </c:pt>
                <c:pt idx="11388">
                  <c:v>242</c:v>
                </c:pt>
                <c:pt idx="11389">
                  <c:v>294</c:v>
                </c:pt>
                <c:pt idx="11390">
                  <c:v>236</c:v>
                </c:pt>
                <c:pt idx="11391">
                  <c:v>282</c:v>
                </c:pt>
                <c:pt idx="11392">
                  <c:v>261</c:v>
                </c:pt>
                <c:pt idx="11393">
                  <c:v>224</c:v>
                </c:pt>
                <c:pt idx="11394">
                  <c:v>232</c:v>
                </c:pt>
                <c:pt idx="11395">
                  <c:v>209</c:v>
                </c:pt>
                <c:pt idx="11396">
                  <c:v>183</c:v>
                </c:pt>
                <c:pt idx="11397">
                  <c:v>159</c:v>
                </c:pt>
                <c:pt idx="11398">
                  <c:v>158</c:v>
                </c:pt>
                <c:pt idx="11399">
                  <c:v>255</c:v>
                </c:pt>
                <c:pt idx="11400">
                  <c:v>88</c:v>
                </c:pt>
                <c:pt idx="11401">
                  <c:v>79</c:v>
                </c:pt>
                <c:pt idx="11402">
                  <c:v>605</c:v>
                </c:pt>
                <c:pt idx="11403">
                  <c:v>249</c:v>
                </c:pt>
                <c:pt idx="11404">
                  <c:v>167</c:v>
                </c:pt>
                <c:pt idx="11405">
                  <c:v>45</c:v>
                </c:pt>
                <c:pt idx="11406">
                  <c:v>34</c:v>
                </c:pt>
                <c:pt idx="11407">
                  <c:v>7</c:v>
                </c:pt>
                <c:pt idx="11408">
                  <c:v>17</c:v>
                </c:pt>
                <c:pt idx="11409">
                  <c:v>14</c:v>
                </c:pt>
                <c:pt idx="11410">
                  <c:v>7</c:v>
                </c:pt>
                <c:pt idx="11411">
                  <c:v>7</c:v>
                </c:pt>
                <c:pt idx="11412">
                  <c:v>1432</c:v>
                </c:pt>
                <c:pt idx="11413">
                  <c:v>1100</c:v>
                </c:pt>
                <c:pt idx="11414">
                  <c:v>840</c:v>
                </c:pt>
                <c:pt idx="11415">
                  <c:v>618</c:v>
                </c:pt>
                <c:pt idx="11416">
                  <c:v>651</c:v>
                </c:pt>
                <c:pt idx="11417">
                  <c:v>467</c:v>
                </c:pt>
                <c:pt idx="11418">
                  <c:v>519</c:v>
                </c:pt>
                <c:pt idx="11419">
                  <c:v>550</c:v>
                </c:pt>
                <c:pt idx="11420">
                  <c:v>259</c:v>
                </c:pt>
                <c:pt idx="11421">
                  <c:v>470</c:v>
                </c:pt>
                <c:pt idx="11422">
                  <c:v>238</c:v>
                </c:pt>
                <c:pt idx="11423">
                  <c:v>303</c:v>
                </c:pt>
                <c:pt idx="11424">
                  <c:v>212</c:v>
                </c:pt>
                <c:pt idx="11425">
                  <c:v>218</c:v>
                </c:pt>
                <c:pt idx="11426">
                  <c:v>328</c:v>
                </c:pt>
                <c:pt idx="11427">
                  <c:v>80</c:v>
                </c:pt>
                <c:pt idx="11428">
                  <c:v>272</c:v>
                </c:pt>
                <c:pt idx="11429">
                  <c:v>188</c:v>
                </c:pt>
                <c:pt idx="11430">
                  <c:v>60</c:v>
                </c:pt>
                <c:pt idx="11431">
                  <c:v>879</c:v>
                </c:pt>
                <c:pt idx="11432">
                  <c:v>558</c:v>
                </c:pt>
                <c:pt idx="11433">
                  <c:v>220</c:v>
                </c:pt>
                <c:pt idx="11434">
                  <c:v>153</c:v>
                </c:pt>
                <c:pt idx="11435">
                  <c:v>1346</c:v>
                </c:pt>
                <c:pt idx="11436">
                  <c:v>557</c:v>
                </c:pt>
                <c:pt idx="11437">
                  <c:v>997</c:v>
                </c:pt>
                <c:pt idx="11438">
                  <c:v>597</c:v>
                </c:pt>
                <c:pt idx="11439">
                  <c:v>783</c:v>
                </c:pt>
                <c:pt idx="11440">
                  <c:v>650</c:v>
                </c:pt>
                <c:pt idx="11441">
                  <c:v>814</c:v>
                </c:pt>
                <c:pt idx="11442">
                  <c:v>729</c:v>
                </c:pt>
                <c:pt idx="11443">
                  <c:v>668</c:v>
                </c:pt>
                <c:pt idx="11444">
                  <c:v>597</c:v>
                </c:pt>
                <c:pt idx="11445">
                  <c:v>586</c:v>
                </c:pt>
                <c:pt idx="11446">
                  <c:v>531</c:v>
                </c:pt>
                <c:pt idx="11447">
                  <c:v>435</c:v>
                </c:pt>
                <c:pt idx="11448">
                  <c:v>518</c:v>
                </c:pt>
                <c:pt idx="11449">
                  <c:v>550</c:v>
                </c:pt>
                <c:pt idx="11450">
                  <c:v>390</c:v>
                </c:pt>
                <c:pt idx="11451">
                  <c:v>345</c:v>
                </c:pt>
                <c:pt idx="11452">
                  <c:v>352</c:v>
                </c:pt>
                <c:pt idx="11453">
                  <c:v>316</c:v>
                </c:pt>
                <c:pt idx="11454">
                  <c:v>220</c:v>
                </c:pt>
                <c:pt idx="11455">
                  <c:v>329</c:v>
                </c:pt>
                <c:pt idx="11456">
                  <c:v>223</c:v>
                </c:pt>
                <c:pt idx="11457">
                  <c:v>365</c:v>
                </c:pt>
                <c:pt idx="11458">
                  <c:v>200</c:v>
                </c:pt>
                <c:pt idx="11459">
                  <c:v>228</c:v>
                </c:pt>
                <c:pt idx="11460">
                  <c:v>63</c:v>
                </c:pt>
                <c:pt idx="11461">
                  <c:v>105</c:v>
                </c:pt>
                <c:pt idx="11462">
                  <c:v>166</c:v>
                </c:pt>
                <c:pt idx="11463">
                  <c:v>130</c:v>
                </c:pt>
                <c:pt idx="11464">
                  <c:v>667</c:v>
                </c:pt>
                <c:pt idx="11465">
                  <c:v>747</c:v>
                </c:pt>
                <c:pt idx="11466">
                  <c:v>769</c:v>
                </c:pt>
                <c:pt idx="11467">
                  <c:v>498</c:v>
                </c:pt>
                <c:pt idx="11468">
                  <c:v>411</c:v>
                </c:pt>
                <c:pt idx="11469">
                  <c:v>510</c:v>
                </c:pt>
                <c:pt idx="11470">
                  <c:v>355</c:v>
                </c:pt>
                <c:pt idx="11471">
                  <c:v>421</c:v>
                </c:pt>
                <c:pt idx="11472">
                  <c:v>293</c:v>
                </c:pt>
                <c:pt idx="11473">
                  <c:v>351</c:v>
                </c:pt>
                <c:pt idx="11474">
                  <c:v>315</c:v>
                </c:pt>
                <c:pt idx="11475">
                  <c:v>250</c:v>
                </c:pt>
                <c:pt idx="11476">
                  <c:v>212</c:v>
                </c:pt>
                <c:pt idx="11477">
                  <c:v>222</c:v>
                </c:pt>
                <c:pt idx="11478">
                  <c:v>193</c:v>
                </c:pt>
                <c:pt idx="11479">
                  <c:v>1158</c:v>
                </c:pt>
                <c:pt idx="11480">
                  <c:v>780</c:v>
                </c:pt>
                <c:pt idx="11481">
                  <c:v>624</c:v>
                </c:pt>
                <c:pt idx="11482">
                  <c:v>733</c:v>
                </c:pt>
                <c:pt idx="11483">
                  <c:v>1003</c:v>
                </c:pt>
                <c:pt idx="11484">
                  <c:v>526</c:v>
                </c:pt>
                <c:pt idx="11485">
                  <c:v>373</c:v>
                </c:pt>
                <c:pt idx="11486">
                  <c:v>249</c:v>
                </c:pt>
                <c:pt idx="11487">
                  <c:v>261</c:v>
                </c:pt>
                <c:pt idx="11488">
                  <c:v>160</c:v>
                </c:pt>
                <c:pt idx="11489">
                  <c:v>349</c:v>
                </c:pt>
                <c:pt idx="11490">
                  <c:v>933</c:v>
                </c:pt>
                <c:pt idx="11491">
                  <c:v>601</c:v>
                </c:pt>
                <c:pt idx="11492">
                  <c:v>628</c:v>
                </c:pt>
                <c:pt idx="11493">
                  <c:v>525</c:v>
                </c:pt>
                <c:pt idx="11494">
                  <c:v>509</c:v>
                </c:pt>
                <c:pt idx="11495">
                  <c:v>462</c:v>
                </c:pt>
                <c:pt idx="11496">
                  <c:v>511</c:v>
                </c:pt>
                <c:pt idx="11497">
                  <c:v>417</c:v>
                </c:pt>
                <c:pt idx="11498">
                  <c:v>259</c:v>
                </c:pt>
                <c:pt idx="11499">
                  <c:v>376</c:v>
                </c:pt>
                <c:pt idx="11500">
                  <c:v>464</c:v>
                </c:pt>
                <c:pt idx="11501">
                  <c:v>324</c:v>
                </c:pt>
                <c:pt idx="11502">
                  <c:v>259</c:v>
                </c:pt>
                <c:pt idx="11503">
                  <c:v>208</c:v>
                </c:pt>
                <c:pt idx="11504">
                  <c:v>442</c:v>
                </c:pt>
                <c:pt idx="11505">
                  <c:v>309</c:v>
                </c:pt>
                <c:pt idx="11506">
                  <c:v>135</c:v>
                </c:pt>
                <c:pt idx="11507">
                  <c:v>1136</c:v>
                </c:pt>
                <c:pt idx="11508">
                  <c:v>965</c:v>
                </c:pt>
                <c:pt idx="11509">
                  <c:v>1287</c:v>
                </c:pt>
                <c:pt idx="11510">
                  <c:v>1336</c:v>
                </c:pt>
                <c:pt idx="11511">
                  <c:v>1425</c:v>
                </c:pt>
                <c:pt idx="11512">
                  <c:v>894</c:v>
                </c:pt>
                <c:pt idx="11513">
                  <c:v>744</c:v>
                </c:pt>
                <c:pt idx="11514">
                  <c:v>626</c:v>
                </c:pt>
                <c:pt idx="11515">
                  <c:v>611</c:v>
                </c:pt>
                <c:pt idx="11516">
                  <c:v>501</c:v>
                </c:pt>
                <c:pt idx="11517">
                  <c:v>429</c:v>
                </c:pt>
                <c:pt idx="11518">
                  <c:v>357</c:v>
                </c:pt>
                <c:pt idx="11519">
                  <c:v>358</c:v>
                </c:pt>
                <c:pt idx="11520">
                  <c:v>312</c:v>
                </c:pt>
                <c:pt idx="11521">
                  <c:v>234</c:v>
                </c:pt>
                <c:pt idx="11522">
                  <c:v>236</c:v>
                </c:pt>
                <c:pt idx="11523">
                  <c:v>93</c:v>
                </c:pt>
                <c:pt idx="11524">
                  <c:v>161</c:v>
                </c:pt>
                <c:pt idx="11525">
                  <c:v>115</c:v>
                </c:pt>
                <c:pt idx="11526">
                  <c:v>97</c:v>
                </c:pt>
                <c:pt idx="11527">
                  <c:v>465</c:v>
                </c:pt>
                <c:pt idx="11528">
                  <c:v>278</c:v>
                </c:pt>
                <c:pt idx="11529">
                  <c:v>293</c:v>
                </c:pt>
                <c:pt idx="11530">
                  <c:v>282</c:v>
                </c:pt>
                <c:pt idx="11531">
                  <c:v>206</c:v>
                </c:pt>
                <c:pt idx="11532">
                  <c:v>255</c:v>
                </c:pt>
                <c:pt idx="11533">
                  <c:v>226</c:v>
                </c:pt>
                <c:pt idx="11534">
                  <c:v>163</c:v>
                </c:pt>
                <c:pt idx="11535">
                  <c:v>87</c:v>
                </c:pt>
                <c:pt idx="11536">
                  <c:v>1049</c:v>
                </c:pt>
                <c:pt idx="11537">
                  <c:v>576</c:v>
                </c:pt>
                <c:pt idx="11538">
                  <c:v>448</c:v>
                </c:pt>
                <c:pt idx="11539">
                  <c:v>454</c:v>
                </c:pt>
                <c:pt idx="11540">
                  <c:v>361</c:v>
                </c:pt>
                <c:pt idx="11541">
                  <c:v>279</c:v>
                </c:pt>
                <c:pt idx="11542">
                  <c:v>339</c:v>
                </c:pt>
                <c:pt idx="11543">
                  <c:v>204</c:v>
                </c:pt>
                <c:pt idx="11544">
                  <c:v>198</c:v>
                </c:pt>
                <c:pt idx="11545">
                  <c:v>113</c:v>
                </c:pt>
                <c:pt idx="11546">
                  <c:v>68</c:v>
                </c:pt>
                <c:pt idx="11547">
                  <c:v>693</c:v>
                </c:pt>
                <c:pt idx="11548">
                  <c:v>162</c:v>
                </c:pt>
                <c:pt idx="11549">
                  <c:v>257</c:v>
                </c:pt>
                <c:pt idx="11550">
                  <c:v>598</c:v>
                </c:pt>
                <c:pt idx="11551">
                  <c:v>582</c:v>
                </c:pt>
                <c:pt idx="11552">
                  <c:v>236</c:v>
                </c:pt>
                <c:pt idx="11553">
                  <c:v>250</c:v>
                </c:pt>
                <c:pt idx="11554">
                  <c:v>607</c:v>
                </c:pt>
                <c:pt idx="11555">
                  <c:v>100</c:v>
                </c:pt>
                <c:pt idx="11556">
                  <c:v>729</c:v>
                </c:pt>
                <c:pt idx="11557">
                  <c:v>569</c:v>
                </c:pt>
                <c:pt idx="11558">
                  <c:v>394</c:v>
                </c:pt>
                <c:pt idx="11559">
                  <c:v>286</c:v>
                </c:pt>
                <c:pt idx="11560">
                  <c:v>272</c:v>
                </c:pt>
                <c:pt idx="11561">
                  <c:v>278</c:v>
                </c:pt>
                <c:pt idx="11562">
                  <c:v>284</c:v>
                </c:pt>
                <c:pt idx="11563">
                  <c:v>257</c:v>
                </c:pt>
                <c:pt idx="11564">
                  <c:v>188</c:v>
                </c:pt>
                <c:pt idx="11565">
                  <c:v>142</c:v>
                </c:pt>
                <c:pt idx="11566">
                  <c:v>123</c:v>
                </c:pt>
                <c:pt idx="11567">
                  <c:v>1404</c:v>
                </c:pt>
                <c:pt idx="11568">
                  <c:v>191</c:v>
                </c:pt>
                <c:pt idx="11569">
                  <c:v>283</c:v>
                </c:pt>
                <c:pt idx="11570">
                  <c:v>117</c:v>
                </c:pt>
                <c:pt idx="11571">
                  <c:v>1577</c:v>
                </c:pt>
                <c:pt idx="11572">
                  <c:v>435</c:v>
                </c:pt>
                <c:pt idx="11573">
                  <c:v>920</c:v>
                </c:pt>
                <c:pt idx="11574">
                  <c:v>1011</c:v>
                </c:pt>
                <c:pt idx="11575">
                  <c:v>1318</c:v>
                </c:pt>
                <c:pt idx="11576">
                  <c:v>270</c:v>
                </c:pt>
                <c:pt idx="11577">
                  <c:v>230</c:v>
                </c:pt>
                <c:pt idx="11578">
                  <c:v>221</c:v>
                </c:pt>
                <c:pt idx="11579">
                  <c:v>95</c:v>
                </c:pt>
                <c:pt idx="11580">
                  <c:v>89</c:v>
                </c:pt>
                <c:pt idx="11581">
                  <c:v>95</c:v>
                </c:pt>
                <c:pt idx="11582">
                  <c:v>69</c:v>
                </c:pt>
                <c:pt idx="11583">
                  <c:v>73</c:v>
                </c:pt>
                <c:pt idx="11584">
                  <c:v>64</c:v>
                </c:pt>
                <c:pt idx="11585">
                  <c:v>81</c:v>
                </c:pt>
                <c:pt idx="11586">
                  <c:v>67</c:v>
                </c:pt>
                <c:pt idx="11587">
                  <c:v>50</c:v>
                </c:pt>
                <c:pt idx="11588">
                  <c:v>57</c:v>
                </c:pt>
                <c:pt idx="11589">
                  <c:v>68</c:v>
                </c:pt>
                <c:pt idx="11590">
                  <c:v>73</c:v>
                </c:pt>
                <c:pt idx="11591">
                  <c:v>58</c:v>
                </c:pt>
                <c:pt idx="11592">
                  <c:v>61</c:v>
                </c:pt>
                <c:pt idx="11593">
                  <c:v>60</c:v>
                </c:pt>
                <c:pt idx="11594">
                  <c:v>53</c:v>
                </c:pt>
                <c:pt idx="11595">
                  <c:v>48</c:v>
                </c:pt>
                <c:pt idx="11596">
                  <c:v>41</c:v>
                </c:pt>
                <c:pt idx="11597">
                  <c:v>31</c:v>
                </c:pt>
                <c:pt idx="11598">
                  <c:v>27</c:v>
                </c:pt>
                <c:pt idx="11599">
                  <c:v>42</c:v>
                </c:pt>
                <c:pt idx="11600">
                  <c:v>51</c:v>
                </c:pt>
                <c:pt idx="11601">
                  <c:v>32</c:v>
                </c:pt>
                <c:pt idx="11602">
                  <c:v>27</c:v>
                </c:pt>
                <c:pt idx="11603">
                  <c:v>21</c:v>
                </c:pt>
                <c:pt idx="11604">
                  <c:v>10</c:v>
                </c:pt>
                <c:pt idx="11605">
                  <c:v>15</c:v>
                </c:pt>
                <c:pt idx="11606">
                  <c:v>14</c:v>
                </c:pt>
                <c:pt idx="11607">
                  <c:v>14</c:v>
                </c:pt>
                <c:pt idx="11608">
                  <c:v>16</c:v>
                </c:pt>
                <c:pt idx="11609">
                  <c:v>17</c:v>
                </c:pt>
                <c:pt idx="11610">
                  <c:v>17</c:v>
                </c:pt>
                <c:pt idx="11611">
                  <c:v>6</c:v>
                </c:pt>
                <c:pt idx="11612">
                  <c:v>11</c:v>
                </c:pt>
                <c:pt idx="11613">
                  <c:v>6</c:v>
                </c:pt>
                <c:pt idx="11614">
                  <c:v>4</c:v>
                </c:pt>
                <c:pt idx="11615">
                  <c:v>2</c:v>
                </c:pt>
                <c:pt idx="11616">
                  <c:v>2</c:v>
                </c:pt>
                <c:pt idx="11617">
                  <c:v>119</c:v>
                </c:pt>
                <c:pt idx="11618">
                  <c:v>61</c:v>
                </c:pt>
                <c:pt idx="11619">
                  <c:v>54</c:v>
                </c:pt>
                <c:pt idx="11620">
                  <c:v>55</c:v>
                </c:pt>
                <c:pt idx="11621">
                  <c:v>52</c:v>
                </c:pt>
                <c:pt idx="11622">
                  <c:v>37</c:v>
                </c:pt>
                <c:pt idx="11623">
                  <c:v>19</c:v>
                </c:pt>
                <c:pt idx="11624">
                  <c:v>10</c:v>
                </c:pt>
                <c:pt idx="11625">
                  <c:v>11</c:v>
                </c:pt>
                <c:pt idx="11626">
                  <c:v>10</c:v>
                </c:pt>
                <c:pt idx="11627">
                  <c:v>14</c:v>
                </c:pt>
                <c:pt idx="11628">
                  <c:v>14</c:v>
                </c:pt>
                <c:pt idx="11629">
                  <c:v>871</c:v>
                </c:pt>
                <c:pt idx="11630">
                  <c:v>426</c:v>
                </c:pt>
                <c:pt idx="11631">
                  <c:v>481</c:v>
                </c:pt>
                <c:pt idx="11632">
                  <c:v>305</c:v>
                </c:pt>
                <c:pt idx="11633">
                  <c:v>1</c:v>
                </c:pt>
                <c:pt idx="11634">
                  <c:v>101</c:v>
                </c:pt>
                <c:pt idx="11635">
                  <c:v>48</c:v>
                </c:pt>
                <c:pt idx="11636">
                  <c:v>132</c:v>
                </c:pt>
                <c:pt idx="11637">
                  <c:v>84</c:v>
                </c:pt>
                <c:pt idx="11638">
                  <c:v>22</c:v>
                </c:pt>
                <c:pt idx="11639">
                  <c:v>30</c:v>
                </c:pt>
                <c:pt idx="11640">
                  <c:v>38</c:v>
                </c:pt>
                <c:pt idx="11641">
                  <c:v>11</c:v>
                </c:pt>
                <c:pt idx="11642">
                  <c:v>2</c:v>
                </c:pt>
                <c:pt idx="11643">
                  <c:v>4</c:v>
                </c:pt>
                <c:pt idx="11644">
                  <c:v>2</c:v>
                </c:pt>
                <c:pt idx="11645">
                  <c:v>0</c:v>
                </c:pt>
                <c:pt idx="11646">
                  <c:v>0</c:v>
                </c:pt>
                <c:pt idx="11647">
                  <c:v>0</c:v>
                </c:pt>
                <c:pt idx="11648">
                  <c:v>0</c:v>
                </c:pt>
                <c:pt idx="11649">
                  <c:v>101</c:v>
                </c:pt>
                <c:pt idx="11650">
                  <c:v>1</c:v>
                </c:pt>
                <c:pt idx="11651">
                  <c:v>274</c:v>
                </c:pt>
                <c:pt idx="11652">
                  <c:v>199</c:v>
                </c:pt>
                <c:pt idx="11653">
                  <c:v>167</c:v>
                </c:pt>
                <c:pt idx="11654">
                  <c:v>139</c:v>
                </c:pt>
                <c:pt idx="11655">
                  <c:v>162</c:v>
                </c:pt>
                <c:pt idx="11656">
                  <c:v>147</c:v>
                </c:pt>
                <c:pt idx="11657">
                  <c:v>94</c:v>
                </c:pt>
                <c:pt idx="11658">
                  <c:v>71</c:v>
                </c:pt>
                <c:pt idx="11659">
                  <c:v>74</c:v>
                </c:pt>
                <c:pt idx="11660">
                  <c:v>70</c:v>
                </c:pt>
                <c:pt idx="11661">
                  <c:v>61</c:v>
                </c:pt>
                <c:pt idx="11662">
                  <c:v>55</c:v>
                </c:pt>
                <c:pt idx="11663">
                  <c:v>59</c:v>
                </c:pt>
                <c:pt idx="11664">
                  <c:v>56</c:v>
                </c:pt>
                <c:pt idx="11665">
                  <c:v>57</c:v>
                </c:pt>
                <c:pt idx="11666">
                  <c:v>60</c:v>
                </c:pt>
                <c:pt idx="11667">
                  <c:v>53</c:v>
                </c:pt>
                <c:pt idx="11668">
                  <c:v>62</c:v>
                </c:pt>
                <c:pt idx="11669">
                  <c:v>51</c:v>
                </c:pt>
                <c:pt idx="11670">
                  <c:v>59</c:v>
                </c:pt>
                <c:pt idx="11671">
                  <c:v>47</c:v>
                </c:pt>
                <c:pt idx="11672">
                  <c:v>50</c:v>
                </c:pt>
                <c:pt idx="11673">
                  <c:v>8</c:v>
                </c:pt>
                <c:pt idx="11674">
                  <c:v>33</c:v>
                </c:pt>
                <c:pt idx="11675">
                  <c:v>42</c:v>
                </c:pt>
                <c:pt idx="11676">
                  <c:v>30</c:v>
                </c:pt>
                <c:pt idx="11677">
                  <c:v>39</c:v>
                </c:pt>
                <c:pt idx="11678">
                  <c:v>29</c:v>
                </c:pt>
                <c:pt idx="11679">
                  <c:v>21</c:v>
                </c:pt>
                <c:pt idx="11680">
                  <c:v>33</c:v>
                </c:pt>
                <c:pt idx="11681">
                  <c:v>45</c:v>
                </c:pt>
                <c:pt idx="11682">
                  <c:v>26</c:v>
                </c:pt>
                <c:pt idx="11683">
                  <c:v>29</c:v>
                </c:pt>
                <c:pt idx="11684">
                  <c:v>33</c:v>
                </c:pt>
                <c:pt idx="11685">
                  <c:v>27</c:v>
                </c:pt>
                <c:pt idx="11686">
                  <c:v>31</c:v>
                </c:pt>
                <c:pt idx="11687">
                  <c:v>21</c:v>
                </c:pt>
                <c:pt idx="11688">
                  <c:v>8</c:v>
                </c:pt>
                <c:pt idx="11689">
                  <c:v>21</c:v>
                </c:pt>
                <c:pt idx="11690">
                  <c:v>28</c:v>
                </c:pt>
                <c:pt idx="11691">
                  <c:v>30</c:v>
                </c:pt>
                <c:pt idx="11692">
                  <c:v>21</c:v>
                </c:pt>
                <c:pt idx="11693">
                  <c:v>32</c:v>
                </c:pt>
                <c:pt idx="11694">
                  <c:v>27</c:v>
                </c:pt>
                <c:pt idx="11695">
                  <c:v>25</c:v>
                </c:pt>
                <c:pt idx="11696">
                  <c:v>24</c:v>
                </c:pt>
                <c:pt idx="11697">
                  <c:v>22</c:v>
                </c:pt>
                <c:pt idx="11698">
                  <c:v>17</c:v>
                </c:pt>
                <c:pt idx="11699">
                  <c:v>22</c:v>
                </c:pt>
                <c:pt idx="11700">
                  <c:v>23</c:v>
                </c:pt>
                <c:pt idx="11701">
                  <c:v>23</c:v>
                </c:pt>
                <c:pt idx="11702">
                  <c:v>11</c:v>
                </c:pt>
                <c:pt idx="11703">
                  <c:v>7</c:v>
                </c:pt>
                <c:pt idx="11704">
                  <c:v>12</c:v>
                </c:pt>
                <c:pt idx="11705">
                  <c:v>17</c:v>
                </c:pt>
                <c:pt idx="11706">
                  <c:v>20</c:v>
                </c:pt>
                <c:pt idx="11707">
                  <c:v>18</c:v>
                </c:pt>
                <c:pt idx="11708">
                  <c:v>15</c:v>
                </c:pt>
                <c:pt idx="11709">
                  <c:v>18</c:v>
                </c:pt>
                <c:pt idx="11710">
                  <c:v>17</c:v>
                </c:pt>
                <c:pt idx="11711">
                  <c:v>14</c:v>
                </c:pt>
                <c:pt idx="11712">
                  <c:v>19</c:v>
                </c:pt>
                <c:pt idx="11713">
                  <c:v>9</c:v>
                </c:pt>
                <c:pt idx="11714">
                  <c:v>20</c:v>
                </c:pt>
                <c:pt idx="11715">
                  <c:v>12</c:v>
                </c:pt>
                <c:pt idx="11716">
                  <c:v>12</c:v>
                </c:pt>
                <c:pt idx="11717">
                  <c:v>15</c:v>
                </c:pt>
                <c:pt idx="11718">
                  <c:v>14</c:v>
                </c:pt>
                <c:pt idx="11719">
                  <c:v>15</c:v>
                </c:pt>
                <c:pt idx="11720">
                  <c:v>12</c:v>
                </c:pt>
                <c:pt idx="11721">
                  <c:v>13</c:v>
                </c:pt>
                <c:pt idx="11722">
                  <c:v>19</c:v>
                </c:pt>
                <c:pt idx="11723">
                  <c:v>10</c:v>
                </c:pt>
                <c:pt idx="11724">
                  <c:v>10</c:v>
                </c:pt>
                <c:pt idx="11725">
                  <c:v>13</c:v>
                </c:pt>
                <c:pt idx="11726">
                  <c:v>13</c:v>
                </c:pt>
                <c:pt idx="11727">
                  <c:v>17</c:v>
                </c:pt>
                <c:pt idx="11728">
                  <c:v>210</c:v>
                </c:pt>
                <c:pt idx="11729">
                  <c:v>41</c:v>
                </c:pt>
                <c:pt idx="11730">
                  <c:v>122</c:v>
                </c:pt>
                <c:pt idx="11731">
                  <c:v>269</c:v>
                </c:pt>
                <c:pt idx="11732">
                  <c:v>234</c:v>
                </c:pt>
                <c:pt idx="11733">
                  <c:v>219</c:v>
                </c:pt>
                <c:pt idx="11734">
                  <c:v>371</c:v>
                </c:pt>
                <c:pt idx="11735">
                  <c:v>187</c:v>
                </c:pt>
                <c:pt idx="11736">
                  <c:v>140</c:v>
                </c:pt>
                <c:pt idx="11737">
                  <c:v>136</c:v>
                </c:pt>
                <c:pt idx="11738">
                  <c:v>71</c:v>
                </c:pt>
                <c:pt idx="11739">
                  <c:v>66</c:v>
                </c:pt>
                <c:pt idx="11740">
                  <c:v>51</c:v>
                </c:pt>
                <c:pt idx="11741">
                  <c:v>436</c:v>
                </c:pt>
                <c:pt idx="11742">
                  <c:v>324</c:v>
                </c:pt>
                <c:pt idx="11743">
                  <c:v>255</c:v>
                </c:pt>
                <c:pt idx="11744">
                  <c:v>225</c:v>
                </c:pt>
                <c:pt idx="11745">
                  <c:v>202</c:v>
                </c:pt>
                <c:pt idx="11746">
                  <c:v>156</c:v>
                </c:pt>
                <c:pt idx="11747">
                  <c:v>176</c:v>
                </c:pt>
                <c:pt idx="11748">
                  <c:v>106</c:v>
                </c:pt>
                <c:pt idx="11749">
                  <c:v>129</c:v>
                </c:pt>
                <c:pt idx="11750">
                  <c:v>116</c:v>
                </c:pt>
                <c:pt idx="11751">
                  <c:v>97</c:v>
                </c:pt>
                <c:pt idx="11752">
                  <c:v>103</c:v>
                </c:pt>
                <c:pt idx="11753">
                  <c:v>91</c:v>
                </c:pt>
                <c:pt idx="11754">
                  <c:v>94</c:v>
                </c:pt>
                <c:pt idx="11755">
                  <c:v>83</c:v>
                </c:pt>
                <c:pt idx="11756">
                  <c:v>66</c:v>
                </c:pt>
                <c:pt idx="11757">
                  <c:v>74</c:v>
                </c:pt>
                <c:pt idx="11758">
                  <c:v>70</c:v>
                </c:pt>
                <c:pt idx="11759">
                  <c:v>61</c:v>
                </c:pt>
                <c:pt idx="11760">
                  <c:v>22</c:v>
                </c:pt>
                <c:pt idx="11761">
                  <c:v>21</c:v>
                </c:pt>
                <c:pt idx="11762">
                  <c:v>24</c:v>
                </c:pt>
                <c:pt idx="11763">
                  <c:v>554</c:v>
                </c:pt>
                <c:pt idx="11764">
                  <c:v>464</c:v>
                </c:pt>
                <c:pt idx="11765">
                  <c:v>336</c:v>
                </c:pt>
                <c:pt idx="11766">
                  <c:v>267</c:v>
                </c:pt>
                <c:pt idx="11767">
                  <c:v>229</c:v>
                </c:pt>
                <c:pt idx="11768">
                  <c:v>191</c:v>
                </c:pt>
                <c:pt idx="11769">
                  <c:v>217</c:v>
                </c:pt>
                <c:pt idx="11770">
                  <c:v>143</c:v>
                </c:pt>
                <c:pt idx="11771">
                  <c:v>178</c:v>
                </c:pt>
                <c:pt idx="11772">
                  <c:v>162</c:v>
                </c:pt>
                <c:pt idx="11773">
                  <c:v>148</c:v>
                </c:pt>
                <c:pt idx="11774">
                  <c:v>146</c:v>
                </c:pt>
                <c:pt idx="11775">
                  <c:v>114</c:v>
                </c:pt>
                <c:pt idx="11776">
                  <c:v>111</c:v>
                </c:pt>
                <c:pt idx="11777">
                  <c:v>118</c:v>
                </c:pt>
                <c:pt idx="11778">
                  <c:v>121</c:v>
                </c:pt>
                <c:pt idx="11779">
                  <c:v>91</c:v>
                </c:pt>
                <c:pt idx="11780">
                  <c:v>128</c:v>
                </c:pt>
                <c:pt idx="11781">
                  <c:v>87</c:v>
                </c:pt>
                <c:pt idx="11782">
                  <c:v>84</c:v>
                </c:pt>
                <c:pt idx="11783">
                  <c:v>59</c:v>
                </c:pt>
                <c:pt idx="11784">
                  <c:v>97</c:v>
                </c:pt>
                <c:pt idx="11785">
                  <c:v>84</c:v>
                </c:pt>
                <c:pt idx="11786">
                  <c:v>71</c:v>
                </c:pt>
                <c:pt idx="11787">
                  <c:v>54</c:v>
                </c:pt>
                <c:pt idx="11788">
                  <c:v>28</c:v>
                </c:pt>
                <c:pt idx="11789">
                  <c:v>44</c:v>
                </c:pt>
                <c:pt idx="11790">
                  <c:v>30</c:v>
                </c:pt>
                <c:pt idx="11791">
                  <c:v>39</c:v>
                </c:pt>
                <c:pt idx="11792">
                  <c:v>37</c:v>
                </c:pt>
                <c:pt idx="11793">
                  <c:v>29</c:v>
                </c:pt>
                <c:pt idx="11794">
                  <c:v>20</c:v>
                </c:pt>
                <c:pt idx="11795">
                  <c:v>11</c:v>
                </c:pt>
                <c:pt idx="11796">
                  <c:v>883</c:v>
                </c:pt>
                <c:pt idx="11797">
                  <c:v>764</c:v>
                </c:pt>
                <c:pt idx="11798">
                  <c:v>541</c:v>
                </c:pt>
                <c:pt idx="11799">
                  <c:v>337</c:v>
                </c:pt>
                <c:pt idx="11800">
                  <c:v>319</c:v>
                </c:pt>
                <c:pt idx="11801">
                  <c:v>321</c:v>
                </c:pt>
                <c:pt idx="11802">
                  <c:v>205</c:v>
                </c:pt>
                <c:pt idx="11803">
                  <c:v>191</c:v>
                </c:pt>
                <c:pt idx="11804">
                  <c:v>184</c:v>
                </c:pt>
                <c:pt idx="11805">
                  <c:v>208</c:v>
                </c:pt>
                <c:pt idx="11806">
                  <c:v>179</c:v>
                </c:pt>
                <c:pt idx="11807">
                  <c:v>133</c:v>
                </c:pt>
                <c:pt idx="11808">
                  <c:v>151</c:v>
                </c:pt>
                <c:pt idx="11809">
                  <c:v>123</c:v>
                </c:pt>
                <c:pt idx="11810">
                  <c:v>133</c:v>
                </c:pt>
                <c:pt idx="11811">
                  <c:v>108</c:v>
                </c:pt>
                <c:pt idx="11812">
                  <c:v>131</c:v>
                </c:pt>
                <c:pt idx="11813">
                  <c:v>112</c:v>
                </c:pt>
                <c:pt idx="11814">
                  <c:v>75</c:v>
                </c:pt>
                <c:pt idx="11815">
                  <c:v>85</c:v>
                </c:pt>
                <c:pt idx="11816">
                  <c:v>62</c:v>
                </c:pt>
                <c:pt idx="11817">
                  <c:v>32</c:v>
                </c:pt>
                <c:pt idx="11818">
                  <c:v>27</c:v>
                </c:pt>
                <c:pt idx="11819">
                  <c:v>28</c:v>
                </c:pt>
                <c:pt idx="11820">
                  <c:v>27</c:v>
                </c:pt>
                <c:pt idx="11821">
                  <c:v>348</c:v>
                </c:pt>
                <c:pt idx="11822">
                  <c:v>334</c:v>
                </c:pt>
                <c:pt idx="11823">
                  <c:v>750</c:v>
                </c:pt>
                <c:pt idx="11824">
                  <c:v>795</c:v>
                </c:pt>
                <c:pt idx="11825">
                  <c:v>713</c:v>
                </c:pt>
                <c:pt idx="11826">
                  <c:v>882</c:v>
                </c:pt>
                <c:pt idx="11827">
                  <c:v>633</c:v>
                </c:pt>
                <c:pt idx="11828">
                  <c:v>666</c:v>
                </c:pt>
                <c:pt idx="11829">
                  <c:v>491</c:v>
                </c:pt>
                <c:pt idx="11830">
                  <c:v>443</c:v>
                </c:pt>
                <c:pt idx="11831">
                  <c:v>403</c:v>
                </c:pt>
                <c:pt idx="11832">
                  <c:v>348</c:v>
                </c:pt>
                <c:pt idx="11833">
                  <c:v>437</c:v>
                </c:pt>
                <c:pt idx="11834">
                  <c:v>678</c:v>
                </c:pt>
                <c:pt idx="11835">
                  <c:v>600</c:v>
                </c:pt>
                <c:pt idx="11836">
                  <c:v>712</c:v>
                </c:pt>
                <c:pt idx="11837">
                  <c:v>544</c:v>
                </c:pt>
                <c:pt idx="11838">
                  <c:v>862</c:v>
                </c:pt>
                <c:pt idx="11839">
                  <c:v>480</c:v>
                </c:pt>
                <c:pt idx="11840">
                  <c:v>745</c:v>
                </c:pt>
                <c:pt idx="11841">
                  <c:v>451</c:v>
                </c:pt>
                <c:pt idx="11842">
                  <c:v>586</c:v>
                </c:pt>
                <c:pt idx="11843">
                  <c:v>377</c:v>
                </c:pt>
                <c:pt idx="11844">
                  <c:v>707</c:v>
                </c:pt>
                <c:pt idx="11845">
                  <c:v>400</c:v>
                </c:pt>
                <c:pt idx="11846">
                  <c:v>443</c:v>
                </c:pt>
                <c:pt idx="11847">
                  <c:v>290</c:v>
                </c:pt>
                <c:pt idx="11848">
                  <c:v>906</c:v>
                </c:pt>
                <c:pt idx="11849">
                  <c:v>333</c:v>
                </c:pt>
                <c:pt idx="11850">
                  <c:v>517</c:v>
                </c:pt>
                <c:pt idx="11851">
                  <c:v>496</c:v>
                </c:pt>
                <c:pt idx="11852">
                  <c:v>524</c:v>
                </c:pt>
                <c:pt idx="11853">
                  <c:v>389</c:v>
                </c:pt>
                <c:pt idx="11854">
                  <c:v>292</c:v>
                </c:pt>
                <c:pt idx="11855">
                  <c:v>476</c:v>
                </c:pt>
                <c:pt idx="11856">
                  <c:v>502</c:v>
                </c:pt>
                <c:pt idx="11857">
                  <c:v>267</c:v>
                </c:pt>
                <c:pt idx="11858">
                  <c:v>436</c:v>
                </c:pt>
                <c:pt idx="11859">
                  <c:v>503</c:v>
                </c:pt>
                <c:pt idx="11860">
                  <c:v>431</c:v>
                </c:pt>
                <c:pt idx="11861">
                  <c:v>266</c:v>
                </c:pt>
                <c:pt idx="11862">
                  <c:v>366</c:v>
                </c:pt>
                <c:pt idx="11863">
                  <c:v>373</c:v>
                </c:pt>
                <c:pt idx="11864">
                  <c:v>368</c:v>
                </c:pt>
                <c:pt idx="11865">
                  <c:v>479</c:v>
                </c:pt>
                <c:pt idx="11866">
                  <c:v>974</c:v>
                </c:pt>
                <c:pt idx="11867">
                  <c:v>278</c:v>
                </c:pt>
                <c:pt idx="11868">
                  <c:v>392</c:v>
                </c:pt>
                <c:pt idx="11869">
                  <c:v>523</c:v>
                </c:pt>
                <c:pt idx="11870">
                  <c:v>417</c:v>
                </c:pt>
                <c:pt idx="11871">
                  <c:v>393</c:v>
                </c:pt>
                <c:pt idx="11872">
                  <c:v>371</c:v>
                </c:pt>
                <c:pt idx="11873">
                  <c:v>355</c:v>
                </c:pt>
                <c:pt idx="11874">
                  <c:v>205</c:v>
                </c:pt>
                <c:pt idx="11875">
                  <c:v>399</c:v>
                </c:pt>
                <c:pt idx="11876">
                  <c:v>220</c:v>
                </c:pt>
                <c:pt idx="11877">
                  <c:v>449</c:v>
                </c:pt>
                <c:pt idx="11878">
                  <c:v>398</c:v>
                </c:pt>
                <c:pt idx="11879">
                  <c:v>252</c:v>
                </c:pt>
                <c:pt idx="11880">
                  <c:v>237</c:v>
                </c:pt>
                <c:pt idx="11881">
                  <c:v>292</c:v>
                </c:pt>
                <c:pt idx="11882">
                  <c:v>166</c:v>
                </c:pt>
                <c:pt idx="11883">
                  <c:v>360</c:v>
                </c:pt>
                <c:pt idx="11884">
                  <c:v>508</c:v>
                </c:pt>
                <c:pt idx="11885">
                  <c:v>209</c:v>
                </c:pt>
                <c:pt idx="11886">
                  <c:v>496</c:v>
                </c:pt>
                <c:pt idx="11887">
                  <c:v>342</c:v>
                </c:pt>
                <c:pt idx="11888">
                  <c:v>482</c:v>
                </c:pt>
                <c:pt idx="11889">
                  <c:v>237</c:v>
                </c:pt>
                <c:pt idx="11890">
                  <c:v>182</c:v>
                </c:pt>
                <c:pt idx="11891">
                  <c:v>323</c:v>
                </c:pt>
                <c:pt idx="11892">
                  <c:v>220</c:v>
                </c:pt>
                <c:pt idx="11893">
                  <c:v>349</c:v>
                </c:pt>
                <c:pt idx="11894">
                  <c:v>288</c:v>
                </c:pt>
                <c:pt idx="11895">
                  <c:v>156</c:v>
                </c:pt>
                <c:pt idx="11896">
                  <c:v>241</c:v>
                </c:pt>
                <c:pt idx="11897">
                  <c:v>247</c:v>
                </c:pt>
                <c:pt idx="11898">
                  <c:v>128</c:v>
                </c:pt>
                <c:pt idx="11899">
                  <c:v>193</c:v>
                </c:pt>
                <c:pt idx="11900">
                  <c:v>331</c:v>
                </c:pt>
                <c:pt idx="11901">
                  <c:v>315</c:v>
                </c:pt>
                <c:pt idx="11902">
                  <c:v>259</c:v>
                </c:pt>
                <c:pt idx="11903">
                  <c:v>316</c:v>
                </c:pt>
                <c:pt idx="11904">
                  <c:v>207</c:v>
                </c:pt>
                <c:pt idx="11905">
                  <c:v>221</c:v>
                </c:pt>
                <c:pt idx="11906">
                  <c:v>287</c:v>
                </c:pt>
                <c:pt idx="11907">
                  <c:v>200</c:v>
                </c:pt>
                <c:pt idx="11908">
                  <c:v>252</c:v>
                </c:pt>
                <c:pt idx="11909">
                  <c:v>141</c:v>
                </c:pt>
                <c:pt idx="11910">
                  <c:v>209</c:v>
                </c:pt>
                <c:pt idx="11911">
                  <c:v>289</c:v>
                </c:pt>
                <c:pt idx="11912">
                  <c:v>155</c:v>
                </c:pt>
                <c:pt idx="11913">
                  <c:v>313</c:v>
                </c:pt>
                <c:pt idx="11914">
                  <c:v>166</c:v>
                </c:pt>
                <c:pt idx="11915">
                  <c:v>280</c:v>
                </c:pt>
                <c:pt idx="11916">
                  <c:v>317</c:v>
                </c:pt>
                <c:pt idx="11917">
                  <c:v>198</c:v>
                </c:pt>
                <c:pt idx="11918">
                  <c:v>141</c:v>
                </c:pt>
                <c:pt idx="11919">
                  <c:v>259</c:v>
                </c:pt>
                <c:pt idx="11920">
                  <c:v>255</c:v>
                </c:pt>
                <c:pt idx="11921">
                  <c:v>173</c:v>
                </c:pt>
                <c:pt idx="11922">
                  <c:v>193</c:v>
                </c:pt>
                <c:pt idx="11923">
                  <c:v>182</c:v>
                </c:pt>
                <c:pt idx="11924">
                  <c:v>93</c:v>
                </c:pt>
                <c:pt idx="11925">
                  <c:v>224</c:v>
                </c:pt>
                <c:pt idx="11926">
                  <c:v>214</c:v>
                </c:pt>
                <c:pt idx="11927">
                  <c:v>274</c:v>
                </c:pt>
                <c:pt idx="11928">
                  <c:v>205</c:v>
                </c:pt>
                <c:pt idx="11929">
                  <c:v>124</c:v>
                </c:pt>
                <c:pt idx="11930">
                  <c:v>180</c:v>
                </c:pt>
                <c:pt idx="11931">
                  <c:v>205</c:v>
                </c:pt>
                <c:pt idx="11932">
                  <c:v>282</c:v>
                </c:pt>
                <c:pt idx="11933">
                  <c:v>368</c:v>
                </c:pt>
                <c:pt idx="11934">
                  <c:v>38</c:v>
                </c:pt>
                <c:pt idx="11935">
                  <c:v>82</c:v>
                </c:pt>
                <c:pt idx="11936">
                  <c:v>19</c:v>
                </c:pt>
                <c:pt idx="11937">
                  <c:v>2</c:v>
                </c:pt>
                <c:pt idx="11938">
                  <c:v>149</c:v>
                </c:pt>
                <c:pt idx="11939">
                  <c:v>131</c:v>
                </c:pt>
                <c:pt idx="11940">
                  <c:v>50</c:v>
                </c:pt>
                <c:pt idx="11941">
                  <c:v>91</c:v>
                </c:pt>
                <c:pt idx="11942">
                  <c:v>160</c:v>
                </c:pt>
                <c:pt idx="11943">
                  <c:v>53</c:v>
                </c:pt>
                <c:pt idx="11944">
                  <c:v>34</c:v>
                </c:pt>
                <c:pt idx="11945">
                  <c:v>60</c:v>
                </c:pt>
                <c:pt idx="11946">
                  <c:v>22</c:v>
                </c:pt>
                <c:pt idx="11947">
                  <c:v>58</c:v>
                </c:pt>
                <c:pt idx="11948">
                  <c:v>145</c:v>
                </c:pt>
                <c:pt idx="11949">
                  <c:v>29</c:v>
                </c:pt>
                <c:pt idx="11950">
                  <c:v>135</c:v>
                </c:pt>
                <c:pt idx="11951">
                  <c:v>68</c:v>
                </c:pt>
                <c:pt idx="11952">
                  <c:v>62</c:v>
                </c:pt>
                <c:pt idx="11953">
                  <c:v>48</c:v>
                </c:pt>
                <c:pt idx="11954">
                  <c:v>31</c:v>
                </c:pt>
                <c:pt idx="11955">
                  <c:v>28</c:v>
                </c:pt>
                <c:pt idx="11956">
                  <c:v>32</c:v>
                </c:pt>
                <c:pt idx="11957">
                  <c:v>22</c:v>
                </c:pt>
                <c:pt idx="11958">
                  <c:v>19</c:v>
                </c:pt>
                <c:pt idx="11959">
                  <c:v>11</c:v>
                </c:pt>
                <c:pt idx="11960">
                  <c:v>6</c:v>
                </c:pt>
                <c:pt idx="11961">
                  <c:v>4</c:v>
                </c:pt>
                <c:pt idx="11962">
                  <c:v>187</c:v>
                </c:pt>
                <c:pt idx="11963">
                  <c:v>247</c:v>
                </c:pt>
                <c:pt idx="11964">
                  <c:v>128</c:v>
                </c:pt>
                <c:pt idx="11965">
                  <c:v>137</c:v>
                </c:pt>
                <c:pt idx="11966">
                  <c:v>40</c:v>
                </c:pt>
                <c:pt idx="11967">
                  <c:v>53</c:v>
                </c:pt>
                <c:pt idx="11968">
                  <c:v>46</c:v>
                </c:pt>
                <c:pt idx="11969">
                  <c:v>30</c:v>
                </c:pt>
                <c:pt idx="11970">
                  <c:v>19</c:v>
                </c:pt>
                <c:pt idx="11971">
                  <c:v>18</c:v>
                </c:pt>
                <c:pt idx="11972">
                  <c:v>13</c:v>
                </c:pt>
                <c:pt idx="11973">
                  <c:v>13</c:v>
                </c:pt>
                <c:pt idx="11974">
                  <c:v>12</c:v>
                </c:pt>
                <c:pt idx="11975">
                  <c:v>4</c:v>
                </c:pt>
                <c:pt idx="11976">
                  <c:v>1</c:v>
                </c:pt>
                <c:pt idx="11977">
                  <c:v>0</c:v>
                </c:pt>
                <c:pt idx="11978">
                  <c:v>66</c:v>
                </c:pt>
                <c:pt idx="11979">
                  <c:v>44</c:v>
                </c:pt>
                <c:pt idx="11980">
                  <c:v>17</c:v>
                </c:pt>
                <c:pt idx="11981">
                  <c:v>1</c:v>
                </c:pt>
                <c:pt idx="11982">
                  <c:v>117</c:v>
                </c:pt>
                <c:pt idx="11983">
                  <c:v>99</c:v>
                </c:pt>
                <c:pt idx="11984">
                  <c:v>75</c:v>
                </c:pt>
                <c:pt idx="11985">
                  <c:v>16</c:v>
                </c:pt>
                <c:pt idx="11986">
                  <c:v>7</c:v>
                </c:pt>
                <c:pt idx="11987">
                  <c:v>34</c:v>
                </c:pt>
                <c:pt idx="11988">
                  <c:v>42</c:v>
                </c:pt>
                <c:pt idx="11989">
                  <c:v>20</c:v>
                </c:pt>
                <c:pt idx="11990">
                  <c:v>40</c:v>
                </c:pt>
                <c:pt idx="11991">
                  <c:v>16</c:v>
                </c:pt>
                <c:pt idx="11992">
                  <c:v>23</c:v>
                </c:pt>
                <c:pt idx="11993">
                  <c:v>20</c:v>
                </c:pt>
                <c:pt idx="11994">
                  <c:v>11</c:v>
                </c:pt>
                <c:pt idx="11995">
                  <c:v>12</c:v>
                </c:pt>
                <c:pt idx="11996">
                  <c:v>4</c:v>
                </c:pt>
                <c:pt idx="11997">
                  <c:v>8</c:v>
                </c:pt>
                <c:pt idx="11998">
                  <c:v>4</c:v>
                </c:pt>
                <c:pt idx="11999">
                  <c:v>7</c:v>
                </c:pt>
                <c:pt idx="12000">
                  <c:v>2</c:v>
                </c:pt>
                <c:pt idx="12001">
                  <c:v>5</c:v>
                </c:pt>
                <c:pt idx="12002">
                  <c:v>2</c:v>
                </c:pt>
                <c:pt idx="12003">
                  <c:v>2</c:v>
                </c:pt>
                <c:pt idx="12004">
                  <c:v>1</c:v>
                </c:pt>
                <c:pt idx="12005">
                  <c:v>1</c:v>
                </c:pt>
                <c:pt idx="12006">
                  <c:v>0</c:v>
                </c:pt>
                <c:pt idx="12007">
                  <c:v>0</c:v>
                </c:pt>
                <c:pt idx="12008">
                  <c:v>0</c:v>
                </c:pt>
                <c:pt idx="12009">
                  <c:v>0</c:v>
                </c:pt>
                <c:pt idx="12010">
                  <c:v>23</c:v>
                </c:pt>
                <c:pt idx="12011">
                  <c:v>185</c:v>
                </c:pt>
                <c:pt idx="12012">
                  <c:v>27</c:v>
                </c:pt>
                <c:pt idx="12013">
                  <c:v>7</c:v>
                </c:pt>
                <c:pt idx="12014">
                  <c:v>10</c:v>
                </c:pt>
                <c:pt idx="12015">
                  <c:v>1</c:v>
                </c:pt>
                <c:pt idx="12016">
                  <c:v>0</c:v>
                </c:pt>
                <c:pt idx="12017">
                  <c:v>7</c:v>
                </c:pt>
                <c:pt idx="12018">
                  <c:v>2</c:v>
                </c:pt>
                <c:pt idx="12019">
                  <c:v>2</c:v>
                </c:pt>
                <c:pt idx="12020">
                  <c:v>1</c:v>
                </c:pt>
                <c:pt idx="12021">
                  <c:v>1</c:v>
                </c:pt>
                <c:pt idx="12022">
                  <c:v>1</c:v>
                </c:pt>
                <c:pt idx="12023">
                  <c:v>1</c:v>
                </c:pt>
                <c:pt idx="12024">
                  <c:v>0</c:v>
                </c:pt>
                <c:pt idx="12025">
                  <c:v>0</c:v>
                </c:pt>
                <c:pt idx="12026">
                  <c:v>0</c:v>
                </c:pt>
                <c:pt idx="12027">
                  <c:v>0</c:v>
                </c:pt>
                <c:pt idx="12028">
                  <c:v>0</c:v>
                </c:pt>
                <c:pt idx="12029">
                  <c:v>0</c:v>
                </c:pt>
                <c:pt idx="12030">
                  <c:v>0</c:v>
                </c:pt>
                <c:pt idx="12031">
                  <c:v>0</c:v>
                </c:pt>
                <c:pt idx="12032">
                  <c:v>0</c:v>
                </c:pt>
                <c:pt idx="12033">
                  <c:v>0</c:v>
                </c:pt>
                <c:pt idx="12034">
                  <c:v>0</c:v>
                </c:pt>
                <c:pt idx="12035">
                  <c:v>0</c:v>
                </c:pt>
                <c:pt idx="12036">
                  <c:v>0</c:v>
                </c:pt>
                <c:pt idx="12037">
                  <c:v>0</c:v>
                </c:pt>
                <c:pt idx="12038">
                  <c:v>0</c:v>
                </c:pt>
                <c:pt idx="12039">
                  <c:v>130</c:v>
                </c:pt>
                <c:pt idx="12040">
                  <c:v>165</c:v>
                </c:pt>
                <c:pt idx="12041">
                  <c:v>96</c:v>
                </c:pt>
                <c:pt idx="12042">
                  <c:v>57</c:v>
                </c:pt>
                <c:pt idx="12043">
                  <c:v>43</c:v>
                </c:pt>
                <c:pt idx="12044">
                  <c:v>41</c:v>
                </c:pt>
                <c:pt idx="12045">
                  <c:v>41</c:v>
                </c:pt>
                <c:pt idx="12046">
                  <c:v>36</c:v>
                </c:pt>
                <c:pt idx="12047">
                  <c:v>45</c:v>
                </c:pt>
                <c:pt idx="12048">
                  <c:v>44</c:v>
                </c:pt>
                <c:pt idx="12049">
                  <c:v>44</c:v>
                </c:pt>
                <c:pt idx="12050">
                  <c:v>9</c:v>
                </c:pt>
                <c:pt idx="12051">
                  <c:v>38</c:v>
                </c:pt>
                <c:pt idx="12052">
                  <c:v>28</c:v>
                </c:pt>
                <c:pt idx="12053">
                  <c:v>23</c:v>
                </c:pt>
                <c:pt idx="12054">
                  <c:v>8</c:v>
                </c:pt>
                <c:pt idx="12055">
                  <c:v>18</c:v>
                </c:pt>
                <c:pt idx="12056">
                  <c:v>22</c:v>
                </c:pt>
                <c:pt idx="12057">
                  <c:v>15</c:v>
                </c:pt>
                <c:pt idx="12058">
                  <c:v>22</c:v>
                </c:pt>
                <c:pt idx="12059">
                  <c:v>7</c:v>
                </c:pt>
                <c:pt idx="12060">
                  <c:v>9</c:v>
                </c:pt>
                <c:pt idx="12061">
                  <c:v>12</c:v>
                </c:pt>
                <c:pt idx="12062">
                  <c:v>5</c:v>
                </c:pt>
                <c:pt idx="12063">
                  <c:v>10</c:v>
                </c:pt>
                <c:pt idx="12064">
                  <c:v>3</c:v>
                </c:pt>
                <c:pt idx="12065">
                  <c:v>13</c:v>
                </c:pt>
                <c:pt idx="12066">
                  <c:v>3</c:v>
                </c:pt>
                <c:pt idx="12067">
                  <c:v>8</c:v>
                </c:pt>
                <c:pt idx="12068">
                  <c:v>2</c:v>
                </c:pt>
                <c:pt idx="12069">
                  <c:v>7</c:v>
                </c:pt>
                <c:pt idx="12070">
                  <c:v>9</c:v>
                </c:pt>
                <c:pt idx="12071">
                  <c:v>4</c:v>
                </c:pt>
                <c:pt idx="12072">
                  <c:v>4</c:v>
                </c:pt>
                <c:pt idx="12073">
                  <c:v>9</c:v>
                </c:pt>
                <c:pt idx="12074">
                  <c:v>14</c:v>
                </c:pt>
                <c:pt idx="12075">
                  <c:v>3</c:v>
                </c:pt>
                <c:pt idx="12076">
                  <c:v>8</c:v>
                </c:pt>
                <c:pt idx="12077">
                  <c:v>1</c:v>
                </c:pt>
                <c:pt idx="12078">
                  <c:v>3</c:v>
                </c:pt>
                <c:pt idx="12079">
                  <c:v>7</c:v>
                </c:pt>
                <c:pt idx="12080">
                  <c:v>7</c:v>
                </c:pt>
                <c:pt idx="12081">
                  <c:v>3</c:v>
                </c:pt>
                <c:pt idx="12082">
                  <c:v>7</c:v>
                </c:pt>
                <c:pt idx="12083">
                  <c:v>6</c:v>
                </c:pt>
                <c:pt idx="12084">
                  <c:v>2</c:v>
                </c:pt>
                <c:pt idx="12085">
                  <c:v>3</c:v>
                </c:pt>
                <c:pt idx="12086">
                  <c:v>0</c:v>
                </c:pt>
                <c:pt idx="12087">
                  <c:v>0</c:v>
                </c:pt>
                <c:pt idx="12088">
                  <c:v>7</c:v>
                </c:pt>
                <c:pt idx="12089">
                  <c:v>5</c:v>
                </c:pt>
                <c:pt idx="12090">
                  <c:v>7</c:v>
                </c:pt>
                <c:pt idx="12091">
                  <c:v>3</c:v>
                </c:pt>
                <c:pt idx="12092">
                  <c:v>3</c:v>
                </c:pt>
                <c:pt idx="12093">
                  <c:v>7</c:v>
                </c:pt>
                <c:pt idx="12094">
                  <c:v>5</c:v>
                </c:pt>
                <c:pt idx="12095">
                  <c:v>1</c:v>
                </c:pt>
                <c:pt idx="12096">
                  <c:v>4</c:v>
                </c:pt>
                <c:pt idx="12097">
                  <c:v>1</c:v>
                </c:pt>
                <c:pt idx="12098">
                  <c:v>1</c:v>
                </c:pt>
                <c:pt idx="12099">
                  <c:v>4</c:v>
                </c:pt>
                <c:pt idx="12100">
                  <c:v>6</c:v>
                </c:pt>
                <c:pt idx="12101">
                  <c:v>1</c:v>
                </c:pt>
                <c:pt idx="12102">
                  <c:v>3</c:v>
                </c:pt>
                <c:pt idx="12103">
                  <c:v>5</c:v>
                </c:pt>
                <c:pt idx="12104">
                  <c:v>0</c:v>
                </c:pt>
                <c:pt idx="12105">
                  <c:v>5</c:v>
                </c:pt>
                <c:pt idx="12106">
                  <c:v>5</c:v>
                </c:pt>
                <c:pt idx="12107">
                  <c:v>1</c:v>
                </c:pt>
                <c:pt idx="12108">
                  <c:v>3</c:v>
                </c:pt>
                <c:pt idx="12109">
                  <c:v>2</c:v>
                </c:pt>
                <c:pt idx="12110">
                  <c:v>4</c:v>
                </c:pt>
                <c:pt idx="12111">
                  <c:v>1</c:v>
                </c:pt>
                <c:pt idx="12112">
                  <c:v>3</c:v>
                </c:pt>
                <c:pt idx="12113">
                  <c:v>3</c:v>
                </c:pt>
                <c:pt idx="12114">
                  <c:v>1</c:v>
                </c:pt>
                <c:pt idx="12115">
                  <c:v>3</c:v>
                </c:pt>
                <c:pt idx="12116">
                  <c:v>3</c:v>
                </c:pt>
                <c:pt idx="12117">
                  <c:v>135</c:v>
                </c:pt>
                <c:pt idx="12118">
                  <c:v>203</c:v>
                </c:pt>
                <c:pt idx="12119">
                  <c:v>220</c:v>
                </c:pt>
                <c:pt idx="12120">
                  <c:v>145</c:v>
                </c:pt>
                <c:pt idx="12121">
                  <c:v>106</c:v>
                </c:pt>
                <c:pt idx="12122">
                  <c:v>239</c:v>
                </c:pt>
                <c:pt idx="12123">
                  <c:v>129</c:v>
                </c:pt>
                <c:pt idx="12124">
                  <c:v>159</c:v>
                </c:pt>
                <c:pt idx="12125">
                  <c:v>150</c:v>
                </c:pt>
                <c:pt idx="12126">
                  <c:v>133</c:v>
                </c:pt>
                <c:pt idx="12127">
                  <c:v>141</c:v>
                </c:pt>
                <c:pt idx="12128">
                  <c:v>120</c:v>
                </c:pt>
                <c:pt idx="12129">
                  <c:v>138</c:v>
                </c:pt>
                <c:pt idx="12130">
                  <c:v>131</c:v>
                </c:pt>
                <c:pt idx="12131">
                  <c:v>107</c:v>
                </c:pt>
                <c:pt idx="12132">
                  <c:v>105</c:v>
                </c:pt>
                <c:pt idx="12133">
                  <c:v>157</c:v>
                </c:pt>
                <c:pt idx="12134">
                  <c:v>86</c:v>
                </c:pt>
                <c:pt idx="12135">
                  <c:v>45</c:v>
                </c:pt>
                <c:pt idx="12136">
                  <c:v>148</c:v>
                </c:pt>
                <c:pt idx="12137">
                  <c:v>234</c:v>
                </c:pt>
                <c:pt idx="12138">
                  <c:v>119</c:v>
                </c:pt>
                <c:pt idx="12139">
                  <c:v>76</c:v>
                </c:pt>
                <c:pt idx="12140">
                  <c:v>114</c:v>
                </c:pt>
                <c:pt idx="12141">
                  <c:v>135</c:v>
                </c:pt>
                <c:pt idx="12142">
                  <c:v>119</c:v>
                </c:pt>
                <c:pt idx="12143">
                  <c:v>49</c:v>
                </c:pt>
                <c:pt idx="12144">
                  <c:v>30</c:v>
                </c:pt>
                <c:pt idx="12145">
                  <c:v>40</c:v>
                </c:pt>
                <c:pt idx="12146">
                  <c:v>41</c:v>
                </c:pt>
                <c:pt idx="12147">
                  <c:v>20</c:v>
                </c:pt>
                <c:pt idx="12148">
                  <c:v>118</c:v>
                </c:pt>
                <c:pt idx="12149">
                  <c:v>35</c:v>
                </c:pt>
                <c:pt idx="12150">
                  <c:v>22</c:v>
                </c:pt>
                <c:pt idx="12151">
                  <c:v>14</c:v>
                </c:pt>
                <c:pt idx="12152">
                  <c:v>21</c:v>
                </c:pt>
                <c:pt idx="12153">
                  <c:v>13</c:v>
                </c:pt>
                <c:pt idx="12154">
                  <c:v>122</c:v>
                </c:pt>
                <c:pt idx="12155">
                  <c:v>105</c:v>
                </c:pt>
                <c:pt idx="12156">
                  <c:v>66</c:v>
                </c:pt>
                <c:pt idx="12157">
                  <c:v>42</c:v>
                </c:pt>
                <c:pt idx="12158">
                  <c:v>38</c:v>
                </c:pt>
                <c:pt idx="12159">
                  <c:v>18</c:v>
                </c:pt>
                <c:pt idx="12160">
                  <c:v>25</c:v>
                </c:pt>
                <c:pt idx="12161">
                  <c:v>17</c:v>
                </c:pt>
                <c:pt idx="12162">
                  <c:v>20</c:v>
                </c:pt>
                <c:pt idx="12163">
                  <c:v>16</c:v>
                </c:pt>
                <c:pt idx="12164">
                  <c:v>18</c:v>
                </c:pt>
                <c:pt idx="12165">
                  <c:v>12</c:v>
                </c:pt>
                <c:pt idx="12166">
                  <c:v>10</c:v>
                </c:pt>
                <c:pt idx="12167">
                  <c:v>132</c:v>
                </c:pt>
                <c:pt idx="12168">
                  <c:v>47</c:v>
                </c:pt>
                <c:pt idx="12169">
                  <c:v>49</c:v>
                </c:pt>
                <c:pt idx="12170">
                  <c:v>15</c:v>
                </c:pt>
                <c:pt idx="12171">
                  <c:v>22</c:v>
                </c:pt>
                <c:pt idx="12172">
                  <c:v>15</c:v>
                </c:pt>
                <c:pt idx="12173">
                  <c:v>8</c:v>
                </c:pt>
                <c:pt idx="12174">
                  <c:v>17</c:v>
                </c:pt>
                <c:pt idx="12175">
                  <c:v>20</c:v>
                </c:pt>
                <c:pt idx="12176">
                  <c:v>13</c:v>
                </c:pt>
                <c:pt idx="12177">
                  <c:v>6</c:v>
                </c:pt>
                <c:pt idx="12178">
                  <c:v>8</c:v>
                </c:pt>
                <c:pt idx="12179">
                  <c:v>15</c:v>
                </c:pt>
                <c:pt idx="12180">
                  <c:v>10</c:v>
                </c:pt>
                <c:pt idx="12181">
                  <c:v>11</c:v>
                </c:pt>
                <c:pt idx="12182">
                  <c:v>6</c:v>
                </c:pt>
                <c:pt idx="12183">
                  <c:v>8</c:v>
                </c:pt>
                <c:pt idx="12184">
                  <c:v>4</c:v>
                </c:pt>
                <c:pt idx="12185">
                  <c:v>192</c:v>
                </c:pt>
                <c:pt idx="12186">
                  <c:v>124</c:v>
                </c:pt>
                <c:pt idx="12187">
                  <c:v>90</c:v>
                </c:pt>
                <c:pt idx="12188">
                  <c:v>47</c:v>
                </c:pt>
                <c:pt idx="12189">
                  <c:v>61</c:v>
                </c:pt>
                <c:pt idx="12190">
                  <c:v>40</c:v>
                </c:pt>
                <c:pt idx="12191">
                  <c:v>35</c:v>
                </c:pt>
                <c:pt idx="12192">
                  <c:v>44</c:v>
                </c:pt>
                <c:pt idx="12193">
                  <c:v>24</c:v>
                </c:pt>
                <c:pt idx="12194">
                  <c:v>40</c:v>
                </c:pt>
                <c:pt idx="12195">
                  <c:v>29</c:v>
                </c:pt>
                <c:pt idx="12196">
                  <c:v>6</c:v>
                </c:pt>
                <c:pt idx="12197">
                  <c:v>18</c:v>
                </c:pt>
                <c:pt idx="12198">
                  <c:v>12</c:v>
                </c:pt>
                <c:pt idx="12199">
                  <c:v>5</c:v>
                </c:pt>
                <c:pt idx="12200">
                  <c:v>10</c:v>
                </c:pt>
                <c:pt idx="12201">
                  <c:v>12</c:v>
                </c:pt>
                <c:pt idx="12202">
                  <c:v>7</c:v>
                </c:pt>
                <c:pt idx="12203">
                  <c:v>8</c:v>
                </c:pt>
                <c:pt idx="12204">
                  <c:v>12</c:v>
                </c:pt>
                <c:pt idx="12205">
                  <c:v>6</c:v>
                </c:pt>
                <c:pt idx="12206">
                  <c:v>4</c:v>
                </c:pt>
                <c:pt idx="12207">
                  <c:v>5</c:v>
                </c:pt>
                <c:pt idx="12208">
                  <c:v>6</c:v>
                </c:pt>
                <c:pt idx="12209">
                  <c:v>6</c:v>
                </c:pt>
                <c:pt idx="12210">
                  <c:v>6</c:v>
                </c:pt>
                <c:pt idx="12211">
                  <c:v>9</c:v>
                </c:pt>
                <c:pt idx="12212">
                  <c:v>8</c:v>
                </c:pt>
                <c:pt idx="12213">
                  <c:v>6</c:v>
                </c:pt>
                <c:pt idx="12214">
                  <c:v>4</c:v>
                </c:pt>
                <c:pt idx="12215">
                  <c:v>4</c:v>
                </c:pt>
                <c:pt idx="12216">
                  <c:v>6</c:v>
                </c:pt>
                <c:pt idx="12217">
                  <c:v>6</c:v>
                </c:pt>
                <c:pt idx="12218">
                  <c:v>4</c:v>
                </c:pt>
                <c:pt idx="12219">
                  <c:v>4</c:v>
                </c:pt>
                <c:pt idx="12220">
                  <c:v>39</c:v>
                </c:pt>
                <c:pt idx="12221">
                  <c:v>47</c:v>
                </c:pt>
                <c:pt idx="12222">
                  <c:v>53</c:v>
                </c:pt>
                <c:pt idx="12223">
                  <c:v>45</c:v>
                </c:pt>
                <c:pt idx="12224">
                  <c:v>33</c:v>
                </c:pt>
                <c:pt idx="12225">
                  <c:v>13</c:v>
                </c:pt>
                <c:pt idx="12226">
                  <c:v>21</c:v>
                </c:pt>
                <c:pt idx="12227">
                  <c:v>20</c:v>
                </c:pt>
                <c:pt idx="12228">
                  <c:v>28</c:v>
                </c:pt>
                <c:pt idx="12229">
                  <c:v>7</c:v>
                </c:pt>
                <c:pt idx="12230">
                  <c:v>7</c:v>
                </c:pt>
                <c:pt idx="12231">
                  <c:v>5</c:v>
                </c:pt>
                <c:pt idx="12232">
                  <c:v>16</c:v>
                </c:pt>
                <c:pt idx="12233">
                  <c:v>167</c:v>
                </c:pt>
                <c:pt idx="12234">
                  <c:v>158</c:v>
                </c:pt>
                <c:pt idx="12235">
                  <c:v>200</c:v>
                </c:pt>
                <c:pt idx="12236">
                  <c:v>154</c:v>
                </c:pt>
                <c:pt idx="12237">
                  <c:v>259</c:v>
                </c:pt>
                <c:pt idx="12238">
                  <c:v>248</c:v>
                </c:pt>
                <c:pt idx="12239">
                  <c:v>166</c:v>
                </c:pt>
                <c:pt idx="12240">
                  <c:v>177</c:v>
                </c:pt>
                <c:pt idx="12241">
                  <c:v>178</c:v>
                </c:pt>
                <c:pt idx="12242">
                  <c:v>247</c:v>
                </c:pt>
                <c:pt idx="12243">
                  <c:v>160</c:v>
                </c:pt>
                <c:pt idx="12244">
                  <c:v>116</c:v>
                </c:pt>
                <c:pt idx="12245">
                  <c:v>201</c:v>
                </c:pt>
                <c:pt idx="12246">
                  <c:v>214</c:v>
                </c:pt>
                <c:pt idx="12247">
                  <c:v>170</c:v>
                </c:pt>
                <c:pt idx="12248">
                  <c:v>177</c:v>
                </c:pt>
                <c:pt idx="12249">
                  <c:v>197</c:v>
                </c:pt>
                <c:pt idx="12250">
                  <c:v>153</c:v>
                </c:pt>
                <c:pt idx="12251">
                  <c:v>175</c:v>
                </c:pt>
                <c:pt idx="12252">
                  <c:v>182</c:v>
                </c:pt>
                <c:pt idx="12253">
                  <c:v>166</c:v>
                </c:pt>
                <c:pt idx="12254">
                  <c:v>123</c:v>
                </c:pt>
                <c:pt idx="12255">
                  <c:v>135</c:v>
                </c:pt>
                <c:pt idx="12256">
                  <c:v>174</c:v>
                </c:pt>
                <c:pt idx="12257">
                  <c:v>116</c:v>
                </c:pt>
                <c:pt idx="12258">
                  <c:v>134</c:v>
                </c:pt>
                <c:pt idx="12259">
                  <c:v>134</c:v>
                </c:pt>
                <c:pt idx="12260">
                  <c:v>265</c:v>
                </c:pt>
                <c:pt idx="12261">
                  <c:v>244</c:v>
                </c:pt>
                <c:pt idx="12262">
                  <c:v>230</c:v>
                </c:pt>
                <c:pt idx="12263">
                  <c:v>207</c:v>
                </c:pt>
                <c:pt idx="12264">
                  <c:v>164</c:v>
                </c:pt>
                <c:pt idx="12265">
                  <c:v>203</c:v>
                </c:pt>
                <c:pt idx="12266">
                  <c:v>202</c:v>
                </c:pt>
                <c:pt idx="12267">
                  <c:v>186</c:v>
                </c:pt>
                <c:pt idx="12268">
                  <c:v>105</c:v>
                </c:pt>
                <c:pt idx="12269">
                  <c:v>166</c:v>
                </c:pt>
                <c:pt idx="12270">
                  <c:v>203</c:v>
                </c:pt>
                <c:pt idx="12271">
                  <c:v>141</c:v>
                </c:pt>
                <c:pt idx="12272">
                  <c:v>151</c:v>
                </c:pt>
                <c:pt idx="12273">
                  <c:v>126</c:v>
                </c:pt>
                <c:pt idx="12274">
                  <c:v>105</c:v>
                </c:pt>
                <c:pt idx="12275">
                  <c:v>142</c:v>
                </c:pt>
                <c:pt idx="12276">
                  <c:v>142</c:v>
                </c:pt>
                <c:pt idx="12277">
                  <c:v>136</c:v>
                </c:pt>
                <c:pt idx="12278">
                  <c:v>87</c:v>
                </c:pt>
                <c:pt idx="12279">
                  <c:v>133</c:v>
                </c:pt>
                <c:pt idx="12280">
                  <c:v>140</c:v>
                </c:pt>
                <c:pt idx="12281">
                  <c:v>111</c:v>
                </c:pt>
                <c:pt idx="12282">
                  <c:v>1</c:v>
                </c:pt>
                <c:pt idx="12283">
                  <c:v>152</c:v>
                </c:pt>
                <c:pt idx="12284">
                  <c:v>236</c:v>
                </c:pt>
                <c:pt idx="12285">
                  <c:v>214</c:v>
                </c:pt>
                <c:pt idx="12286">
                  <c:v>268</c:v>
                </c:pt>
                <c:pt idx="12287">
                  <c:v>152</c:v>
                </c:pt>
                <c:pt idx="12288">
                  <c:v>172</c:v>
                </c:pt>
                <c:pt idx="12289">
                  <c:v>148</c:v>
                </c:pt>
                <c:pt idx="12290">
                  <c:v>137</c:v>
                </c:pt>
                <c:pt idx="12291">
                  <c:v>158</c:v>
                </c:pt>
                <c:pt idx="12292">
                  <c:v>178</c:v>
                </c:pt>
                <c:pt idx="12293">
                  <c:v>140</c:v>
                </c:pt>
                <c:pt idx="12294">
                  <c:v>127</c:v>
                </c:pt>
                <c:pt idx="12295">
                  <c:v>157</c:v>
                </c:pt>
                <c:pt idx="12296">
                  <c:v>128</c:v>
                </c:pt>
                <c:pt idx="12297">
                  <c:v>73</c:v>
                </c:pt>
                <c:pt idx="12298">
                  <c:v>165</c:v>
                </c:pt>
                <c:pt idx="12299">
                  <c:v>179</c:v>
                </c:pt>
                <c:pt idx="12300">
                  <c:v>108</c:v>
                </c:pt>
                <c:pt idx="12301">
                  <c:v>128</c:v>
                </c:pt>
                <c:pt idx="12302">
                  <c:v>121</c:v>
                </c:pt>
                <c:pt idx="12303">
                  <c:v>90</c:v>
                </c:pt>
                <c:pt idx="12304">
                  <c:v>110</c:v>
                </c:pt>
                <c:pt idx="12305">
                  <c:v>113</c:v>
                </c:pt>
                <c:pt idx="12306">
                  <c:v>131</c:v>
                </c:pt>
                <c:pt idx="12307">
                  <c:v>98</c:v>
                </c:pt>
                <c:pt idx="12308">
                  <c:v>152</c:v>
                </c:pt>
                <c:pt idx="12309">
                  <c:v>131</c:v>
                </c:pt>
                <c:pt idx="12310">
                  <c:v>80</c:v>
                </c:pt>
                <c:pt idx="12311">
                  <c:v>94</c:v>
                </c:pt>
                <c:pt idx="12312">
                  <c:v>78</c:v>
                </c:pt>
                <c:pt idx="12313">
                  <c:v>106</c:v>
                </c:pt>
                <c:pt idx="12314">
                  <c:v>80</c:v>
                </c:pt>
                <c:pt idx="12315">
                  <c:v>56</c:v>
                </c:pt>
                <c:pt idx="12316">
                  <c:v>137</c:v>
                </c:pt>
                <c:pt idx="12317">
                  <c:v>126</c:v>
                </c:pt>
                <c:pt idx="12318">
                  <c:v>118</c:v>
                </c:pt>
                <c:pt idx="12319">
                  <c:v>70</c:v>
                </c:pt>
                <c:pt idx="12320">
                  <c:v>74</c:v>
                </c:pt>
                <c:pt idx="12321">
                  <c:v>128</c:v>
                </c:pt>
                <c:pt idx="12322">
                  <c:v>131</c:v>
                </c:pt>
                <c:pt idx="12323">
                  <c:v>94</c:v>
                </c:pt>
                <c:pt idx="12324">
                  <c:v>87</c:v>
                </c:pt>
                <c:pt idx="12325">
                  <c:v>68</c:v>
                </c:pt>
                <c:pt idx="12326">
                  <c:v>78</c:v>
                </c:pt>
                <c:pt idx="12327">
                  <c:v>72</c:v>
                </c:pt>
                <c:pt idx="12328">
                  <c:v>59</c:v>
                </c:pt>
                <c:pt idx="12329">
                  <c:v>42</c:v>
                </c:pt>
                <c:pt idx="12330">
                  <c:v>37</c:v>
                </c:pt>
                <c:pt idx="12331">
                  <c:v>16</c:v>
                </c:pt>
                <c:pt idx="12332">
                  <c:v>8</c:v>
                </c:pt>
                <c:pt idx="12333">
                  <c:v>2</c:v>
                </c:pt>
                <c:pt idx="12334">
                  <c:v>2</c:v>
                </c:pt>
                <c:pt idx="12335">
                  <c:v>2</c:v>
                </c:pt>
                <c:pt idx="12336">
                  <c:v>1</c:v>
                </c:pt>
                <c:pt idx="12337">
                  <c:v>1</c:v>
                </c:pt>
                <c:pt idx="12338">
                  <c:v>1</c:v>
                </c:pt>
                <c:pt idx="12339">
                  <c:v>1</c:v>
                </c:pt>
                <c:pt idx="12340">
                  <c:v>0</c:v>
                </c:pt>
                <c:pt idx="12341">
                  <c:v>0</c:v>
                </c:pt>
                <c:pt idx="12342">
                  <c:v>118</c:v>
                </c:pt>
                <c:pt idx="12343">
                  <c:v>71</c:v>
                </c:pt>
                <c:pt idx="12344">
                  <c:v>36</c:v>
                </c:pt>
                <c:pt idx="12345">
                  <c:v>63</c:v>
                </c:pt>
                <c:pt idx="12346">
                  <c:v>70</c:v>
                </c:pt>
                <c:pt idx="12347">
                  <c:v>38</c:v>
                </c:pt>
                <c:pt idx="12348">
                  <c:v>22</c:v>
                </c:pt>
                <c:pt idx="12349">
                  <c:v>34</c:v>
                </c:pt>
                <c:pt idx="12350">
                  <c:v>35</c:v>
                </c:pt>
                <c:pt idx="12351">
                  <c:v>26</c:v>
                </c:pt>
                <c:pt idx="12352">
                  <c:v>22</c:v>
                </c:pt>
                <c:pt idx="12353">
                  <c:v>5</c:v>
                </c:pt>
                <c:pt idx="12354">
                  <c:v>12</c:v>
                </c:pt>
                <c:pt idx="12355">
                  <c:v>15</c:v>
                </c:pt>
                <c:pt idx="12356">
                  <c:v>7</c:v>
                </c:pt>
                <c:pt idx="12357">
                  <c:v>13</c:v>
                </c:pt>
                <c:pt idx="12358">
                  <c:v>4</c:v>
                </c:pt>
                <c:pt idx="12359">
                  <c:v>4</c:v>
                </c:pt>
                <c:pt idx="12360">
                  <c:v>5</c:v>
                </c:pt>
                <c:pt idx="12361">
                  <c:v>0</c:v>
                </c:pt>
                <c:pt idx="12362">
                  <c:v>3</c:v>
                </c:pt>
                <c:pt idx="12363">
                  <c:v>1</c:v>
                </c:pt>
                <c:pt idx="12364">
                  <c:v>0</c:v>
                </c:pt>
                <c:pt idx="12365">
                  <c:v>109</c:v>
                </c:pt>
                <c:pt idx="12366">
                  <c:v>83</c:v>
                </c:pt>
                <c:pt idx="12367">
                  <c:v>72</c:v>
                </c:pt>
                <c:pt idx="12368">
                  <c:v>85</c:v>
                </c:pt>
                <c:pt idx="12369">
                  <c:v>48</c:v>
                </c:pt>
                <c:pt idx="12370">
                  <c:v>49</c:v>
                </c:pt>
                <c:pt idx="12371">
                  <c:v>52</c:v>
                </c:pt>
                <c:pt idx="12372">
                  <c:v>35</c:v>
                </c:pt>
                <c:pt idx="12373">
                  <c:v>33</c:v>
                </c:pt>
                <c:pt idx="12374">
                  <c:v>7</c:v>
                </c:pt>
                <c:pt idx="12375">
                  <c:v>24</c:v>
                </c:pt>
                <c:pt idx="12376">
                  <c:v>14</c:v>
                </c:pt>
                <c:pt idx="12377">
                  <c:v>16</c:v>
                </c:pt>
                <c:pt idx="12378">
                  <c:v>31</c:v>
                </c:pt>
                <c:pt idx="12379">
                  <c:v>9</c:v>
                </c:pt>
                <c:pt idx="12380">
                  <c:v>1</c:v>
                </c:pt>
                <c:pt idx="12381">
                  <c:v>6</c:v>
                </c:pt>
                <c:pt idx="12382">
                  <c:v>1</c:v>
                </c:pt>
                <c:pt idx="12383">
                  <c:v>3</c:v>
                </c:pt>
                <c:pt idx="12384">
                  <c:v>5</c:v>
                </c:pt>
                <c:pt idx="12385">
                  <c:v>5</c:v>
                </c:pt>
                <c:pt idx="12386">
                  <c:v>4</c:v>
                </c:pt>
                <c:pt idx="12387">
                  <c:v>3</c:v>
                </c:pt>
                <c:pt idx="12388">
                  <c:v>0</c:v>
                </c:pt>
                <c:pt idx="12389">
                  <c:v>3</c:v>
                </c:pt>
                <c:pt idx="12390">
                  <c:v>1</c:v>
                </c:pt>
                <c:pt idx="12391">
                  <c:v>1</c:v>
                </c:pt>
                <c:pt idx="12392">
                  <c:v>0</c:v>
                </c:pt>
                <c:pt idx="12393">
                  <c:v>0</c:v>
                </c:pt>
                <c:pt idx="12394">
                  <c:v>0</c:v>
                </c:pt>
                <c:pt idx="12395">
                  <c:v>0</c:v>
                </c:pt>
                <c:pt idx="12396">
                  <c:v>132</c:v>
                </c:pt>
                <c:pt idx="12397">
                  <c:v>65</c:v>
                </c:pt>
                <c:pt idx="12398">
                  <c:v>44</c:v>
                </c:pt>
                <c:pt idx="12399">
                  <c:v>88</c:v>
                </c:pt>
                <c:pt idx="12400">
                  <c:v>102</c:v>
                </c:pt>
                <c:pt idx="12401">
                  <c:v>81</c:v>
                </c:pt>
                <c:pt idx="12402">
                  <c:v>69</c:v>
                </c:pt>
                <c:pt idx="12403">
                  <c:v>89</c:v>
                </c:pt>
                <c:pt idx="12404">
                  <c:v>72</c:v>
                </c:pt>
                <c:pt idx="12405">
                  <c:v>64</c:v>
                </c:pt>
                <c:pt idx="12406">
                  <c:v>65</c:v>
                </c:pt>
                <c:pt idx="12407">
                  <c:v>44</c:v>
                </c:pt>
                <c:pt idx="12408">
                  <c:v>55</c:v>
                </c:pt>
                <c:pt idx="12409">
                  <c:v>74</c:v>
                </c:pt>
                <c:pt idx="12410">
                  <c:v>47</c:v>
                </c:pt>
                <c:pt idx="12411">
                  <c:v>31</c:v>
                </c:pt>
                <c:pt idx="12412">
                  <c:v>38</c:v>
                </c:pt>
                <c:pt idx="12413">
                  <c:v>18</c:v>
                </c:pt>
                <c:pt idx="12414">
                  <c:v>18</c:v>
                </c:pt>
                <c:pt idx="12415">
                  <c:v>46</c:v>
                </c:pt>
                <c:pt idx="12416">
                  <c:v>35</c:v>
                </c:pt>
                <c:pt idx="12417">
                  <c:v>11</c:v>
                </c:pt>
                <c:pt idx="12418">
                  <c:v>26</c:v>
                </c:pt>
                <c:pt idx="12419">
                  <c:v>42</c:v>
                </c:pt>
                <c:pt idx="12420">
                  <c:v>23</c:v>
                </c:pt>
                <c:pt idx="12421">
                  <c:v>30</c:v>
                </c:pt>
                <c:pt idx="12422">
                  <c:v>14</c:v>
                </c:pt>
                <c:pt idx="12423">
                  <c:v>12</c:v>
                </c:pt>
                <c:pt idx="12424">
                  <c:v>19</c:v>
                </c:pt>
                <c:pt idx="12425">
                  <c:v>19</c:v>
                </c:pt>
                <c:pt idx="12426">
                  <c:v>22</c:v>
                </c:pt>
                <c:pt idx="12427">
                  <c:v>11</c:v>
                </c:pt>
                <c:pt idx="12428">
                  <c:v>19</c:v>
                </c:pt>
                <c:pt idx="12429">
                  <c:v>12</c:v>
                </c:pt>
                <c:pt idx="12430">
                  <c:v>14</c:v>
                </c:pt>
                <c:pt idx="12431">
                  <c:v>16</c:v>
                </c:pt>
                <c:pt idx="12432">
                  <c:v>5</c:v>
                </c:pt>
                <c:pt idx="12433">
                  <c:v>4</c:v>
                </c:pt>
                <c:pt idx="12434">
                  <c:v>11</c:v>
                </c:pt>
                <c:pt idx="12435">
                  <c:v>10</c:v>
                </c:pt>
                <c:pt idx="12436">
                  <c:v>13</c:v>
                </c:pt>
                <c:pt idx="12437">
                  <c:v>11</c:v>
                </c:pt>
                <c:pt idx="12438">
                  <c:v>8</c:v>
                </c:pt>
                <c:pt idx="12439">
                  <c:v>8</c:v>
                </c:pt>
                <c:pt idx="12440">
                  <c:v>4</c:v>
                </c:pt>
                <c:pt idx="12441">
                  <c:v>5</c:v>
                </c:pt>
                <c:pt idx="12442">
                  <c:v>6</c:v>
                </c:pt>
                <c:pt idx="12443">
                  <c:v>13</c:v>
                </c:pt>
                <c:pt idx="12444">
                  <c:v>12</c:v>
                </c:pt>
                <c:pt idx="12445">
                  <c:v>9</c:v>
                </c:pt>
                <c:pt idx="12446">
                  <c:v>12</c:v>
                </c:pt>
                <c:pt idx="12447">
                  <c:v>3</c:v>
                </c:pt>
                <c:pt idx="12448">
                  <c:v>5</c:v>
                </c:pt>
                <c:pt idx="12449">
                  <c:v>5</c:v>
                </c:pt>
                <c:pt idx="12450">
                  <c:v>9</c:v>
                </c:pt>
                <c:pt idx="12451">
                  <c:v>0</c:v>
                </c:pt>
                <c:pt idx="12452">
                  <c:v>0</c:v>
                </c:pt>
                <c:pt idx="12453">
                  <c:v>4</c:v>
                </c:pt>
                <c:pt idx="12454">
                  <c:v>3</c:v>
                </c:pt>
                <c:pt idx="12455">
                  <c:v>6</c:v>
                </c:pt>
                <c:pt idx="12456">
                  <c:v>2</c:v>
                </c:pt>
                <c:pt idx="12457">
                  <c:v>2</c:v>
                </c:pt>
                <c:pt idx="12458">
                  <c:v>2</c:v>
                </c:pt>
                <c:pt idx="12459">
                  <c:v>1</c:v>
                </c:pt>
                <c:pt idx="12460">
                  <c:v>2</c:v>
                </c:pt>
                <c:pt idx="12461">
                  <c:v>4</c:v>
                </c:pt>
                <c:pt idx="12462">
                  <c:v>1</c:v>
                </c:pt>
                <c:pt idx="12463">
                  <c:v>2</c:v>
                </c:pt>
                <c:pt idx="12464">
                  <c:v>1</c:v>
                </c:pt>
                <c:pt idx="12465">
                  <c:v>0</c:v>
                </c:pt>
                <c:pt idx="12466">
                  <c:v>0</c:v>
                </c:pt>
                <c:pt idx="12467">
                  <c:v>0</c:v>
                </c:pt>
                <c:pt idx="12468">
                  <c:v>98</c:v>
                </c:pt>
                <c:pt idx="12469">
                  <c:v>66</c:v>
                </c:pt>
                <c:pt idx="12470">
                  <c:v>53</c:v>
                </c:pt>
                <c:pt idx="12471">
                  <c:v>47</c:v>
                </c:pt>
                <c:pt idx="12472">
                  <c:v>61</c:v>
                </c:pt>
                <c:pt idx="12473">
                  <c:v>40</c:v>
                </c:pt>
                <c:pt idx="12474">
                  <c:v>22</c:v>
                </c:pt>
                <c:pt idx="12475">
                  <c:v>7</c:v>
                </c:pt>
                <c:pt idx="12476">
                  <c:v>27</c:v>
                </c:pt>
                <c:pt idx="12477">
                  <c:v>6</c:v>
                </c:pt>
                <c:pt idx="12478">
                  <c:v>16</c:v>
                </c:pt>
                <c:pt idx="12479">
                  <c:v>23</c:v>
                </c:pt>
                <c:pt idx="12480">
                  <c:v>5</c:v>
                </c:pt>
                <c:pt idx="12481">
                  <c:v>14</c:v>
                </c:pt>
                <c:pt idx="12482">
                  <c:v>22</c:v>
                </c:pt>
                <c:pt idx="12483">
                  <c:v>9</c:v>
                </c:pt>
                <c:pt idx="12484">
                  <c:v>6</c:v>
                </c:pt>
                <c:pt idx="12485">
                  <c:v>1</c:v>
                </c:pt>
                <c:pt idx="12486">
                  <c:v>12</c:v>
                </c:pt>
                <c:pt idx="12487">
                  <c:v>17</c:v>
                </c:pt>
                <c:pt idx="12488">
                  <c:v>2</c:v>
                </c:pt>
                <c:pt idx="12489">
                  <c:v>8</c:v>
                </c:pt>
                <c:pt idx="12490">
                  <c:v>4</c:v>
                </c:pt>
                <c:pt idx="12491">
                  <c:v>5</c:v>
                </c:pt>
                <c:pt idx="12492">
                  <c:v>2</c:v>
                </c:pt>
                <c:pt idx="12493">
                  <c:v>6</c:v>
                </c:pt>
                <c:pt idx="12494">
                  <c:v>5</c:v>
                </c:pt>
                <c:pt idx="12495">
                  <c:v>4</c:v>
                </c:pt>
                <c:pt idx="12496">
                  <c:v>3</c:v>
                </c:pt>
                <c:pt idx="12497">
                  <c:v>1</c:v>
                </c:pt>
                <c:pt idx="12498">
                  <c:v>4</c:v>
                </c:pt>
                <c:pt idx="12499">
                  <c:v>4</c:v>
                </c:pt>
                <c:pt idx="12500">
                  <c:v>3</c:v>
                </c:pt>
                <c:pt idx="12501">
                  <c:v>1</c:v>
                </c:pt>
                <c:pt idx="12502">
                  <c:v>5</c:v>
                </c:pt>
                <c:pt idx="12503">
                  <c:v>3</c:v>
                </c:pt>
                <c:pt idx="12504">
                  <c:v>1</c:v>
                </c:pt>
                <c:pt idx="12505">
                  <c:v>3</c:v>
                </c:pt>
                <c:pt idx="12506">
                  <c:v>3</c:v>
                </c:pt>
                <c:pt idx="12507">
                  <c:v>2</c:v>
                </c:pt>
                <c:pt idx="12508">
                  <c:v>2</c:v>
                </c:pt>
                <c:pt idx="12509">
                  <c:v>2</c:v>
                </c:pt>
                <c:pt idx="12510">
                  <c:v>2</c:v>
                </c:pt>
                <c:pt idx="12511">
                  <c:v>1</c:v>
                </c:pt>
                <c:pt idx="12512">
                  <c:v>2</c:v>
                </c:pt>
                <c:pt idx="12513">
                  <c:v>1</c:v>
                </c:pt>
                <c:pt idx="12514">
                  <c:v>2</c:v>
                </c:pt>
                <c:pt idx="12515">
                  <c:v>2</c:v>
                </c:pt>
                <c:pt idx="12516">
                  <c:v>1</c:v>
                </c:pt>
                <c:pt idx="12517">
                  <c:v>1</c:v>
                </c:pt>
                <c:pt idx="12518">
                  <c:v>1</c:v>
                </c:pt>
                <c:pt idx="12519">
                  <c:v>1</c:v>
                </c:pt>
                <c:pt idx="12520">
                  <c:v>1</c:v>
                </c:pt>
                <c:pt idx="12521">
                  <c:v>1</c:v>
                </c:pt>
                <c:pt idx="12522">
                  <c:v>0</c:v>
                </c:pt>
                <c:pt idx="12523">
                  <c:v>0</c:v>
                </c:pt>
                <c:pt idx="12524">
                  <c:v>0</c:v>
                </c:pt>
                <c:pt idx="12525">
                  <c:v>0</c:v>
                </c:pt>
                <c:pt idx="12526">
                  <c:v>0</c:v>
                </c:pt>
                <c:pt idx="12527">
                  <c:v>0</c:v>
                </c:pt>
                <c:pt idx="12528">
                  <c:v>0</c:v>
                </c:pt>
                <c:pt idx="12529">
                  <c:v>0</c:v>
                </c:pt>
                <c:pt idx="12530">
                  <c:v>0</c:v>
                </c:pt>
                <c:pt idx="12531">
                  <c:v>0</c:v>
                </c:pt>
                <c:pt idx="12532">
                  <c:v>0</c:v>
                </c:pt>
                <c:pt idx="12533">
                  <c:v>0</c:v>
                </c:pt>
                <c:pt idx="12534">
                  <c:v>76</c:v>
                </c:pt>
                <c:pt idx="12535">
                  <c:v>54</c:v>
                </c:pt>
                <c:pt idx="12536">
                  <c:v>58</c:v>
                </c:pt>
                <c:pt idx="12537">
                  <c:v>66</c:v>
                </c:pt>
                <c:pt idx="12538">
                  <c:v>33</c:v>
                </c:pt>
                <c:pt idx="12539">
                  <c:v>24</c:v>
                </c:pt>
                <c:pt idx="12540">
                  <c:v>43</c:v>
                </c:pt>
                <c:pt idx="12541">
                  <c:v>44</c:v>
                </c:pt>
                <c:pt idx="12542">
                  <c:v>35</c:v>
                </c:pt>
                <c:pt idx="12543">
                  <c:v>12</c:v>
                </c:pt>
                <c:pt idx="12544">
                  <c:v>23</c:v>
                </c:pt>
                <c:pt idx="12545">
                  <c:v>24</c:v>
                </c:pt>
                <c:pt idx="12546">
                  <c:v>30</c:v>
                </c:pt>
                <c:pt idx="12547">
                  <c:v>25</c:v>
                </c:pt>
                <c:pt idx="12548">
                  <c:v>23</c:v>
                </c:pt>
                <c:pt idx="12549">
                  <c:v>29</c:v>
                </c:pt>
                <c:pt idx="12550">
                  <c:v>24</c:v>
                </c:pt>
                <c:pt idx="12551">
                  <c:v>24</c:v>
                </c:pt>
                <c:pt idx="12552">
                  <c:v>20</c:v>
                </c:pt>
                <c:pt idx="12553">
                  <c:v>9</c:v>
                </c:pt>
                <c:pt idx="12554">
                  <c:v>2</c:v>
                </c:pt>
                <c:pt idx="12555">
                  <c:v>11</c:v>
                </c:pt>
                <c:pt idx="12556">
                  <c:v>26</c:v>
                </c:pt>
                <c:pt idx="12557">
                  <c:v>19</c:v>
                </c:pt>
                <c:pt idx="12558">
                  <c:v>15</c:v>
                </c:pt>
                <c:pt idx="12559">
                  <c:v>20</c:v>
                </c:pt>
                <c:pt idx="12560">
                  <c:v>11</c:v>
                </c:pt>
                <c:pt idx="12561">
                  <c:v>6</c:v>
                </c:pt>
                <c:pt idx="12562">
                  <c:v>15</c:v>
                </c:pt>
                <c:pt idx="12563">
                  <c:v>13</c:v>
                </c:pt>
                <c:pt idx="12564">
                  <c:v>11</c:v>
                </c:pt>
                <c:pt idx="12565">
                  <c:v>7</c:v>
                </c:pt>
                <c:pt idx="12566">
                  <c:v>3</c:v>
                </c:pt>
                <c:pt idx="12567">
                  <c:v>15</c:v>
                </c:pt>
                <c:pt idx="12568">
                  <c:v>18</c:v>
                </c:pt>
                <c:pt idx="12569">
                  <c:v>16</c:v>
                </c:pt>
                <c:pt idx="12570">
                  <c:v>6</c:v>
                </c:pt>
                <c:pt idx="12571">
                  <c:v>8</c:v>
                </c:pt>
                <c:pt idx="12572">
                  <c:v>9</c:v>
                </c:pt>
                <c:pt idx="12573">
                  <c:v>14</c:v>
                </c:pt>
                <c:pt idx="12574">
                  <c:v>4</c:v>
                </c:pt>
                <c:pt idx="12575">
                  <c:v>8</c:v>
                </c:pt>
                <c:pt idx="12576">
                  <c:v>9</c:v>
                </c:pt>
                <c:pt idx="12577">
                  <c:v>11</c:v>
                </c:pt>
                <c:pt idx="12578">
                  <c:v>10</c:v>
                </c:pt>
                <c:pt idx="12579">
                  <c:v>3</c:v>
                </c:pt>
                <c:pt idx="12580">
                  <c:v>10</c:v>
                </c:pt>
                <c:pt idx="12581">
                  <c:v>5</c:v>
                </c:pt>
                <c:pt idx="12582">
                  <c:v>2</c:v>
                </c:pt>
                <c:pt idx="12583">
                  <c:v>13</c:v>
                </c:pt>
                <c:pt idx="12584">
                  <c:v>7</c:v>
                </c:pt>
                <c:pt idx="12585">
                  <c:v>9</c:v>
                </c:pt>
                <c:pt idx="12586">
                  <c:v>11</c:v>
                </c:pt>
                <c:pt idx="12587">
                  <c:v>11</c:v>
                </c:pt>
                <c:pt idx="12588">
                  <c:v>5</c:v>
                </c:pt>
                <c:pt idx="12589">
                  <c:v>3</c:v>
                </c:pt>
                <c:pt idx="12590">
                  <c:v>3</c:v>
                </c:pt>
                <c:pt idx="12591">
                  <c:v>9</c:v>
                </c:pt>
                <c:pt idx="12592">
                  <c:v>3</c:v>
                </c:pt>
                <c:pt idx="12593">
                  <c:v>10</c:v>
                </c:pt>
                <c:pt idx="12594">
                  <c:v>3</c:v>
                </c:pt>
                <c:pt idx="12595">
                  <c:v>3</c:v>
                </c:pt>
                <c:pt idx="12596">
                  <c:v>0</c:v>
                </c:pt>
                <c:pt idx="12597">
                  <c:v>3</c:v>
                </c:pt>
                <c:pt idx="12598">
                  <c:v>8</c:v>
                </c:pt>
                <c:pt idx="12599">
                  <c:v>3</c:v>
                </c:pt>
                <c:pt idx="12600">
                  <c:v>4</c:v>
                </c:pt>
                <c:pt idx="12601">
                  <c:v>6</c:v>
                </c:pt>
                <c:pt idx="12602">
                  <c:v>8</c:v>
                </c:pt>
                <c:pt idx="12603">
                  <c:v>1</c:v>
                </c:pt>
                <c:pt idx="12604">
                  <c:v>127</c:v>
                </c:pt>
                <c:pt idx="12605">
                  <c:v>87</c:v>
                </c:pt>
                <c:pt idx="12606">
                  <c:v>39</c:v>
                </c:pt>
                <c:pt idx="12607">
                  <c:v>66</c:v>
                </c:pt>
                <c:pt idx="12608">
                  <c:v>36</c:v>
                </c:pt>
                <c:pt idx="12609">
                  <c:v>31</c:v>
                </c:pt>
                <c:pt idx="12610">
                  <c:v>30</c:v>
                </c:pt>
                <c:pt idx="12611">
                  <c:v>34</c:v>
                </c:pt>
                <c:pt idx="12612">
                  <c:v>24</c:v>
                </c:pt>
                <c:pt idx="12613">
                  <c:v>38</c:v>
                </c:pt>
                <c:pt idx="12614">
                  <c:v>31</c:v>
                </c:pt>
                <c:pt idx="12615">
                  <c:v>19</c:v>
                </c:pt>
                <c:pt idx="12616">
                  <c:v>27</c:v>
                </c:pt>
                <c:pt idx="12617">
                  <c:v>24</c:v>
                </c:pt>
                <c:pt idx="12618">
                  <c:v>22</c:v>
                </c:pt>
                <c:pt idx="12619">
                  <c:v>24</c:v>
                </c:pt>
                <c:pt idx="12620">
                  <c:v>22</c:v>
                </c:pt>
                <c:pt idx="12621">
                  <c:v>13</c:v>
                </c:pt>
                <c:pt idx="12622">
                  <c:v>7</c:v>
                </c:pt>
                <c:pt idx="12623">
                  <c:v>16</c:v>
                </c:pt>
                <c:pt idx="12624">
                  <c:v>11</c:v>
                </c:pt>
                <c:pt idx="12625">
                  <c:v>14</c:v>
                </c:pt>
                <c:pt idx="12626">
                  <c:v>13</c:v>
                </c:pt>
                <c:pt idx="12627">
                  <c:v>2</c:v>
                </c:pt>
                <c:pt idx="12628">
                  <c:v>7</c:v>
                </c:pt>
                <c:pt idx="12629">
                  <c:v>6</c:v>
                </c:pt>
                <c:pt idx="12630">
                  <c:v>8</c:v>
                </c:pt>
                <c:pt idx="12631">
                  <c:v>4</c:v>
                </c:pt>
                <c:pt idx="12632">
                  <c:v>4</c:v>
                </c:pt>
                <c:pt idx="12633">
                  <c:v>4</c:v>
                </c:pt>
                <c:pt idx="12634">
                  <c:v>3</c:v>
                </c:pt>
                <c:pt idx="12635">
                  <c:v>2</c:v>
                </c:pt>
                <c:pt idx="12636">
                  <c:v>7</c:v>
                </c:pt>
                <c:pt idx="12637">
                  <c:v>7</c:v>
                </c:pt>
                <c:pt idx="12638">
                  <c:v>4</c:v>
                </c:pt>
                <c:pt idx="12639">
                  <c:v>11</c:v>
                </c:pt>
                <c:pt idx="12640">
                  <c:v>4</c:v>
                </c:pt>
                <c:pt idx="12641">
                  <c:v>6</c:v>
                </c:pt>
                <c:pt idx="12642">
                  <c:v>2</c:v>
                </c:pt>
                <c:pt idx="12643">
                  <c:v>3</c:v>
                </c:pt>
                <c:pt idx="12644">
                  <c:v>1</c:v>
                </c:pt>
                <c:pt idx="12645">
                  <c:v>6</c:v>
                </c:pt>
                <c:pt idx="12646">
                  <c:v>6</c:v>
                </c:pt>
                <c:pt idx="12647">
                  <c:v>4</c:v>
                </c:pt>
                <c:pt idx="12648">
                  <c:v>1</c:v>
                </c:pt>
                <c:pt idx="12649">
                  <c:v>6</c:v>
                </c:pt>
                <c:pt idx="12650">
                  <c:v>1</c:v>
                </c:pt>
                <c:pt idx="12651">
                  <c:v>5</c:v>
                </c:pt>
                <c:pt idx="12652">
                  <c:v>1</c:v>
                </c:pt>
                <c:pt idx="12653">
                  <c:v>4</c:v>
                </c:pt>
                <c:pt idx="12654">
                  <c:v>1</c:v>
                </c:pt>
                <c:pt idx="12655">
                  <c:v>0</c:v>
                </c:pt>
                <c:pt idx="12656">
                  <c:v>2</c:v>
                </c:pt>
                <c:pt idx="12657">
                  <c:v>0</c:v>
                </c:pt>
                <c:pt idx="12658">
                  <c:v>0</c:v>
                </c:pt>
                <c:pt idx="12659">
                  <c:v>1</c:v>
                </c:pt>
                <c:pt idx="12660">
                  <c:v>2</c:v>
                </c:pt>
                <c:pt idx="12661">
                  <c:v>0</c:v>
                </c:pt>
                <c:pt idx="12662">
                  <c:v>0</c:v>
                </c:pt>
                <c:pt idx="12663">
                  <c:v>1</c:v>
                </c:pt>
                <c:pt idx="12664">
                  <c:v>0</c:v>
                </c:pt>
                <c:pt idx="12665">
                  <c:v>0</c:v>
                </c:pt>
                <c:pt idx="12666">
                  <c:v>1</c:v>
                </c:pt>
                <c:pt idx="12667">
                  <c:v>0</c:v>
                </c:pt>
                <c:pt idx="12668">
                  <c:v>0</c:v>
                </c:pt>
                <c:pt idx="12669">
                  <c:v>0</c:v>
                </c:pt>
                <c:pt idx="12670">
                  <c:v>0</c:v>
                </c:pt>
                <c:pt idx="12671">
                  <c:v>0</c:v>
                </c:pt>
                <c:pt idx="12672">
                  <c:v>0</c:v>
                </c:pt>
                <c:pt idx="12673">
                  <c:v>0</c:v>
                </c:pt>
                <c:pt idx="12674">
                  <c:v>0</c:v>
                </c:pt>
                <c:pt idx="12675">
                  <c:v>0</c:v>
                </c:pt>
                <c:pt idx="12676">
                  <c:v>0</c:v>
                </c:pt>
                <c:pt idx="12677">
                  <c:v>0</c:v>
                </c:pt>
                <c:pt idx="12678">
                  <c:v>0</c:v>
                </c:pt>
                <c:pt idx="12679">
                  <c:v>0</c:v>
                </c:pt>
                <c:pt idx="12680">
                  <c:v>0</c:v>
                </c:pt>
                <c:pt idx="12681">
                  <c:v>0</c:v>
                </c:pt>
                <c:pt idx="12682">
                  <c:v>0</c:v>
                </c:pt>
                <c:pt idx="12683">
                  <c:v>113</c:v>
                </c:pt>
                <c:pt idx="12684">
                  <c:v>127</c:v>
                </c:pt>
                <c:pt idx="12685">
                  <c:v>95</c:v>
                </c:pt>
                <c:pt idx="12686">
                  <c:v>70</c:v>
                </c:pt>
                <c:pt idx="12687">
                  <c:v>71</c:v>
                </c:pt>
                <c:pt idx="12688">
                  <c:v>59</c:v>
                </c:pt>
                <c:pt idx="12689">
                  <c:v>81</c:v>
                </c:pt>
                <c:pt idx="12690">
                  <c:v>71</c:v>
                </c:pt>
                <c:pt idx="12691">
                  <c:v>60</c:v>
                </c:pt>
                <c:pt idx="12692">
                  <c:v>63</c:v>
                </c:pt>
                <c:pt idx="12693">
                  <c:v>76</c:v>
                </c:pt>
                <c:pt idx="12694">
                  <c:v>55</c:v>
                </c:pt>
                <c:pt idx="12695">
                  <c:v>54</c:v>
                </c:pt>
                <c:pt idx="12696">
                  <c:v>40</c:v>
                </c:pt>
                <c:pt idx="12697">
                  <c:v>45</c:v>
                </c:pt>
                <c:pt idx="12698">
                  <c:v>41</c:v>
                </c:pt>
                <c:pt idx="12699">
                  <c:v>36</c:v>
                </c:pt>
                <c:pt idx="12700">
                  <c:v>46</c:v>
                </c:pt>
                <c:pt idx="12701">
                  <c:v>31</c:v>
                </c:pt>
                <c:pt idx="12702">
                  <c:v>10</c:v>
                </c:pt>
                <c:pt idx="12703">
                  <c:v>54</c:v>
                </c:pt>
                <c:pt idx="12704">
                  <c:v>34</c:v>
                </c:pt>
                <c:pt idx="12705">
                  <c:v>41</c:v>
                </c:pt>
                <c:pt idx="12706">
                  <c:v>33</c:v>
                </c:pt>
                <c:pt idx="12707">
                  <c:v>40</c:v>
                </c:pt>
                <c:pt idx="12708">
                  <c:v>31</c:v>
                </c:pt>
                <c:pt idx="12709">
                  <c:v>15</c:v>
                </c:pt>
                <c:pt idx="12710">
                  <c:v>29</c:v>
                </c:pt>
                <c:pt idx="12711">
                  <c:v>25</c:v>
                </c:pt>
                <c:pt idx="12712">
                  <c:v>17</c:v>
                </c:pt>
                <c:pt idx="12713">
                  <c:v>29</c:v>
                </c:pt>
                <c:pt idx="12714">
                  <c:v>32</c:v>
                </c:pt>
                <c:pt idx="12715">
                  <c:v>36</c:v>
                </c:pt>
                <c:pt idx="12716">
                  <c:v>34</c:v>
                </c:pt>
                <c:pt idx="12717">
                  <c:v>30</c:v>
                </c:pt>
                <c:pt idx="12718">
                  <c:v>39</c:v>
                </c:pt>
                <c:pt idx="12719">
                  <c:v>14</c:v>
                </c:pt>
                <c:pt idx="12720">
                  <c:v>31</c:v>
                </c:pt>
                <c:pt idx="12721">
                  <c:v>3</c:v>
                </c:pt>
                <c:pt idx="12722">
                  <c:v>30</c:v>
                </c:pt>
                <c:pt idx="12723">
                  <c:v>26</c:v>
                </c:pt>
                <c:pt idx="12724">
                  <c:v>12</c:v>
                </c:pt>
                <c:pt idx="12725">
                  <c:v>12</c:v>
                </c:pt>
                <c:pt idx="12726">
                  <c:v>9</c:v>
                </c:pt>
                <c:pt idx="12727">
                  <c:v>20</c:v>
                </c:pt>
                <c:pt idx="12728">
                  <c:v>17</c:v>
                </c:pt>
                <c:pt idx="12729">
                  <c:v>15</c:v>
                </c:pt>
                <c:pt idx="12730">
                  <c:v>20</c:v>
                </c:pt>
                <c:pt idx="12731">
                  <c:v>13</c:v>
                </c:pt>
                <c:pt idx="12732">
                  <c:v>25</c:v>
                </c:pt>
                <c:pt idx="12733">
                  <c:v>14</c:v>
                </c:pt>
                <c:pt idx="12734">
                  <c:v>12</c:v>
                </c:pt>
                <c:pt idx="12735">
                  <c:v>13</c:v>
                </c:pt>
                <c:pt idx="12736">
                  <c:v>14</c:v>
                </c:pt>
                <c:pt idx="12737">
                  <c:v>13</c:v>
                </c:pt>
                <c:pt idx="12738">
                  <c:v>0</c:v>
                </c:pt>
                <c:pt idx="12739">
                  <c:v>12</c:v>
                </c:pt>
                <c:pt idx="12740">
                  <c:v>18</c:v>
                </c:pt>
                <c:pt idx="12741">
                  <c:v>12</c:v>
                </c:pt>
                <c:pt idx="12742">
                  <c:v>7</c:v>
                </c:pt>
                <c:pt idx="12743">
                  <c:v>4</c:v>
                </c:pt>
                <c:pt idx="12744">
                  <c:v>10</c:v>
                </c:pt>
                <c:pt idx="12745">
                  <c:v>59</c:v>
                </c:pt>
                <c:pt idx="12746">
                  <c:v>10</c:v>
                </c:pt>
                <c:pt idx="12747">
                  <c:v>1</c:v>
                </c:pt>
                <c:pt idx="12748">
                  <c:v>4</c:v>
                </c:pt>
                <c:pt idx="12749">
                  <c:v>2</c:v>
                </c:pt>
                <c:pt idx="12750">
                  <c:v>2</c:v>
                </c:pt>
                <c:pt idx="12751">
                  <c:v>1</c:v>
                </c:pt>
                <c:pt idx="12752">
                  <c:v>2</c:v>
                </c:pt>
                <c:pt idx="12753">
                  <c:v>73</c:v>
                </c:pt>
                <c:pt idx="12754">
                  <c:v>17</c:v>
                </c:pt>
                <c:pt idx="12755">
                  <c:v>11</c:v>
                </c:pt>
                <c:pt idx="12756">
                  <c:v>3</c:v>
                </c:pt>
                <c:pt idx="12757">
                  <c:v>2</c:v>
                </c:pt>
                <c:pt idx="12758">
                  <c:v>0</c:v>
                </c:pt>
                <c:pt idx="12759">
                  <c:v>1</c:v>
                </c:pt>
                <c:pt idx="12760">
                  <c:v>0</c:v>
                </c:pt>
                <c:pt idx="12761">
                  <c:v>8</c:v>
                </c:pt>
                <c:pt idx="12762">
                  <c:v>0</c:v>
                </c:pt>
                <c:pt idx="12763">
                  <c:v>131</c:v>
                </c:pt>
                <c:pt idx="12764">
                  <c:v>107</c:v>
                </c:pt>
                <c:pt idx="12765">
                  <c:v>71</c:v>
                </c:pt>
                <c:pt idx="12766">
                  <c:v>74</c:v>
                </c:pt>
                <c:pt idx="12767">
                  <c:v>111</c:v>
                </c:pt>
                <c:pt idx="12768">
                  <c:v>65</c:v>
                </c:pt>
                <c:pt idx="12769">
                  <c:v>73</c:v>
                </c:pt>
                <c:pt idx="12770">
                  <c:v>92</c:v>
                </c:pt>
                <c:pt idx="12771">
                  <c:v>88</c:v>
                </c:pt>
                <c:pt idx="12772">
                  <c:v>122</c:v>
                </c:pt>
                <c:pt idx="12773">
                  <c:v>97</c:v>
                </c:pt>
                <c:pt idx="12774">
                  <c:v>70</c:v>
                </c:pt>
                <c:pt idx="12775">
                  <c:v>86</c:v>
                </c:pt>
                <c:pt idx="12776">
                  <c:v>36</c:v>
                </c:pt>
                <c:pt idx="12777">
                  <c:v>77</c:v>
                </c:pt>
                <c:pt idx="12778">
                  <c:v>49</c:v>
                </c:pt>
                <c:pt idx="12779">
                  <c:v>50</c:v>
                </c:pt>
                <c:pt idx="12780">
                  <c:v>54</c:v>
                </c:pt>
                <c:pt idx="12781">
                  <c:v>37</c:v>
                </c:pt>
                <c:pt idx="12782">
                  <c:v>52</c:v>
                </c:pt>
                <c:pt idx="12783">
                  <c:v>50</c:v>
                </c:pt>
                <c:pt idx="12784">
                  <c:v>58</c:v>
                </c:pt>
                <c:pt idx="12785">
                  <c:v>41</c:v>
                </c:pt>
                <c:pt idx="12786">
                  <c:v>51</c:v>
                </c:pt>
                <c:pt idx="12787">
                  <c:v>35</c:v>
                </c:pt>
                <c:pt idx="12788">
                  <c:v>23</c:v>
                </c:pt>
                <c:pt idx="12789">
                  <c:v>43</c:v>
                </c:pt>
                <c:pt idx="12790">
                  <c:v>56</c:v>
                </c:pt>
                <c:pt idx="12791">
                  <c:v>41</c:v>
                </c:pt>
                <c:pt idx="12792">
                  <c:v>49</c:v>
                </c:pt>
                <c:pt idx="12793">
                  <c:v>39</c:v>
                </c:pt>
                <c:pt idx="12794">
                  <c:v>47</c:v>
                </c:pt>
                <c:pt idx="12795">
                  <c:v>49</c:v>
                </c:pt>
                <c:pt idx="12796">
                  <c:v>37</c:v>
                </c:pt>
                <c:pt idx="12797">
                  <c:v>46</c:v>
                </c:pt>
                <c:pt idx="12798">
                  <c:v>55</c:v>
                </c:pt>
                <c:pt idx="12799">
                  <c:v>43</c:v>
                </c:pt>
                <c:pt idx="12800">
                  <c:v>22</c:v>
                </c:pt>
                <c:pt idx="12801">
                  <c:v>17</c:v>
                </c:pt>
                <c:pt idx="12802">
                  <c:v>42</c:v>
                </c:pt>
                <c:pt idx="12803">
                  <c:v>26</c:v>
                </c:pt>
                <c:pt idx="12804">
                  <c:v>34</c:v>
                </c:pt>
                <c:pt idx="12805">
                  <c:v>19</c:v>
                </c:pt>
                <c:pt idx="12806">
                  <c:v>21</c:v>
                </c:pt>
                <c:pt idx="12807">
                  <c:v>29</c:v>
                </c:pt>
                <c:pt idx="12808">
                  <c:v>65</c:v>
                </c:pt>
                <c:pt idx="12809">
                  <c:v>51</c:v>
                </c:pt>
                <c:pt idx="12810">
                  <c:v>480</c:v>
                </c:pt>
                <c:pt idx="12811">
                  <c:v>816</c:v>
                </c:pt>
                <c:pt idx="12812">
                  <c:v>608</c:v>
                </c:pt>
                <c:pt idx="12813">
                  <c:v>873</c:v>
                </c:pt>
                <c:pt idx="12814">
                  <c:v>479</c:v>
                </c:pt>
                <c:pt idx="12815">
                  <c:v>340</c:v>
                </c:pt>
                <c:pt idx="12816">
                  <c:v>305</c:v>
                </c:pt>
                <c:pt idx="12817">
                  <c:v>426</c:v>
                </c:pt>
                <c:pt idx="12818">
                  <c:v>216</c:v>
                </c:pt>
                <c:pt idx="12819">
                  <c:v>442</c:v>
                </c:pt>
                <c:pt idx="12820">
                  <c:v>204</c:v>
                </c:pt>
                <c:pt idx="12821">
                  <c:v>240</c:v>
                </c:pt>
                <c:pt idx="12822">
                  <c:v>490</c:v>
                </c:pt>
                <c:pt idx="12823">
                  <c:v>337</c:v>
                </c:pt>
                <c:pt idx="12824">
                  <c:v>376</c:v>
                </c:pt>
                <c:pt idx="12825">
                  <c:v>299</c:v>
                </c:pt>
                <c:pt idx="12826">
                  <c:v>207</c:v>
                </c:pt>
                <c:pt idx="12827">
                  <c:v>626</c:v>
                </c:pt>
                <c:pt idx="12828">
                  <c:v>343</c:v>
                </c:pt>
                <c:pt idx="12829">
                  <c:v>421</c:v>
                </c:pt>
                <c:pt idx="12830">
                  <c:v>263</c:v>
                </c:pt>
                <c:pt idx="12831">
                  <c:v>255</c:v>
                </c:pt>
                <c:pt idx="12832">
                  <c:v>185</c:v>
                </c:pt>
                <c:pt idx="12833">
                  <c:v>176</c:v>
                </c:pt>
                <c:pt idx="12834">
                  <c:v>260</c:v>
                </c:pt>
                <c:pt idx="12835">
                  <c:v>210</c:v>
                </c:pt>
                <c:pt idx="12836">
                  <c:v>177</c:v>
                </c:pt>
                <c:pt idx="12837">
                  <c:v>217</c:v>
                </c:pt>
                <c:pt idx="12838">
                  <c:v>40</c:v>
                </c:pt>
                <c:pt idx="12839">
                  <c:v>163</c:v>
                </c:pt>
                <c:pt idx="12840">
                  <c:v>331</c:v>
                </c:pt>
                <c:pt idx="12841">
                  <c:v>223</c:v>
                </c:pt>
                <c:pt idx="12842">
                  <c:v>134</c:v>
                </c:pt>
                <c:pt idx="12843">
                  <c:v>178</c:v>
                </c:pt>
                <c:pt idx="12844">
                  <c:v>190</c:v>
                </c:pt>
                <c:pt idx="12845">
                  <c:v>150</c:v>
                </c:pt>
                <c:pt idx="12846">
                  <c:v>99</c:v>
                </c:pt>
                <c:pt idx="12847">
                  <c:v>125</c:v>
                </c:pt>
                <c:pt idx="12848">
                  <c:v>234</c:v>
                </c:pt>
                <c:pt idx="12849">
                  <c:v>139</c:v>
                </c:pt>
                <c:pt idx="12850">
                  <c:v>153</c:v>
                </c:pt>
                <c:pt idx="12851">
                  <c:v>173</c:v>
                </c:pt>
                <c:pt idx="12852">
                  <c:v>125</c:v>
                </c:pt>
                <c:pt idx="12853">
                  <c:v>133</c:v>
                </c:pt>
                <c:pt idx="12854">
                  <c:v>91</c:v>
                </c:pt>
                <c:pt idx="12855">
                  <c:v>134</c:v>
                </c:pt>
                <c:pt idx="12856">
                  <c:v>72</c:v>
                </c:pt>
                <c:pt idx="12857">
                  <c:v>89</c:v>
                </c:pt>
                <c:pt idx="12858">
                  <c:v>116</c:v>
                </c:pt>
                <c:pt idx="12859">
                  <c:v>89</c:v>
                </c:pt>
                <c:pt idx="12860">
                  <c:v>115</c:v>
                </c:pt>
                <c:pt idx="12861">
                  <c:v>93</c:v>
                </c:pt>
                <c:pt idx="12862">
                  <c:v>49</c:v>
                </c:pt>
                <c:pt idx="12863">
                  <c:v>53</c:v>
                </c:pt>
                <c:pt idx="12864">
                  <c:v>148</c:v>
                </c:pt>
                <c:pt idx="12865">
                  <c:v>84</c:v>
                </c:pt>
                <c:pt idx="12866">
                  <c:v>90</c:v>
                </c:pt>
                <c:pt idx="12867">
                  <c:v>107</c:v>
                </c:pt>
                <c:pt idx="12868">
                  <c:v>77</c:v>
                </c:pt>
                <c:pt idx="12869">
                  <c:v>92</c:v>
                </c:pt>
                <c:pt idx="12870">
                  <c:v>51</c:v>
                </c:pt>
                <c:pt idx="12871">
                  <c:v>109</c:v>
                </c:pt>
                <c:pt idx="12872">
                  <c:v>93</c:v>
                </c:pt>
                <c:pt idx="12873">
                  <c:v>83</c:v>
                </c:pt>
                <c:pt idx="12874">
                  <c:v>37</c:v>
                </c:pt>
                <c:pt idx="12875">
                  <c:v>152</c:v>
                </c:pt>
                <c:pt idx="12876">
                  <c:v>78</c:v>
                </c:pt>
                <c:pt idx="12877">
                  <c:v>93</c:v>
                </c:pt>
                <c:pt idx="12878">
                  <c:v>37</c:v>
                </c:pt>
                <c:pt idx="12879">
                  <c:v>83</c:v>
                </c:pt>
                <c:pt idx="12880">
                  <c:v>121</c:v>
                </c:pt>
                <c:pt idx="12881">
                  <c:v>98</c:v>
                </c:pt>
                <c:pt idx="12882">
                  <c:v>91</c:v>
                </c:pt>
                <c:pt idx="12883">
                  <c:v>64</c:v>
                </c:pt>
                <c:pt idx="12884">
                  <c:v>115</c:v>
                </c:pt>
                <c:pt idx="12885">
                  <c:v>92</c:v>
                </c:pt>
                <c:pt idx="12886">
                  <c:v>75</c:v>
                </c:pt>
                <c:pt idx="12887">
                  <c:v>43</c:v>
                </c:pt>
                <c:pt idx="12888">
                  <c:v>40</c:v>
                </c:pt>
                <c:pt idx="12889">
                  <c:v>87</c:v>
                </c:pt>
                <c:pt idx="12890">
                  <c:v>49</c:v>
                </c:pt>
                <c:pt idx="12891">
                  <c:v>74</c:v>
                </c:pt>
                <c:pt idx="12892">
                  <c:v>65</c:v>
                </c:pt>
                <c:pt idx="12893">
                  <c:v>84</c:v>
                </c:pt>
                <c:pt idx="12894">
                  <c:v>31</c:v>
                </c:pt>
                <c:pt idx="12895">
                  <c:v>48</c:v>
                </c:pt>
                <c:pt idx="12896">
                  <c:v>39</c:v>
                </c:pt>
                <c:pt idx="12897">
                  <c:v>72</c:v>
                </c:pt>
                <c:pt idx="12898">
                  <c:v>31</c:v>
                </c:pt>
                <c:pt idx="12899">
                  <c:v>56</c:v>
                </c:pt>
                <c:pt idx="12900">
                  <c:v>17</c:v>
                </c:pt>
                <c:pt idx="12901">
                  <c:v>96</c:v>
                </c:pt>
                <c:pt idx="12902">
                  <c:v>67</c:v>
                </c:pt>
                <c:pt idx="12903">
                  <c:v>13</c:v>
                </c:pt>
                <c:pt idx="12904">
                  <c:v>56</c:v>
                </c:pt>
                <c:pt idx="12905">
                  <c:v>56</c:v>
                </c:pt>
                <c:pt idx="12906">
                  <c:v>20</c:v>
                </c:pt>
                <c:pt idx="12907">
                  <c:v>28</c:v>
                </c:pt>
                <c:pt idx="12908">
                  <c:v>78</c:v>
                </c:pt>
                <c:pt idx="12909">
                  <c:v>85</c:v>
                </c:pt>
                <c:pt idx="12910">
                  <c:v>25</c:v>
                </c:pt>
                <c:pt idx="12911">
                  <c:v>35</c:v>
                </c:pt>
                <c:pt idx="12912">
                  <c:v>30</c:v>
                </c:pt>
                <c:pt idx="12913">
                  <c:v>4</c:v>
                </c:pt>
                <c:pt idx="12914">
                  <c:v>1</c:v>
                </c:pt>
                <c:pt idx="12915">
                  <c:v>0</c:v>
                </c:pt>
                <c:pt idx="12916">
                  <c:v>0</c:v>
                </c:pt>
                <c:pt idx="12917">
                  <c:v>46</c:v>
                </c:pt>
                <c:pt idx="12918">
                  <c:v>16</c:v>
                </c:pt>
                <c:pt idx="12919">
                  <c:v>29</c:v>
                </c:pt>
                <c:pt idx="12920">
                  <c:v>13</c:v>
                </c:pt>
                <c:pt idx="12921">
                  <c:v>10</c:v>
                </c:pt>
                <c:pt idx="12922">
                  <c:v>10</c:v>
                </c:pt>
                <c:pt idx="12923">
                  <c:v>22</c:v>
                </c:pt>
                <c:pt idx="12924">
                  <c:v>7</c:v>
                </c:pt>
                <c:pt idx="12925">
                  <c:v>0</c:v>
                </c:pt>
                <c:pt idx="12926">
                  <c:v>53</c:v>
                </c:pt>
                <c:pt idx="12927">
                  <c:v>65</c:v>
                </c:pt>
                <c:pt idx="12928">
                  <c:v>27</c:v>
                </c:pt>
                <c:pt idx="12929">
                  <c:v>12</c:v>
                </c:pt>
                <c:pt idx="12930">
                  <c:v>10</c:v>
                </c:pt>
                <c:pt idx="12931">
                  <c:v>5</c:v>
                </c:pt>
                <c:pt idx="12932">
                  <c:v>20</c:v>
                </c:pt>
                <c:pt idx="12933">
                  <c:v>30</c:v>
                </c:pt>
                <c:pt idx="12934">
                  <c:v>19</c:v>
                </c:pt>
                <c:pt idx="12935">
                  <c:v>25</c:v>
                </c:pt>
                <c:pt idx="12936">
                  <c:v>13</c:v>
                </c:pt>
                <c:pt idx="12937">
                  <c:v>0</c:v>
                </c:pt>
                <c:pt idx="12938">
                  <c:v>57</c:v>
                </c:pt>
                <c:pt idx="12939">
                  <c:v>19</c:v>
                </c:pt>
                <c:pt idx="12940">
                  <c:v>14</c:v>
                </c:pt>
                <c:pt idx="12941">
                  <c:v>30</c:v>
                </c:pt>
                <c:pt idx="12942">
                  <c:v>7</c:v>
                </c:pt>
                <c:pt idx="12943">
                  <c:v>24</c:v>
                </c:pt>
                <c:pt idx="12944">
                  <c:v>25</c:v>
                </c:pt>
                <c:pt idx="12945">
                  <c:v>14</c:v>
                </c:pt>
                <c:pt idx="12946">
                  <c:v>15</c:v>
                </c:pt>
                <c:pt idx="12947">
                  <c:v>1</c:v>
                </c:pt>
                <c:pt idx="12948">
                  <c:v>3</c:v>
                </c:pt>
                <c:pt idx="12949">
                  <c:v>5</c:v>
                </c:pt>
                <c:pt idx="12950">
                  <c:v>3</c:v>
                </c:pt>
                <c:pt idx="12951">
                  <c:v>3</c:v>
                </c:pt>
                <c:pt idx="12952">
                  <c:v>1</c:v>
                </c:pt>
                <c:pt idx="12953">
                  <c:v>2</c:v>
                </c:pt>
                <c:pt idx="12954">
                  <c:v>12</c:v>
                </c:pt>
                <c:pt idx="12955">
                  <c:v>9</c:v>
                </c:pt>
                <c:pt idx="12956">
                  <c:v>29</c:v>
                </c:pt>
                <c:pt idx="12957">
                  <c:v>16</c:v>
                </c:pt>
                <c:pt idx="12958">
                  <c:v>5</c:v>
                </c:pt>
                <c:pt idx="12959">
                  <c:v>1</c:v>
                </c:pt>
                <c:pt idx="12960">
                  <c:v>14</c:v>
                </c:pt>
                <c:pt idx="12961">
                  <c:v>19</c:v>
                </c:pt>
                <c:pt idx="12962">
                  <c:v>11</c:v>
                </c:pt>
                <c:pt idx="12963">
                  <c:v>4</c:v>
                </c:pt>
                <c:pt idx="12964">
                  <c:v>9</c:v>
                </c:pt>
                <c:pt idx="12965">
                  <c:v>12</c:v>
                </c:pt>
                <c:pt idx="12966">
                  <c:v>10</c:v>
                </c:pt>
                <c:pt idx="12967">
                  <c:v>8</c:v>
                </c:pt>
                <c:pt idx="12968">
                  <c:v>4</c:v>
                </c:pt>
                <c:pt idx="12969">
                  <c:v>5</c:v>
                </c:pt>
                <c:pt idx="12970">
                  <c:v>4</c:v>
                </c:pt>
                <c:pt idx="12971">
                  <c:v>2</c:v>
                </c:pt>
                <c:pt idx="12972">
                  <c:v>1</c:v>
                </c:pt>
                <c:pt idx="12973">
                  <c:v>1</c:v>
                </c:pt>
                <c:pt idx="12974">
                  <c:v>0</c:v>
                </c:pt>
                <c:pt idx="12975">
                  <c:v>0</c:v>
                </c:pt>
                <c:pt idx="12976">
                  <c:v>0</c:v>
                </c:pt>
                <c:pt idx="12977">
                  <c:v>0</c:v>
                </c:pt>
                <c:pt idx="12978">
                  <c:v>15</c:v>
                </c:pt>
                <c:pt idx="12979">
                  <c:v>57</c:v>
                </c:pt>
                <c:pt idx="12980">
                  <c:v>43</c:v>
                </c:pt>
                <c:pt idx="12981">
                  <c:v>39</c:v>
                </c:pt>
                <c:pt idx="12982">
                  <c:v>40</c:v>
                </c:pt>
                <c:pt idx="12983">
                  <c:v>28</c:v>
                </c:pt>
                <c:pt idx="12984">
                  <c:v>31</c:v>
                </c:pt>
                <c:pt idx="12985">
                  <c:v>1</c:v>
                </c:pt>
                <c:pt idx="12986">
                  <c:v>3</c:v>
                </c:pt>
                <c:pt idx="12987">
                  <c:v>8</c:v>
                </c:pt>
                <c:pt idx="12988">
                  <c:v>11</c:v>
                </c:pt>
                <c:pt idx="12989">
                  <c:v>11</c:v>
                </c:pt>
                <c:pt idx="12990">
                  <c:v>8</c:v>
                </c:pt>
                <c:pt idx="12991">
                  <c:v>6</c:v>
                </c:pt>
                <c:pt idx="12992">
                  <c:v>6</c:v>
                </c:pt>
                <c:pt idx="12993">
                  <c:v>4</c:v>
                </c:pt>
                <c:pt idx="12994">
                  <c:v>1</c:v>
                </c:pt>
                <c:pt idx="12995">
                  <c:v>1</c:v>
                </c:pt>
                <c:pt idx="12996">
                  <c:v>1</c:v>
                </c:pt>
                <c:pt idx="12997">
                  <c:v>22</c:v>
                </c:pt>
                <c:pt idx="12998">
                  <c:v>51</c:v>
                </c:pt>
                <c:pt idx="12999">
                  <c:v>10</c:v>
                </c:pt>
                <c:pt idx="13000">
                  <c:v>34</c:v>
                </c:pt>
                <c:pt idx="13001">
                  <c:v>23</c:v>
                </c:pt>
                <c:pt idx="13002">
                  <c:v>32</c:v>
                </c:pt>
                <c:pt idx="13003">
                  <c:v>44</c:v>
                </c:pt>
                <c:pt idx="13004">
                  <c:v>26</c:v>
                </c:pt>
                <c:pt idx="13005">
                  <c:v>16</c:v>
                </c:pt>
                <c:pt idx="13006">
                  <c:v>23</c:v>
                </c:pt>
                <c:pt idx="13007">
                  <c:v>11</c:v>
                </c:pt>
                <c:pt idx="13008">
                  <c:v>30</c:v>
                </c:pt>
                <c:pt idx="13009">
                  <c:v>17</c:v>
                </c:pt>
                <c:pt idx="13010">
                  <c:v>3</c:v>
                </c:pt>
                <c:pt idx="13011">
                  <c:v>15</c:v>
                </c:pt>
                <c:pt idx="13012">
                  <c:v>15</c:v>
                </c:pt>
                <c:pt idx="13013">
                  <c:v>11</c:v>
                </c:pt>
                <c:pt idx="13014">
                  <c:v>16</c:v>
                </c:pt>
                <c:pt idx="13015">
                  <c:v>10</c:v>
                </c:pt>
                <c:pt idx="13016">
                  <c:v>6</c:v>
                </c:pt>
                <c:pt idx="13017">
                  <c:v>5</c:v>
                </c:pt>
                <c:pt idx="13018">
                  <c:v>6</c:v>
                </c:pt>
                <c:pt idx="13019">
                  <c:v>5</c:v>
                </c:pt>
                <c:pt idx="13020">
                  <c:v>8</c:v>
                </c:pt>
                <c:pt idx="13021">
                  <c:v>5</c:v>
                </c:pt>
                <c:pt idx="13022">
                  <c:v>3</c:v>
                </c:pt>
                <c:pt idx="13023">
                  <c:v>8</c:v>
                </c:pt>
                <c:pt idx="13024">
                  <c:v>10</c:v>
                </c:pt>
                <c:pt idx="13025">
                  <c:v>6</c:v>
                </c:pt>
                <c:pt idx="13026">
                  <c:v>7</c:v>
                </c:pt>
                <c:pt idx="13027">
                  <c:v>5</c:v>
                </c:pt>
                <c:pt idx="13028">
                  <c:v>4</c:v>
                </c:pt>
                <c:pt idx="13029">
                  <c:v>1</c:v>
                </c:pt>
                <c:pt idx="13030">
                  <c:v>2</c:v>
                </c:pt>
                <c:pt idx="13031">
                  <c:v>4</c:v>
                </c:pt>
                <c:pt idx="13032">
                  <c:v>3</c:v>
                </c:pt>
                <c:pt idx="13033">
                  <c:v>1</c:v>
                </c:pt>
                <c:pt idx="13034">
                  <c:v>2</c:v>
                </c:pt>
                <c:pt idx="13035">
                  <c:v>1</c:v>
                </c:pt>
                <c:pt idx="13036">
                  <c:v>1</c:v>
                </c:pt>
                <c:pt idx="13037">
                  <c:v>1</c:v>
                </c:pt>
                <c:pt idx="13038">
                  <c:v>1</c:v>
                </c:pt>
                <c:pt idx="13039">
                  <c:v>1</c:v>
                </c:pt>
                <c:pt idx="13040">
                  <c:v>1</c:v>
                </c:pt>
                <c:pt idx="13041">
                  <c:v>18</c:v>
                </c:pt>
                <c:pt idx="13042">
                  <c:v>40</c:v>
                </c:pt>
                <c:pt idx="13043">
                  <c:v>25</c:v>
                </c:pt>
                <c:pt idx="13044">
                  <c:v>22</c:v>
                </c:pt>
                <c:pt idx="13045">
                  <c:v>154</c:v>
                </c:pt>
                <c:pt idx="13046">
                  <c:v>21</c:v>
                </c:pt>
                <c:pt idx="13047">
                  <c:v>17</c:v>
                </c:pt>
                <c:pt idx="13048">
                  <c:v>11</c:v>
                </c:pt>
                <c:pt idx="13049">
                  <c:v>28</c:v>
                </c:pt>
                <c:pt idx="13050">
                  <c:v>7</c:v>
                </c:pt>
                <c:pt idx="13051">
                  <c:v>25</c:v>
                </c:pt>
                <c:pt idx="13052">
                  <c:v>22</c:v>
                </c:pt>
                <c:pt idx="13053">
                  <c:v>15</c:v>
                </c:pt>
                <c:pt idx="13054">
                  <c:v>13</c:v>
                </c:pt>
                <c:pt idx="13055">
                  <c:v>4</c:v>
                </c:pt>
                <c:pt idx="13056">
                  <c:v>15</c:v>
                </c:pt>
                <c:pt idx="13057">
                  <c:v>14</c:v>
                </c:pt>
                <c:pt idx="13058">
                  <c:v>11</c:v>
                </c:pt>
                <c:pt idx="13059">
                  <c:v>10</c:v>
                </c:pt>
                <c:pt idx="13060">
                  <c:v>7</c:v>
                </c:pt>
                <c:pt idx="13061">
                  <c:v>9</c:v>
                </c:pt>
                <c:pt idx="13062">
                  <c:v>4</c:v>
                </c:pt>
                <c:pt idx="13063">
                  <c:v>10</c:v>
                </c:pt>
                <c:pt idx="13064">
                  <c:v>4</c:v>
                </c:pt>
                <c:pt idx="13065">
                  <c:v>9</c:v>
                </c:pt>
                <c:pt idx="13066">
                  <c:v>8</c:v>
                </c:pt>
                <c:pt idx="13067">
                  <c:v>8</c:v>
                </c:pt>
                <c:pt idx="13068">
                  <c:v>4</c:v>
                </c:pt>
                <c:pt idx="13069">
                  <c:v>5</c:v>
                </c:pt>
                <c:pt idx="13070">
                  <c:v>44</c:v>
                </c:pt>
                <c:pt idx="13071">
                  <c:v>52</c:v>
                </c:pt>
                <c:pt idx="13072">
                  <c:v>28</c:v>
                </c:pt>
                <c:pt idx="13073">
                  <c:v>45</c:v>
                </c:pt>
                <c:pt idx="13074">
                  <c:v>12</c:v>
                </c:pt>
                <c:pt idx="13075">
                  <c:v>30</c:v>
                </c:pt>
                <c:pt idx="13076">
                  <c:v>37</c:v>
                </c:pt>
                <c:pt idx="13077">
                  <c:v>30</c:v>
                </c:pt>
                <c:pt idx="13078">
                  <c:v>5</c:v>
                </c:pt>
                <c:pt idx="13079">
                  <c:v>1</c:v>
                </c:pt>
                <c:pt idx="13080">
                  <c:v>22</c:v>
                </c:pt>
                <c:pt idx="13081">
                  <c:v>4</c:v>
                </c:pt>
                <c:pt idx="13082">
                  <c:v>0</c:v>
                </c:pt>
                <c:pt idx="13083">
                  <c:v>16</c:v>
                </c:pt>
                <c:pt idx="13084">
                  <c:v>24</c:v>
                </c:pt>
                <c:pt idx="13085">
                  <c:v>3</c:v>
                </c:pt>
                <c:pt idx="13086">
                  <c:v>1</c:v>
                </c:pt>
                <c:pt idx="13087">
                  <c:v>0</c:v>
                </c:pt>
                <c:pt idx="13088">
                  <c:v>2</c:v>
                </c:pt>
                <c:pt idx="13089">
                  <c:v>1</c:v>
                </c:pt>
                <c:pt idx="13090">
                  <c:v>0</c:v>
                </c:pt>
                <c:pt idx="13091">
                  <c:v>4</c:v>
                </c:pt>
                <c:pt idx="13092">
                  <c:v>1</c:v>
                </c:pt>
                <c:pt idx="13093">
                  <c:v>1</c:v>
                </c:pt>
                <c:pt idx="13094">
                  <c:v>0</c:v>
                </c:pt>
                <c:pt idx="13095">
                  <c:v>380</c:v>
                </c:pt>
                <c:pt idx="13096">
                  <c:v>107</c:v>
                </c:pt>
                <c:pt idx="13097">
                  <c:v>161</c:v>
                </c:pt>
                <c:pt idx="13098">
                  <c:v>53</c:v>
                </c:pt>
                <c:pt idx="13099">
                  <c:v>106</c:v>
                </c:pt>
                <c:pt idx="13100">
                  <c:v>48</c:v>
                </c:pt>
                <c:pt idx="13101">
                  <c:v>43</c:v>
                </c:pt>
                <c:pt idx="13102">
                  <c:v>18</c:v>
                </c:pt>
                <c:pt idx="13103">
                  <c:v>30</c:v>
                </c:pt>
                <c:pt idx="13104">
                  <c:v>33</c:v>
                </c:pt>
                <c:pt idx="13105">
                  <c:v>17</c:v>
                </c:pt>
                <c:pt idx="13106">
                  <c:v>32</c:v>
                </c:pt>
                <c:pt idx="13107">
                  <c:v>23</c:v>
                </c:pt>
                <c:pt idx="13108">
                  <c:v>19</c:v>
                </c:pt>
                <c:pt idx="13109">
                  <c:v>17</c:v>
                </c:pt>
                <c:pt idx="13110">
                  <c:v>15</c:v>
                </c:pt>
                <c:pt idx="13111">
                  <c:v>5</c:v>
                </c:pt>
                <c:pt idx="13112">
                  <c:v>15</c:v>
                </c:pt>
                <c:pt idx="13113">
                  <c:v>14</c:v>
                </c:pt>
                <c:pt idx="13114">
                  <c:v>12</c:v>
                </c:pt>
                <c:pt idx="13115">
                  <c:v>9</c:v>
                </c:pt>
                <c:pt idx="13116">
                  <c:v>8</c:v>
                </c:pt>
                <c:pt idx="13117">
                  <c:v>9</c:v>
                </c:pt>
                <c:pt idx="13118">
                  <c:v>5</c:v>
                </c:pt>
                <c:pt idx="13119">
                  <c:v>5</c:v>
                </c:pt>
                <c:pt idx="13120">
                  <c:v>3</c:v>
                </c:pt>
                <c:pt idx="13121">
                  <c:v>5</c:v>
                </c:pt>
                <c:pt idx="13122">
                  <c:v>4</c:v>
                </c:pt>
                <c:pt idx="13123">
                  <c:v>2</c:v>
                </c:pt>
                <c:pt idx="13124">
                  <c:v>7</c:v>
                </c:pt>
                <c:pt idx="13125">
                  <c:v>7</c:v>
                </c:pt>
                <c:pt idx="13126">
                  <c:v>1</c:v>
                </c:pt>
                <c:pt idx="13127">
                  <c:v>1</c:v>
                </c:pt>
                <c:pt idx="13128">
                  <c:v>4</c:v>
                </c:pt>
                <c:pt idx="13129">
                  <c:v>3</c:v>
                </c:pt>
                <c:pt idx="13130">
                  <c:v>3</c:v>
                </c:pt>
                <c:pt idx="13131">
                  <c:v>4</c:v>
                </c:pt>
                <c:pt idx="13132">
                  <c:v>1</c:v>
                </c:pt>
                <c:pt idx="13133">
                  <c:v>3</c:v>
                </c:pt>
                <c:pt idx="13134">
                  <c:v>1</c:v>
                </c:pt>
                <c:pt idx="13135">
                  <c:v>1</c:v>
                </c:pt>
                <c:pt idx="13136">
                  <c:v>3</c:v>
                </c:pt>
                <c:pt idx="13137">
                  <c:v>2</c:v>
                </c:pt>
                <c:pt idx="13138">
                  <c:v>4</c:v>
                </c:pt>
                <c:pt idx="13139">
                  <c:v>3</c:v>
                </c:pt>
                <c:pt idx="13140">
                  <c:v>3</c:v>
                </c:pt>
                <c:pt idx="13141">
                  <c:v>2</c:v>
                </c:pt>
                <c:pt idx="13142">
                  <c:v>2</c:v>
                </c:pt>
                <c:pt idx="13143">
                  <c:v>2</c:v>
                </c:pt>
                <c:pt idx="13144">
                  <c:v>3</c:v>
                </c:pt>
                <c:pt idx="13145">
                  <c:v>1</c:v>
                </c:pt>
                <c:pt idx="13146">
                  <c:v>1</c:v>
                </c:pt>
                <c:pt idx="13147">
                  <c:v>1</c:v>
                </c:pt>
                <c:pt idx="13148">
                  <c:v>2</c:v>
                </c:pt>
                <c:pt idx="13149">
                  <c:v>1</c:v>
                </c:pt>
                <c:pt idx="13150">
                  <c:v>1</c:v>
                </c:pt>
                <c:pt idx="13151">
                  <c:v>2</c:v>
                </c:pt>
                <c:pt idx="13152">
                  <c:v>1</c:v>
                </c:pt>
                <c:pt idx="13153">
                  <c:v>0</c:v>
                </c:pt>
                <c:pt idx="13154">
                  <c:v>1</c:v>
                </c:pt>
                <c:pt idx="13155">
                  <c:v>1</c:v>
                </c:pt>
                <c:pt idx="13156">
                  <c:v>1</c:v>
                </c:pt>
                <c:pt idx="13157">
                  <c:v>1</c:v>
                </c:pt>
                <c:pt idx="13158">
                  <c:v>1</c:v>
                </c:pt>
                <c:pt idx="13159">
                  <c:v>1</c:v>
                </c:pt>
                <c:pt idx="13160">
                  <c:v>1</c:v>
                </c:pt>
                <c:pt idx="13161">
                  <c:v>1</c:v>
                </c:pt>
                <c:pt idx="13162">
                  <c:v>1</c:v>
                </c:pt>
                <c:pt idx="13163">
                  <c:v>1</c:v>
                </c:pt>
                <c:pt idx="13164">
                  <c:v>1</c:v>
                </c:pt>
                <c:pt idx="13165">
                  <c:v>0</c:v>
                </c:pt>
                <c:pt idx="13166">
                  <c:v>0</c:v>
                </c:pt>
                <c:pt idx="13167">
                  <c:v>0</c:v>
                </c:pt>
                <c:pt idx="13168">
                  <c:v>1</c:v>
                </c:pt>
                <c:pt idx="13169">
                  <c:v>1</c:v>
                </c:pt>
                <c:pt idx="13170">
                  <c:v>1</c:v>
                </c:pt>
                <c:pt idx="13171">
                  <c:v>0</c:v>
                </c:pt>
                <c:pt idx="13172">
                  <c:v>0</c:v>
                </c:pt>
                <c:pt idx="13173">
                  <c:v>0</c:v>
                </c:pt>
                <c:pt idx="13174">
                  <c:v>0</c:v>
                </c:pt>
                <c:pt idx="13175">
                  <c:v>0</c:v>
                </c:pt>
                <c:pt idx="13176">
                  <c:v>0</c:v>
                </c:pt>
                <c:pt idx="13177">
                  <c:v>0</c:v>
                </c:pt>
                <c:pt idx="13178">
                  <c:v>0</c:v>
                </c:pt>
                <c:pt idx="13179">
                  <c:v>0</c:v>
                </c:pt>
                <c:pt idx="13180">
                  <c:v>0</c:v>
                </c:pt>
                <c:pt idx="13181">
                  <c:v>0</c:v>
                </c:pt>
                <c:pt idx="13182">
                  <c:v>0</c:v>
                </c:pt>
                <c:pt idx="13183">
                  <c:v>0</c:v>
                </c:pt>
                <c:pt idx="13184">
                  <c:v>0</c:v>
                </c:pt>
                <c:pt idx="13185">
                  <c:v>0</c:v>
                </c:pt>
                <c:pt idx="13186">
                  <c:v>0</c:v>
                </c:pt>
                <c:pt idx="13187">
                  <c:v>0</c:v>
                </c:pt>
                <c:pt idx="13188">
                  <c:v>0</c:v>
                </c:pt>
                <c:pt idx="13189">
                  <c:v>0</c:v>
                </c:pt>
                <c:pt idx="13190">
                  <c:v>0</c:v>
                </c:pt>
                <c:pt idx="13191">
                  <c:v>0</c:v>
                </c:pt>
                <c:pt idx="13192">
                  <c:v>0</c:v>
                </c:pt>
                <c:pt idx="13193">
                  <c:v>0</c:v>
                </c:pt>
                <c:pt idx="13194">
                  <c:v>0</c:v>
                </c:pt>
                <c:pt idx="13195">
                  <c:v>20</c:v>
                </c:pt>
                <c:pt idx="13196">
                  <c:v>0</c:v>
                </c:pt>
                <c:pt idx="13197">
                  <c:v>0</c:v>
                </c:pt>
                <c:pt idx="13198">
                  <c:v>2</c:v>
                </c:pt>
              </c:numCache>
            </c:numRef>
          </c:xVal>
          <c:yVal>
            <c:numRef>
              <c:f>'Votes-Pictures outliers removed'!$C$2:$C$13200</c:f>
              <c:numCache>
                <c:formatCode>General</c:formatCode>
                <c:ptCount val="13199"/>
                <c:pt idx="0">
                  <c:v>154</c:v>
                </c:pt>
                <c:pt idx="1">
                  <c:v>161</c:v>
                </c:pt>
                <c:pt idx="2">
                  <c:v>107</c:v>
                </c:pt>
                <c:pt idx="3">
                  <c:v>157</c:v>
                </c:pt>
                <c:pt idx="4">
                  <c:v>291</c:v>
                </c:pt>
                <c:pt idx="5">
                  <c:v>62</c:v>
                </c:pt>
                <c:pt idx="6">
                  <c:v>46</c:v>
                </c:pt>
                <c:pt idx="7">
                  <c:v>18</c:v>
                </c:pt>
                <c:pt idx="8">
                  <c:v>14</c:v>
                </c:pt>
                <c:pt idx="9">
                  <c:v>324</c:v>
                </c:pt>
                <c:pt idx="10">
                  <c:v>229</c:v>
                </c:pt>
                <c:pt idx="11">
                  <c:v>162</c:v>
                </c:pt>
                <c:pt idx="12">
                  <c:v>99</c:v>
                </c:pt>
                <c:pt idx="13">
                  <c:v>9</c:v>
                </c:pt>
                <c:pt idx="14">
                  <c:v>52</c:v>
                </c:pt>
                <c:pt idx="15">
                  <c:v>17</c:v>
                </c:pt>
                <c:pt idx="16">
                  <c:v>105</c:v>
                </c:pt>
                <c:pt idx="17">
                  <c:v>45</c:v>
                </c:pt>
                <c:pt idx="18">
                  <c:v>86</c:v>
                </c:pt>
                <c:pt idx="19">
                  <c:v>77</c:v>
                </c:pt>
                <c:pt idx="20">
                  <c:v>52</c:v>
                </c:pt>
                <c:pt idx="21">
                  <c:v>54</c:v>
                </c:pt>
                <c:pt idx="22">
                  <c:v>690</c:v>
                </c:pt>
                <c:pt idx="23">
                  <c:v>3</c:v>
                </c:pt>
                <c:pt idx="24">
                  <c:v>14</c:v>
                </c:pt>
                <c:pt idx="25">
                  <c:v>109</c:v>
                </c:pt>
                <c:pt idx="26">
                  <c:v>61</c:v>
                </c:pt>
                <c:pt idx="27">
                  <c:v>192</c:v>
                </c:pt>
                <c:pt idx="28">
                  <c:v>26</c:v>
                </c:pt>
                <c:pt idx="29">
                  <c:v>235</c:v>
                </c:pt>
                <c:pt idx="30">
                  <c:v>10</c:v>
                </c:pt>
                <c:pt idx="31">
                  <c:v>51</c:v>
                </c:pt>
                <c:pt idx="32">
                  <c:v>22</c:v>
                </c:pt>
                <c:pt idx="33">
                  <c:v>47</c:v>
                </c:pt>
                <c:pt idx="34">
                  <c:v>267</c:v>
                </c:pt>
                <c:pt idx="35">
                  <c:v>4</c:v>
                </c:pt>
                <c:pt idx="36">
                  <c:v>499</c:v>
                </c:pt>
                <c:pt idx="37">
                  <c:v>5</c:v>
                </c:pt>
                <c:pt idx="38">
                  <c:v>50</c:v>
                </c:pt>
                <c:pt idx="39">
                  <c:v>32</c:v>
                </c:pt>
                <c:pt idx="40">
                  <c:v>210</c:v>
                </c:pt>
                <c:pt idx="41">
                  <c:v>9</c:v>
                </c:pt>
                <c:pt idx="42">
                  <c:v>482</c:v>
                </c:pt>
                <c:pt idx="43">
                  <c:v>38</c:v>
                </c:pt>
                <c:pt idx="44">
                  <c:v>142</c:v>
                </c:pt>
                <c:pt idx="45">
                  <c:v>12</c:v>
                </c:pt>
                <c:pt idx="46">
                  <c:v>48</c:v>
                </c:pt>
                <c:pt idx="47">
                  <c:v>266</c:v>
                </c:pt>
                <c:pt idx="48">
                  <c:v>9</c:v>
                </c:pt>
                <c:pt idx="49">
                  <c:v>32</c:v>
                </c:pt>
                <c:pt idx="50">
                  <c:v>294</c:v>
                </c:pt>
                <c:pt idx="51">
                  <c:v>10</c:v>
                </c:pt>
                <c:pt idx="52">
                  <c:v>22</c:v>
                </c:pt>
                <c:pt idx="53">
                  <c:v>31</c:v>
                </c:pt>
                <c:pt idx="54">
                  <c:v>140</c:v>
                </c:pt>
                <c:pt idx="55">
                  <c:v>77</c:v>
                </c:pt>
                <c:pt idx="56">
                  <c:v>18</c:v>
                </c:pt>
                <c:pt idx="57">
                  <c:v>154</c:v>
                </c:pt>
                <c:pt idx="58">
                  <c:v>169</c:v>
                </c:pt>
                <c:pt idx="59">
                  <c:v>235</c:v>
                </c:pt>
                <c:pt idx="60">
                  <c:v>50</c:v>
                </c:pt>
                <c:pt idx="61">
                  <c:v>146</c:v>
                </c:pt>
                <c:pt idx="62">
                  <c:v>17</c:v>
                </c:pt>
                <c:pt idx="63">
                  <c:v>2</c:v>
                </c:pt>
                <c:pt idx="64">
                  <c:v>220</c:v>
                </c:pt>
                <c:pt idx="65">
                  <c:v>76</c:v>
                </c:pt>
                <c:pt idx="66">
                  <c:v>116</c:v>
                </c:pt>
                <c:pt idx="67">
                  <c:v>45</c:v>
                </c:pt>
                <c:pt idx="68">
                  <c:v>79</c:v>
                </c:pt>
                <c:pt idx="69">
                  <c:v>84</c:v>
                </c:pt>
                <c:pt idx="70">
                  <c:v>8</c:v>
                </c:pt>
                <c:pt idx="71">
                  <c:v>4</c:v>
                </c:pt>
                <c:pt idx="72">
                  <c:v>78</c:v>
                </c:pt>
                <c:pt idx="73">
                  <c:v>91</c:v>
                </c:pt>
                <c:pt idx="74">
                  <c:v>43</c:v>
                </c:pt>
                <c:pt idx="75">
                  <c:v>224</c:v>
                </c:pt>
                <c:pt idx="76">
                  <c:v>38</c:v>
                </c:pt>
                <c:pt idx="77">
                  <c:v>20</c:v>
                </c:pt>
                <c:pt idx="78">
                  <c:v>31</c:v>
                </c:pt>
                <c:pt idx="79">
                  <c:v>60</c:v>
                </c:pt>
                <c:pt idx="80">
                  <c:v>100</c:v>
                </c:pt>
                <c:pt idx="81">
                  <c:v>9</c:v>
                </c:pt>
                <c:pt idx="82">
                  <c:v>51</c:v>
                </c:pt>
                <c:pt idx="83">
                  <c:v>35</c:v>
                </c:pt>
                <c:pt idx="84">
                  <c:v>47</c:v>
                </c:pt>
                <c:pt idx="85">
                  <c:v>29</c:v>
                </c:pt>
                <c:pt idx="86">
                  <c:v>81</c:v>
                </c:pt>
                <c:pt idx="87">
                  <c:v>81</c:v>
                </c:pt>
                <c:pt idx="88">
                  <c:v>23</c:v>
                </c:pt>
                <c:pt idx="89">
                  <c:v>41</c:v>
                </c:pt>
                <c:pt idx="90">
                  <c:v>38</c:v>
                </c:pt>
                <c:pt idx="91">
                  <c:v>13</c:v>
                </c:pt>
                <c:pt idx="92">
                  <c:v>73</c:v>
                </c:pt>
                <c:pt idx="93">
                  <c:v>16</c:v>
                </c:pt>
                <c:pt idx="94">
                  <c:v>205</c:v>
                </c:pt>
                <c:pt idx="95">
                  <c:v>132</c:v>
                </c:pt>
                <c:pt idx="96">
                  <c:v>44</c:v>
                </c:pt>
                <c:pt idx="97">
                  <c:v>4</c:v>
                </c:pt>
                <c:pt idx="98">
                  <c:v>109</c:v>
                </c:pt>
                <c:pt idx="99">
                  <c:v>59</c:v>
                </c:pt>
                <c:pt idx="100">
                  <c:v>105</c:v>
                </c:pt>
                <c:pt idx="101">
                  <c:v>49</c:v>
                </c:pt>
                <c:pt idx="102">
                  <c:v>4</c:v>
                </c:pt>
                <c:pt idx="103">
                  <c:v>7</c:v>
                </c:pt>
                <c:pt idx="104">
                  <c:v>121</c:v>
                </c:pt>
                <c:pt idx="105">
                  <c:v>19</c:v>
                </c:pt>
                <c:pt idx="106">
                  <c:v>8</c:v>
                </c:pt>
                <c:pt idx="107">
                  <c:v>53</c:v>
                </c:pt>
                <c:pt idx="108">
                  <c:v>86</c:v>
                </c:pt>
                <c:pt idx="109">
                  <c:v>48</c:v>
                </c:pt>
                <c:pt idx="110">
                  <c:v>26</c:v>
                </c:pt>
                <c:pt idx="111">
                  <c:v>18</c:v>
                </c:pt>
                <c:pt idx="112">
                  <c:v>8</c:v>
                </c:pt>
                <c:pt idx="113">
                  <c:v>2</c:v>
                </c:pt>
                <c:pt idx="114">
                  <c:v>5</c:v>
                </c:pt>
                <c:pt idx="115">
                  <c:v>68</c:v>
                </c:pt>
                <c:pt idx="116">
                  <c:v>60</c:v>
                </c:pt>
                <c:pt idx="117">
                  <c:v>162</c:v>
                </c:pt>
                <c:pt idx="118">
                  <c:v>2</c:v>
                </c:pt>
                <c:pt idx="119">
                  <c:v>13</c:v>
                </c:pt>
                <c:pt idx="120">
                  <c:v>388</c:v>
                </c:pt>
                <c:pt idx="121">
                  <c:v>62</c:v>
                </c:pt>
                <c:pt idx="122">
                  <c:v>26</c:v>
                </c:pt>
                <c:pt idx="123">
                  <c:v>16</c:v>
                </c:pt>
                <c:pt idx="124">
                  <c:v>40</c:v>
                </c:pt>
                <c:pt idx="125">
                  <c:v>21</c:v>
                </c:pt>
                <c:pt idx="126">
                  <c:v>8</c:v>
                </c:pt>
                <c:pt idx="127">
                  <c:v>15</c:v>
                </c:pt>
                <c:pt idx="128">
                  <c:v>8</c:v>
                </c:pt>
                <c:pt idx="129">
                  <c:v>3</c:v>
                </c:pt>
                <c:pt idx="130">
                  <c:v>5</c:v>
                </c:pt>
                <c:pt idx="131">
                  <c:v>0</c:v>
                </c:pt>
                <c:pt idx="132">
                  <c:v>0</c:v>
                </c:pt>
                <c:pt idx="133">
                  <c:v>2</c:v>
                </c:pt>
                <c:pt idx="134">
                  <c:v>35</c:v>
                </c:pt>
                <c:pt idx="135">
                  <c:v>11</c:v>
                </c:pt>
                <c:pt idx="136">
                  <c:v>8</c:v>
                </c:pt>
                <c:pt idx="137">
                  <c:v>13</c:v>
                </c:pt>
                <c:pt idx="138">
                  <c:v>27</c:v>
                </c:pt>
                <c:pt idx="139">
                  <c:v>43</c:v>
                </c:pt>
                <c:pt idx="140">
                  <c:v>133</c:v>
                </c:pt>
                <c:pt idx="141">
                  <c:v>66</c:v>
                </c:pt>
                <c:pt idx="142">
                  <c:v>38</c:v>
                </c:pt>
                <c:pt idx="143">
                  <c:v>62</c:v>
                </c:pt>
                <c:pt idx="144">
                  <c:v>10</c:v>
                </c:pt>
                <c:pt idx="145">
                  <c:v>10</c:v>
                </c:pt>
                <c:pt idx="146">
                  <c:v>14</c:v>
                </c:pt>
                <c:pt idx="147">
                  <c:v>7</c:v>
                </c:pt>
                <c:pt idx="148">
                  <c:v>1</c:v>
                </c:pt>
                <c:pt idx="149">
                  <c:v>1</c:v>
                </c:pt>
                <c:pt idx="150">
                  <c:v>12</c:v>
                </c:pt>
                <c:pt idx="151">
                  <c:v>9</c:v>
                </c:pt>
                <c:pt idx="152">
                  <c:v>0</c:v>
                </c:pt>
                <c:pt idx="153">
                  <c:v>5</c:v>
                </c:pt>
                <c:pt idx="154">
                  <c:v>2</c:v>
                </c:pt>
                <c:pt idx="155">
                  <c:v>0</c:v>
                </c:pt>
                <c:pt idx="156">
                  <c:v>46</c:v>
                </c:pt>
                <c:pt idx="157">
                  <c:v>11</c:v>
                </c:pt>
                <c:pt idx="158">
                  <c:v>7</c:v>
                </c:pt>
                <c:pt idx="159">
                  <c:v>2</c:v>
                </c:pt>
                <c:pt idx="160">
                  <c:v>10</c:v>
                </c:pt>
                <c:pt idx="161">
                  <c:v>3</c:v>
                </c:pt>
                <c:pt idx="162">
                  <c:v>16</c:v>
                </c:pt>
                <c:pt idx="163">
                  <c:v>18</c:v>
                </c:pt>
                <c:pt idx="164">
                  <c:v>29</c:v>
                </c:pt>
                <c:pt idx="165">
                  <c:v>10</c:v>
                </c:pt>
                <c:pt idx="166">
                  <c:v>0</c:v>
                </c:pt>
                <c:pt idx="167">
                  <c:v>1</c:v>
                </c:pt>
                <c:pt idx="168">
                  <c:v>6</c:v>
                </c:pt>
                <c:pt idx="169">
                  <c:v>0</c:v>
                </c:pt>
                <c:pt idx="170">
                  <c:v>0</c:v>
                </c:pt>
                <c:pt idx="171">
                  <c:v>14</c:v>
                </c:pt>
                <c:pt idx="172">
                  <c:v>31</c:v>
                </c:pt>
                <c:pt idx="173">
                  <c:v>20</c:v>
                </c:pt>
                <c:pt idx="174">
                  <c:v>3</c:v>
                </c:pt>
                <c:pt idx="175">
                  <c:v>8</c:v>
                </c:pt>
                <c:pt idx="176">
                  <c:v>73</c:v>
                </c:pt>
                <c:pt idx="177">
                  <c:v>67</c:v>
                </c:pt>
                <c:pt idx="178">
                  <c:v>9</c:v>
                </c:pt>
                <c:pt idx="179">
                  <c:v>36</c:v>
                </c:pt>
                <c:pt idx="180">
                  <c:v>27</c:v>
                </c:pt>
                <c:pt idx="181">
                  <c:v>29</c:v>
                </c:pt>
                <c:pt idx="182">
                  <c:v>18</c:v>
                </c:pt>
                <c:pt idx="183">
                  <c:v>1</c:v>
                </c:pt>
                <c:pt idx="184">
                  <c:v>1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3</c:v>
                </c:pt>
                <c:pt idx="190">
                  <c:v>3</c:v>
                </c:pt>
                <c:pt idx="191">
                  <c:v>11</c:v>
                </c:pt>
                <c:pt idx="192">
                  <c:v>16</c:v>
                </c:pt>
                <c:pt idx="193">
                  <c:v>23</c:v>
                </c:pt>
                <c:pt idx="194">
                  <c:v>2</c:v>
                </c:pt>
                <c:pt idx="195">
                  <c:v>1</c:v>
                </c:pt>
                <c:pt idx="196">
                  <c:v>4</c:v>
                </c:pt>
                <c:pt idx="197">
                  <c:v>3</c:v>
                </c:pt>
                <c:pt idx="198">
                  <c:v>2</c:v>
                </c:pt>
                <c:pt idx="199">
                  <c:v>9</c:v>
                </c:pt>
                <c:pt idx="200">
                  <c:v>2</c:v>
                </c:pt>
                <c:pt idx="201">
                  <c:v>0</c:v>
                </c:pt>
                <c:pt idx="202">
                  <c:v>9</c:v>
                </c:pt>
                <c:pt idx="203">
                  <c:v>0</c:v>
                </c:pt>
                <c:pt idx="204">
                  <c:v>0</c:v>
                </c:pt>
                <c:pt idx="205">
                  <c:v>2</c:v>
                </c:pt>
                <c:pt idx="206">
                  <c:v>1</c:v>
                </c:pt>
                <c:pt idx="207">
                  <c:v>36</c:v>
                </c:pt>
                <c:pt idx="208">
                  <c:v>2</c:v>
                </c:pt>
                <c:pt idx="209">
                  <c:v>4</c:v>
                </c:pt>
                <c:pt idx="210">
                  <c:v>9</c:v>
                </c:pt>
                <c:pt idx="211">
                  <c:v>3</c:v>
                </c:pt>
                <c:pt idx="212">
                  <c:v>4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1</c:v>
                </c:pt>
                <c:pt idx="217">
                  <c:v>1</c:v>
                </c:pt>
                <c:pt idx="218">
                  <c:v>2</c:v>
                </c:pt>
                <c:pt idx="219">
                  <c:v>2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4</c:v>
                </c:pt>
                <c:pt idx="224">
                  <c:v>0</c:v>
                </c:pt>
                <c:pt idx="225">
                  <c:v>0</c:v>
                </c:pt>
                <c:pt idx="226">
                  <c:v>1</c:v>
                </c:pt>
                <c:pt idx="227">
                  <c:v>2</c:v>
                </c:pt>
                <c:pt idx="228">
                  <c:v>5</c:v>
                </c:pt>
                <c:pt idx="229">
                  <c:v>3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2</c:v>
                </c:pt>
                <c:pt idx="244">
                  <c:v>2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2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2</c:v>
                </c:pt>
                <c:pt idx="254">
                  <c:v>1</c:v>
                </c:pt>
                <c:pt idx="255">
                  <c:v>5</c:v>
                </c:pt>
                <c:pt idx="256">
                  <c:v>2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2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1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3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54</c:v>
                </c:pt>
                <c:pt idx="284">
                  <c:v>2</c:v>
                </c:pt>
                <c:pt idx="285">
                  <c:v>174</c:v>
                </c:pt>
                <c:pt idx="286">
                  <c:v>58</c:v>
                </c:pt>
                <c:pt idx="287">
                  <c:v>1</c:v>
                </c:pt>
                <c:pt idx="288">
                  <c:v>1</c:v>
                </c:pt>
                <c:pt idx="289">
                  <c:v>26</c:v>
                </c:pt>
                <c:pt idx="290">
                  <c:v>2</c:v>
                </c:pt>
                <c:pt idx="291">
                  <c:v>1</c:v>
                </c:pt>
                <c:pt idx="292">
                  <c:v>39</c:v>
                </c:pt>
                <c:pt idx="293">
                  <c:v>118</c:v>
                </c:pt>
                <c:pt idx="294">
                  <c:v>7</c:v>
                </c:pt>
                <c:pt idx="295">
                  <c:v>81</c:v>
                </c:pt>
                <c:pt idx="296">
                  <c:v>23</c:v>
                </c:pt>
                <c:pt idx="297">
                  <c:v>58</c:v>
                </c:pt>
                <c:pt idx="298">
                  <c:v>95</c:v>
                </c:pt>
                <c:pt idx="299">
                  <c:v>44</c:v>
                </c:pt>
                <c:pt idx="300">
                  <c:v>18</c:v>
                </c:pt>
                <c:pt idx="301">
                  <c:v>1</c:v>
                </c:pt>
                <c:pt idx="302">
                  <c:v>20</c:v>
                </c:pt>
                <c:pt idx="303">
                  <c:v>13</c:v>
                </c:pt>
                <c:pt idx="304">
                  <c:v>17</c:v>
                </c:pt>
                <c:pt idx="305">
                  <c:v>6</c:v>
                </c:pt>
                <c:pt idx="306">
                  <c:v>29</c:v>
                </c:pt>
                <c:pt idx="307">
                  <c:v>21</c:v>
                </c:pt>
                <c:pt idx="308">
                  <c:v>26</c:v>
                </c:pt>
                <c:pt idx="309">
                  <c:v>2</c:v>
                </c:pt>
                <c:pt idx="310">
                  <c:v>15</c:v>
                </c:pt>
                <c:pt idx="311">
                  <c:v>15</c:v>
                </c:pt>
                <c:pt idx="312">
                  <c:v>5</c:v>
                </c:pt>
                <c:pt idx="313">
                  <c:v>13</c:v>
                </c:pt>
                <c:pt idx="314">
                  <c:v>27</c:v>
                </c:pt>
                <c:pt idx="315">
                  <c:v>10</c:v>
                </c:pt>
                <c:pt idx="316">
                  <c:v>13</c:v>
                </c:pt>
                <c:pt idx="317">
                  <c:v>14</c:v>
                </c:pt>
                <c:pt idx="318">
                  <c:v>10</c:v>
                </c:pt>
                <c:pt idx="319">
                  <c:v>4</c:v>
                </c:pt>
                <c:pt idx="320">
                  <c:v>0</c:v>
                </c:pt>
                <c:pt idx="321">
                  <c:v>3</c:v>
                </c:pt>
                <c:pt idx="322">
                  <c:v>12</c:v>
                </c:pt>
                <c:pt idx="323">
                  <c:v>2</c:v>
                </c:pt>
                <c:pt idx="324">
                  <c:v>13</c:v>
                </c:pt>
                <c:pt idx="325">
                  <c:v>0</c:v>
                </c:pt>
                <c:pt idx="326">
                  <c:v>5</c:v>
                </c:pt>
                <c:pt idx="327">
                  <c:v>3</c:v>
                </c:pt>
                <c:pt idx="328">
                  <c:v>4</c:v>
                </c:pt>
                <c:pt idx="329">
                  <c:v>8</c:v>
                </c:pt>
                <c:pt idx="330">
                  <c:v>10</c:v>
                </c:pt>
                <c:pt idx="331">
                  <c:v>8</c:v>
                </c:pt>
                <c:pt idx="332">
                  <c:v>23</c:v>
                </c:pt>
                <c:pt idx="333">
                  <c:v>12</c:v>
                </c:pt>
                <c:pt idx="334">
                  <c:v>3</c:v>
                </c:pt>
                <c:pt idx="335">
                  <c:v>8</c:v>
                </c:pt>
                <c:pt idx="336">
                  <c:v>12</c:v>
                </c:pt>
                <c:pt idx="337">
                  <c:v>6</c:v>
                </c:pt>
                <c:pt idx="338">
                  <c:v>2</c:v>
                </c:pt>
                <c:pt idx="339">
                  <c:v>4</c:v>
                </c:pt>
                <c:pt idx="340">
                  <c:v>18</c:v>
                </c:pt>
                <c:pt idx="341">
                  <c:v>0</c:v>
                </c:pt>
                <c:pt idx="342">
                  <c:v>2</c:v>
                </c:pt>
                <c:pt idx="343">
                  <c:v>6</c:v>
                </c:pt>
                <c:pt idx="344">
                  <c:v>0</c:v>
                </c:pt>
                <c:pt idx="345">
                  <c:v>1</c:v>
                </c:pt>
                <c:pt idx="346">
                  <c:v>4</c:v>
                </c:pt>
                <c:pt idx="347">
                  <c:v>11</c:v>
                </c:pt>
                <c:pt idx="348">
                  <c:v>14</c:v>
                </c:pt>
                <c:pt idx="349">
                  <c:v>14</c:v>
                </c:pt>
                <c:pt idx="350">
                  <c:v>7</c:v>
                </c:pt>
                <c:pt idx="351">
                  <c:v>10</c:v>
                </c:pt>
                <c:pt idx="352">
                  <c:v>17</c:v>
                </c:pt>
                <c:pt idx="353">
                  <c:v>38</c:v>
                </c:pt>
                <c:pt idx="354">
                  <c:v>2</c:v>
                </c:pt>
                <c:pt idx="355">
                  <c:v>16</c:v>
                </c:pt>
                <c:pt idx="356">
                  <c:v>0</c:v>
                </c:pt>
                <c:pt idx="357">
                  <c:v>11</c:v>
                </c:pt>
                <c:pt idx="358">
                  <c:v>17</c:v>
                </c:pt>
                <c:pt idx="359">
                  <c:v>9</c:v>
                </c:pt>
                <c:pt idx="360">
                  <c:v>10</c:v>
                </c:pt>
                <c:pt idx="361">
                  <c:v>6</c:v>
                </c:pt>
                <c:pt idx="362">
                  <c:v>28</c:v>
                </c:pt>
                <c:pt idx="363">
                  <c:v>2</c:v>
                </c:pt>
                <c:pt idx="364">
                  <c:v>5</c:v>
                </c:pt>
                <c:pt idx="365">
                  <c:v>10</c:v>
                </c:pt>
                <c:pt idx="366">
                  <c:v>15</c:v>
                </c:pt>
                <c:pt idx="367">
                  <c:v>5</c:v>
                </c:pt>
                <c:pt idx="368">
                  <c:v>13</c:v>
                </c:pt>
                <c:pt idx="369">
                  <c:v>0</c:v>
                </c:pt>
                <c:pt idx="370">
                  <c:v>9</c:v>
                </c:pt>
                <c:pt idx="371">
                  <c:v>1</c:v>
                </c:pt>
                <c:pt idx="372">
                  <c:v>10</c:v>
                </c:pt>
                <c:pt idx="373">
                  <c:v>1</c:v>
                </c:pt>
                <c:pt idx="374">
                  <c:v>0</c:v>
                </c:pt>
                <c:pt idx="375">
                  <c:v>9</c:v>
                </c:pt>
                <c:pt idx="376">
                  <c:v>1</c:v>
                </c:pt>
                <c:pt idx="377">
                  <c:v>0</c:v>
                </c:pt>
                <c:pt idx="378">
                  <c:v>4</c:v>
                </c:pt>
                <c:pt idx="379">
                  <c:v>6</c:v>
                </c:pt>
                <c:pt idx="380">
                  <c:v>0</c:v>
                </c:pt>
                <c:pt idx="381">
                  <c:v>0</c:v>
                </c:pt>
                <c:pt idx="382">
                  <c:v>9</c:v>
                </c:pt>
                <c:pt idx="383">
                  <c:v>0</c:v>
                </c:pt>
                <c:pt idx="384">
                  <c:v>5</c:v>
                </c:pt>
                <c:pt idx="385">
                  <c:v>2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1</c:v>
                </c:pt>
                <c:pt idx="391">
                  <c:v>0</c:v>
                </c:pt>
                <c:pt idx="392">
                  <c:v>2</c:v>
                </c:pt>
                <c:pt idx="393">
                  <c:v>8</c:v>
                </c:pt>
                <c:pt idx="394">
                  <c:v>7</c:v>
                </c:pt>
                <c:pt idx="395">
                  <c:v>11</c:v>
                </c:pt>
                <c:pt idx="396">
                  <c:v>5</c:v>
                </c:pt>
                <c:pt idx="397">
                  <c:v>20</c:v>
                </c:pt>
                <c:pt idx="398">
                  <c:v>16</c:v>
                </c:pt>
                <c:pt idx="399">
                  <c:v>6</c:v>
                </c:pt>
                <c:pt idx="400">
                  <c:v>48</c:v>
                </c:pt>
                <c:pt idx="401">
                  <c:v>2</c:v>
                </c:pt>
                <c:pt idx="402">
                  <c:v>66</c:v>
                </c:pt>
                <c:pt idx="403">
                  <c:v>42</c:v>
                </c:pt>
                <c:pt idx="404">
                  <c:v>90</c:v>
                </c:pt>
                <c:pt idx="405">
                  <c:v>9</c:v>
                </c:pt>
                <c:pt idx="406">
                  <c:v>124</c:v>
                </c:pt>
                <c:pt idx="407">
                  <c:v>18</c:v>
                </c:pt>
                <c:pt idx="408">
                  <c:v>8</c:v>
                </c:pt>
                <c:pt idx="409">
                  <c:v>27</c:v>
                </c:pt>
                <c:pt idx="410">
                  <c:v>13</c:v>
                </c:pt>
                <c:pt idx="411">
                  <c:v>2</c:v>
                </c:pt>
                <c:pt idx="412">
                  <c:v>10</c:v>
                </c:pt>
                <c:pt idx="413">
                  <c:v>8</c:v>
                </c:pt>
                <c:pt idx="414">
                  <c:v>75</c:v>
                </c:pt>
                <c:pt idx="415">
                  <c:v>40</c:v>
                </c:pt>
                <c:pt idx="416">
                  <c:v>22</c:v>
                </c:pt>
                <c:pt idx="417">
                  <c:v>7</c:v>
                </c:pt>
                <c:pt idx="418">
                  <c:v>25</c:v>
                </c:pt>
                <c:pt idx="419">
                  <c:v>66</c:v>
                </c:pt>
                <c:pt idx="420">
                  <c:v>8</c:v>
                </c:pt>
                <c:pt idx="421">
                  <c:v>29</c:v>
                </c:pt>
                <c:pt idx="422">
                  <c:v>14</c:v>
                </c:pt>
                <c:pt idx="423">
                  <c:v>18</c:v>
                </c:pt>
                <c:pt idx="424">
                  <c:v>6</c:v>
                </c:pt>
                <c:pt idx="425">
                  <c:v>7</c:v>
                </c:pt>
                <c:pt idx="426">
                  <c:v>5</c:v>
                </c:pt>
                <c:pt idx="427">
                  <c:v>54</c:v>
                </c:pt>
                <c:pt idx="428">
                  <c:v>16</c:v>
                </c:pt>
                <c:pt idx="429">
                  <c:v>3</c:v>
                </c:pt>
                <c:pt idx="430">
                  <c:v>40</c:v>
                </c:pt>
                <c:pt idx="431">
                  <c:v>14</c:v>
                </c:pt>
                <c:pt idx="432">
                  <c:v>36</c:v>
                </c:pt>
                <c:pt idx="433">
                  <c:v>38</c:v>
                </c:pt>
                <c:pt idx="434">
                  <c:v>0</c:v>
                </c:pt>
                <c:pt idx="435">
                  <c:v>24</c:v>
                </c:pt>
                <c:pt idx="436">
                  <c:v>14</c:v>
                </c:pt>
                <c:pt idx="437">
                  <c:v>21</c:v>
                </c:pt>
                <c:pt idx="438">
                  <c:v>65</c:v>
                </c:pt>
                <c:pt idx="439">
                  <c:v>18</c:v>
                </c:pt>
                <c:pt idx="440">
                  <c:v>41</c:v>
                </c:pt>
                <c:pt idx="441">
                  <c:v>79</c:v>
                </c:pt>
                <c:pt idx="442">
                  <c:v>27</c:v>
                </c:pt>
                <c:pt idx="443">
                  <c:v>38</c:v>
                </c:pt>
                <c:pt idx="444">
                  <c:v>58</c:v>
                </c:pt>
                <c:pt idx="445">
                  <c:v>1</c:v>
                </c:pt>
                <c:pt idx="446">
                  <c:v>7</c:v>
                </c:pt>
                <c:pt idx="447">
                  <c:v>22</c:v>
                </c:pt>
                <c:pt idx="448">
                  <c:v>10</c:v>
                </c:pt>
                <c:pt idx="449">
                  <c:v>12</c:v>
                </c:pt>
                <c:pt idx="450">
                  <c:v>16</c:v>
                </c:pt>
                <c:pt idx="451">
                  <c:v>3</c:v>
                </c:pt>
                <c:pt idx="452">
                  <c:v>23</c:v>
                </c:pt>
                <c:pt idx="453">
                  <c:v>34</c:v>
                </c:pt>
                <c:pt idx="454">
                  <c:v>4</c:v>
                </c:pt>
                <c:pt idx="455">
                  <c:v>6</c:v>
                </c:pt>
                <c:pt idx="456">
                  <c:v>14</c:v>
                </c:pt>
                <c:pt idx="457">
                  <c:v>81</c:v>
                </c:pt>
                <c:pt idx="458">
                  <c:v>80</c:v>
                </c:pt>
                <c:pt idx="459">
                  <c:v>15</c:v>
                </c:pt>
                <c:pt idx="460">
                  <c:v>4</c:v>
                </c:pt>
                <c:pt idx="461">
                  <c:v>0</c:v>
                </c:pt>
                <c:pt idx="462">
                  <c:v>9</c:v>
                </c:pt>
                <c:pt idx="463">
                  <c:v>123</c:v>
                </c:pt>
                <c:pt idx="464">
                  <c:v>24</c:v>
                </c:pt>
                <c:pt idx="465">
                  <c:v>22</c:v>
                </c:pt>
                <c:pt idx="466">
                  <c:v>46</c:v>
                </c:pt>
                <c:pt idx="467">
                  <c:v>12</c:v>
                </c:pt>
                <c:pt idx="468">
                  <c:v>30</c:v>
                </c:pt>
                <c:pt idx="469">
                  <c:v>8</c:v>
                </c:pt>
                <c:pt idx="470">
                  <c:v>22</c:v>
                </c:pt>
                <c:pt idx="471">
                  <c:v>9</c:v>
                </c:pt>
                <c:pt idx="472">
                  <c:v>5</c:v>
                </c:pt>
                <c:pt idx="473">
                  <c:v>19</c:v>
                </c:pt>
                <c:pt idx="474">
                  <c:v>39</c:v>
                </c:pt>
                <c:pt idx="475">
                  <c:v>11</c:v>
                </c:pt>
                <c:pt idx="476">
                  <c:v>3</c:v>
                </c:pt>
                <c:pt idx="477">
                  <c:v>73</c:v>
                </c:pt>
                <c:pt idx="478">
                  <c:v>29</c:v>
                </c:pt>
                <c:pt idx="479">
                  <c:v>4</c:v>
                </c:pt>
                <c:pt idx="480">
                  <c:v>4</c:v>
                </c:pt>
                <c:pt idx="481">
                  <c:v>4</c:v>
                </c:pt>
                <c:pt idx="482">
                  <c:v>43</c:v>
                </c:pt>
                <c:pt idx="483">
                  <c:v>18</c:v>
                </c:pt>
                <c:pt idx="484">
                  <c:v>12</c:v>
                </c:pt>
                <c:pt idx="485">
                  <c:v>9</c:v>
                </c:pt>
                <c:pt idx="486">
                  <c:v>17</c:v>
                </c:pt>
                <c:pt idx="487">
                  <c:v>10</c:v>
                </c:pt>
                <c:pt idx="488">
                  <c:v>10</c:v>
                </c:pt>
                <c:pt idx="489">
                  <c:v>4</c:v>
                </c:pt>
                <c:pt idx="490">
                  <c:v>29</c:v>
                </c:pt>
                <c:pt idx="491">
                  <c:v>24</c:v>
                </c:pt>
                <c:pt idx="492">
                  <c:v>25</c:v>
                </c:pt>
                <c:pt idx="493">
                  <c:v>23</c:v>
                </c:pt>
                <c:pt idx="494">
                  <c:v>0</c:v>
                </c:pt>
                <c:pt idx="495">
                  <c:v>4</c:v>
                </c:pt>
                <c:pt idx="496">
                  <c:v>4</c:v>
                </c:pt>
                <c:pt idx="497">
                  <c:v>5</c:v>
                </c:pt>
                <c:pt idx="498">
                  <c:v>1</c:v>
                </c:pt>
                <c:pt idx="499">
                  <c:v>2</c:v>
                </c:pt>
                <c:pt idx="500">
                  <c:v>3</c:v>
                </c:pt>
                <c:pt idx="501">
                  <c:v>8</c:v>
                </c:pt>
                <c:pt idx="502">
                  <c:v>4</c:v>
                </c:pt>
                <c:pt idx="503">
                  <c:v>0</c:v>
                </c:pt>
                <c:pt idx="504">
                  <c:v>44</c:v>
                </c:pt>
                <c:pt idx="505">
                  <c:v>23</c:v>
                </c:pt>
                <c:pt idx="506">
                  <c:v>97</c:v>
                </c:pt>
                <c:pt idx="507">
                  <c:v>35</c:v>
                </c:pt>
                <c:pt idx="508">
                  <c:v>77</c:v>
                </c:pt>
                <c:pt idx="509">
                  <c:v>39</c:v>
                </c:pt>
                <c:pt idx="510">
                  <c:v>35</c:v>
                </c:pt>
                <c:pt idx="511">
                  <c:v>50</c:v>
                </c:pt>
                <c:pt idx="512">
                  <c:v>14</c:v>
                </c:pt>
                <c:pt idx="513">
                  <c:v>24</c:v>
                </c:pt>
                <c:pt idx="514">
                  <c:v>60</c:v>
                </c:pt>
                <c:pt idx="515">
                  <c:v>35</c:v>
                </c:pt>
                <c:pt idx="516">
                  <c:v>25</c:v>
                </c:pt>
                <c:pt idx="517">
                  <c:v>67</c:v>
                </c:pt>
                <c:pt idx="518">
                  <c:v>46</c:v>
                </c:pt>
                <c:pt idx="519">
                  <c:v>8</c:v>
                </c:pt>
                <c:pt idx="520">
                  <c:v>33</c:v>
                </c:pt>
                <c:pt idx="521">
                  <c:v>10</c:v>
                </c:pt>
                <c:pt idx="522">
                  <c:v>2</c:v>
                </c:pt>
                <c:pt idx="523">
                  <c:v>1</c:v>
                </c:pt>
                <c:pt idx="524">
                  <c:v>3</c:v>
                </c:pt>
                <c:pt idx="525">
                  <c:v>5</c:v>
                </c:pt>
                <c:pt idx="526">
                  <c:v>2</c:v>
                </c:pt>
                <c:pt idx="527">
                  <c:v>2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59</c:v>
                </c:pt>
                <c:pt idx="532">
                  <c:v>50</c:v>
                </c:pt>
                <c:pt idx="533">
                  <c:v>3</c:v>
                </c:pt>
                <c:pt idx="534">
                  <c:v>19</c:v>
                </c:pt>
                <c:pt idx="535">
                  <c:v>17</c:v>
                </c:pt>
                <c:pt idx="536">
                  <c:v>16</c:v>
                </c:pt>
                <c:pt idx="537">
                  <c:v>3</c:v>
                </c:pt>
                <c:pt idx="538">
                  <c:v>1</c:v>
                </c:pt>
                <c:pt idx="539">
                  <c:v>15</c:v>
                </c:pt>
                <c:pt idx="540">
                  <c:v>1</c:v>
                </c:pt>
                <c:pt idx="541">
                  <c:v>2</c:v>
                </c:pt>
                <c:pt idx="542">
                  <c:v>10</c:v>
                </c:pt>
                <c:pt idx="543">
                  <c:v>10</c:v>
                </c:pt>
                <c:pt idx="544">
                  <c:v>2</c:v>
                </c:pt>
                <c:pt idx="545">
                  <c:v>1</c:v>
                </c:pt>
                <c:pt idx="546">
                  <c:v>3</c:v>
                </c:pt>
                <c:pt idx="547">
                  <c:v>0</c:v>
                </c:pt>
                <c:pt idx="548">
                  <c:v>4</c:v>
                </c:pt>
                <c:pt idx="549">
                  <c:v>1</c:v>
                </c:pt>
                <c:pt idx="550">
                  <c:v>0</c:v>
                </c:pt>
                <c:pt idx="551">
                  <c:v>1</c:v>
                </c:pt>
                <c:pt idx="552">
                  <c:v>0</c:v>
                </c:pt>
                <c:pt idx="553">
                  <c:v>7</c:v>
                </c:pt>
                <c:pt idx="554">
                  <c:v>0</c:v>
                </c:pt>
                <c:pt idx="555">
                  <c:v>0</c:v>
                </c:pt>
                <c:pt idx="556">
                  <c:v>1</c:v>
                </c:pt>
                <c:pt idx="557">
                  <c:v>2</c:v>
                </c:pt>
                <c:pt idx="558">
                  <c:v>1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10</c:v>
                </c:pt>
                <c:pt idx="564">
                  <c:v>165</c:v>
                </c:pt>
                <c:pt idx="565">
                  <c:v>9</c:v>
                </c:pt>
                <c:pt idx="566">
                  <c:v>1</c:v>
                </c:pt>
                <c:pt idx="567">
                  <c:v>5</c:v>
                </c:pt>
                <c:pt idx="568">
                  <c:v>30</c:v>
                </c:pt>
                <c:pt idx="569">
                  <c:v>21</c:v>
                </c:pt>
                <c:pt idx="570">
                  <c:v>4</c:v>
                </c:pt>
                <c:pt idx="571">
                  <c:v>24</c:v>
                </c:pt>
                <c:pt idx="572">
                  <c:v>2</c:v>
                </c:pt>
                <c:pt idx="573">
                  <c:v>14</c:v>
                </c:pt>
                <c:pt idx="574">
                  <c:v>15</c:v>
                </c:pt>
                <c:pt idx="575">
                  <c:v>7</c:v>
                </c:pt>
                <c:pt idx="576">
                  <c:v>27</c:v>
                </c:pt>
                <c:pt idx="577">
                  <c:v>2</c:v>
                </c:pt>
                <c:pt idx="578">
                  <c:v>0</c:v>
                </c:pt>
                <c:pt idx="579">
                  <c:v>2</c:v>
                </c:pt>
                <c:pt idx="580">
                  <c:v>4</c:v>
                </c:pt>
                <c:pt idx="581">
                  <c:v>7</c:v>
                </c:pt>
                <c:pt idx="582">
                  <c:v>0</c:v>
                </c:pt>
                <c:pt idx="583">
                  <c:v>21</c:v>
                </c:pt>
                <c:pt idx="584">
                  <c:v>1</c:v>
                </c:pt>
                <c:pt idx="585">
                  <c:v>11</c:v>
                </c:pt>
                <c:pt idx="586">
                  <c:v>1</c:v>
                </c:pt>
                <c:pt idx="587">
                  <c:v>5</c:v>
                </c:pt>
                <c:pt idx="588">
                  <c:v>0</c:v>
                </c:pt>
                <c:pt idx="589">
                  <c:v>4</c:v>
                </c:pt>
                <c:pt idx="590">
                  <c:v>2</c:v>
                </c:pt>
                <c:pt idx="591">
                  <c:v>12</c:v>
                </c:pt>
                <c:pt idx="592">
                  <c:v>0</c:v>
                </c:pt>
                <c:pt idx="593">
                  <c:v>2</c:v>
                </c:pt>
                <c:pt idx="594">
                  <c:v>1</c:v>
                </c:pt>
                <c:pt idx="595">
                  <c:v>7</c:v>
                </c:pt>
                <c:pt idx="596">
                  <c:v>1</c:v>
                </c:pt>
                <c:pt idx="597">
                  <c:v>5</c:v>
                </c:pt>
                <c:pt idx="598">
                  <c:v>0</c:v>
                </c:pt>
                <c:pt idx="599">
                  <c:v>0</c:v>
                </c:pt>
                <c:pt idx="600">
                  <c:v>5</c:v>
                </c:pt>
                <c:pt idx="601">
                  <c:v>0</c:v>
                </c:pt>
                <c:pt idx="602">
                  <c:v>0</c:v>
                </c:pt>
                <c:pt idx="603">
                  <c:v>2</c:v>
                </c:pt>
                <c:pt idx="604">
                  <c:v>0</c:v>
                </c:pt>
                <c:pt idx="605">
                  <c:v>0</c:v>
                </c:pt>
                <c:pt idx="606">
                  <c:v>0</c:v>
                </c:pt>
                <c:pt idx="607">
                  <c:v>0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3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2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3</c:v>
                </c:pt>
                <c:pt idx="633">
                  <c:v>9</c:v>
                </c:pt>
                <c:pt idx="634">
                  <c:v>4</c:v>
                </c:pt>
                <c:pt idx="635">
                  <c:v>5</c:v>
                </c:pt>
                <c:pt idx="636">
                  <c:v>1</c:v>
                </c:pt>
                <c:pt idx="637">
                  <c:v>6</c:v>
                </c:pt>
                <c:pt idx="638">
                  <c:v>4</c:v>
                </c:pt>
                <c:pt idx="639">
                  <c:v>3</c:v>
                </c:pt>
                <c:pt idx="640">
                  <c:v>0</c:v>
                </c:pt>
                <c:pt idx="641">
                  <c:v>8</c:v>
                </c:pt>
                <c:pt idx="642">
                  <c:v>0</c:v>
                </c:pt>
                <c:pt idx="643">
                  <c:v>2</c:v>
                </c:pt>
                <c:pt idx="644">
                  <c:v>4</c:v>
                </c:pt>
                <c:pt idx="645">
                  <c:v>0</c:v>
                </c:pt>
                <c:pt idx="646">
                  <c:v>3</c:v>
                </c:pt>
                <c:pt idx="647">
                  <c:v>5</c:v>
                </c:pt>
                <c:pt idx="648">
                  <c:v>0</c:v>
                </c:pt>
                <c:pt idx="649">
                  <c:v>2</c:v>
                </c:pt>
                <c:pt idx="650">
                  <c:v>5</c:v>
                </c:pt>
                <c:pt idx="651">
                  <c:v>0</c:v>
                </c:pt>
                <c:pt idx="652">
                  <c:v>0</c:v>
                </c:pt>
                <c:pt idx="653">
                  <c:v>3</c:v>
                </c:pt>
                <c:pt idx="654">
                  <c:v>3</c:v>
                </c:pt>
                <c:pt idx="655">
                  <c:v>4</c:v>
                </c:pt>
                <c:pt idx="656">
                  <c:v>2</c:v>
                </c:pt>
                <c:pt idx="657">
                  <c:v>0</c:v>
                </c:pt>
                <c:pt idx="658">
                  <c:v>1</c:v>
                </c:pt>
                <c:pt idx="659">
                  <c:v>0</c:v>
                </c:pt>
                <c:pt idx="660">
                  <c:v>0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3</c:v>
                </c:pt>
                <c:pt idx="667">
                  <c:v>14</c:v>
                </c:pt>
                <c:pt idx="668">
                  <c:v>6</c:v>
                </c:pt>
                <c:pt idx="669">
                  <c:v>7</c:v>
                </c:pt>
                <c:pt idx="670">
                  <c:v>13</c:v>
                </c:pt>
                <c:pt idx="671">
                  <c:v>7</c:v>
                </c:pt>
                <c:pt idx="672">
                  <c:v>5</c:v>
                </c:pt>
                <c:pt idx="673">
                  <c:v>1</c:v>
                </c:pt>
                <c:pt idx="674">
                  <c:v>46</c:v>
                </c:pt>
                <c:pt idx="675">
                  <c:v>18</c:v>
                </c:pt>
                <c:pt idx="676">
                  <c:v>6</c:v>
                </c:pt>
                <c:pt idx="677">
                  <c:v>1</c:v>
                </c:pt>
                <c:pt idx="678">
                  <c:v>1</c:v>
                </c:pt>
                <c:pt idx="679">
                  <c:v>3</c:v>
                </c:pt>
                <c:pt idx="680">
                  <c:v>4</c:v>
                </c:pt>
                <c:pt idx="681">
                  <c:v>3</c:v>
                </c:pt>
                <c:pt idx="682">
                  <c:v>6</c:v>
                </c:pt>
                <c:pt idx="683">
                  <c:v>0</c:v>
                </c:pt>
                <c:pt idx="684">
                  <c:v>19</c:v>
                </c:pt>
                <c:pt idx="685">
                  <c:v>42</c:v>
                </c:pt>
                <c:pt idx="686">
                  <c:v>1</c:v>
                </c:pt>
                <c:pt idx="687">
                  <c:v>1</c:v>
                </c:pt>
                <c:pt idx="688">
                  <c:v>0</c:v>
                </c:pt>
                <c:pt idx="689">
                  <c:v>0</c:v>
                </c:pt>
                <c:pt idx="690">
                  <c:v>1</c:v>
                </c:pt>
                <c:pt idx="691">
                  <c:v>1</c:v>
                </c:pt>
                <c:pt idx="692">
                  <c:v>43</c:v>
                </c:pt>
                <c:pt idx="693">
                  <c:v>0</c:v>
                </c:pt>
                <c:pt idx="694">
                  <c:v>0</c:v>
                </c:pt>
                <c:pt idx="695">
                  <c:v>2</c:v>
                </c:pt>
                <c:pt idx="696">
                  <c:v>0</c:v>
                </c:pt>
                <c:pt idx="697">
                  <c:v>0</c:v>
                </c:pt>
                <c:pt idx="698">
                  <c:v>1</c:v>
                </c:pt>
                <c:pt idx="699">
                  <c:v>1</c:v>
                </c:pt>
                <c:pt idx="700">
                  <c:v>0</c:v>
                </c:pt>
                <c:pt idx="701">
                  <c:v>1</c:v>
                </c:pt>
                <c:pt idx="702">
                  <c:v>2</c:v>
                </c:pt>
                <c:pt idx="703">
                  <c:v>0</c:v>
                </c:pt>
                <c:pt idx="704">
                  <c:v>0</c:v>
                </c:pt>
                <c:pt idx="705">
                  <c:v>0</c:v>
                </c:pt>
                <c:pt idx="706">
                  <c:v>0</c:v>
                </c:pt>
                <c:pt idx="707">
                  <c:v>0</c:v>
                </c:pt>
                <c:pt idx="708">
                  <c:v>2</c:v>
                </c:pt>
                <c:pt idx="709">
                  <c:v>1</c:v>
                </c:pt>
                <c:pt idx="710">
                  <c:v>0</c:v>
                </c:pt>
                <c:pt idx="711">
                  <c:v>1</c:v>
                </c:pt>
                <c:pt idx="712">
                  <c:v>0</c:v>
                </c:pt>
                <c:pt idx="713">
                  <c:v>0</c:v>
                </c:pt>
                <c:pt idx="714">
                  <c:v>0</c:v>
                </c:pt>
                <c:pt idx="715">
                  <c:v>0</c:v>
                </c:pt>
                <c:pt idx="716">
                  <c:v>0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3</c:v>
                </c:pt>
                <c:pt idx="726">
                  <c:v>0</c:v>
                </c:pt>
                <c:pt idx="727">
                  <c:v>43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1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5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13</c:v>
                </c:pt>
                <c:pt idx="745">
                  <c:v>5</c:v>
                </c:pt>
                <c:pt idx="746">
                  <c:v>0</c:v>
                </c:pt>
                <c:pt idx="747">
                  <c:v>0</c:v>
                </c:pt>
                <c:pt idx="748">
                  <c:v>1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3</c:v>
                </c:pt>
                <c:pt idx="757">
                  <c:v>0</c:v>
                </c:pt>
                <c:pt idx="758">
                  <c:v>16</c:v>
                </c:pt>
                <c:pt idx="759">
                  <c:v>0</c:v>
                </c:pt>
                <c:pt idx="760">
                  <c:v>5</c:v>
                </c:pt>
                <c:pt idx="761">
                  <c:v>4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1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9</c:v>
                </c:pt>
                <c:pt idx="780">
                  <c:v>1</c:v>
                </c:pt>
                <c:pt idx="781">
                  <c:v>0</c:v>
                </c:pt>
                <c:pt idx="782">
                  <c:v>0</c:v>
                </c:pt>
                <c:pt idx="783">
                  <c:v>2</c:v>
                </c:pt>
                <c:pt idx="784">
                  <c:v>0</c:v>
                </c:pt>
                <c:pt idx="785">
                  <c:v>0</c:v>
                </c:pt>
                <c:pt idx="786">
                  <c:v>1</c:v>
                </c:pt>
                <c:pt idx="787">
                  <c:v>0</c:v>
                </c:pt>
                <c:pt idx="788">
                  <c:v>0</c:v>
                </c:pt>
                <c:pt idx="789">
                  <c:v>1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0</c:v>
                </c:pt>
                <c:pt idx="801">
                  <c:v>6</c:v>
                </c:pt>
                <c:pt idx="802">
                  <c:v>0</c:v>
                </c:pt>
                <c:pt idx="803">
                  <c:v>0</c:v>
                </c:pt>
                <c:pt idx="804">
                  <c:v>4</c:v>
                </c:pt>
                <c:pt idx="805">
                  <c:v>0</c:v>
                </c:pt>
                <c:pt idx="806">
                  <c:v>0</c:v>
                </c:pt>
                <c:pt idx="807">
                  <c:v>2</c:v>
                </c:pt>
                <c:pt idx="808">
                  <c:v>1</c:v>
                </c:pt>
                <c:pt idx="809">
                  <c:v>0</c:v>
                </c:pt>
                <c:pt idx="810">
                  <c:v>0</c:v>
                </c:pt>
                <c:pt idx="811">
                  <c:v>7</c:v>
                </c:pt>
                <c:pt idx="812">
                  <c:v>7</c:v>
                </c:pt>
                <c:pt idx="813">
                  <c:v>3</c:v>
                </c:pt>
                <c:pt idx="814">
                  <c:v>1</c:v>
                </c:pt>
                <c:pt idx="815">
                  <c:v>11</c:v>
                </c:pt>
                <c:pt idx="816">
                  <c:v>31</c:v>
                </c:pt>
                <c:pt idx="817">
                  <c:v>4</c:v>
                </c:pt>
                <c:pt idx="818">
                  <c:v>23</c:v>
                </c:pt>
                <c:pt idx="819">
                  <c:v>16</c:v>
                </c:pt>
                <c:pt idx="820">
                  <c:v>25</c:v>
                </c:pt>
                <c:pt idx="821">
                  <c:v>10</c:v>
                </c:pt>
                <c:pt idx="822">
                  <c:v>42</c:v>
                </c:pt>
                <c:pt idx="823">
                  <c:v>3</c:v>
                </c:pt>
                <c:pt idx="824">
                  <c:v>12</c:v>
                </c:pt>
                <c:pt idx="825">
                  <c:v>14</c:v>
                </c:pt>
                <c:pt idx="826">
                  <c:v>30</c:v>
                </c:pt>
                <c:pt idx="827">
                  <c:v>21</c:v>
                </c:pt>
                <c:pt idx="828">
                  <c:v>5</c:v>
                </c:pt>
                <c:pt idx="829">
                  <c:v>9</c:v>
                </c:pt>
                <c:pt idx="830">
                  <c:v>2</c:v>
                </c:pt>
                <c:pt idx="831">
                  <c:v>13</c:v>
                </c:pt>
                <c:pt idx="832">
                  <c:v>5</c:v>
                </c:pt>
                <c:pt idx="833">
                  <c:v>773</c:v>
                </c:pt>
                <c:pt idx="834">
                  <c:v>768</c:v>
                </c:pt>
                <c:pt idx="835">
                  <c:v>631</c:v>
                </c:pt>
                <c:pt idx="836">
                  <c:v>188</c:v>
                </c:pt>
                <c:pt idx="837">
                  <c:v>305</c:v>
                </c:pt>
                <c:pt idx="838">
                  <c:v>480</c:v>
                </c:pt>
                <c:pt idx="839">
                  <c:v>1091</c:v>
                </c:pt>
                <c:pt idx="840">
                  <c:v>49</c:v>
                </c:pt>
                <c:pt idx="841">
                  <c:v>811</c:v>
                </c:pt>
                <c:pt idx="842">
                  <c:v>745</c:v>
                </c:pt>
                <c:pt idx="843">
                  <c:v>1475</c:v>
                </c:pt>
                <c:pt idx="844">
                  <c:v>626</c:v>
                </c:pt>
                <c:pt idx="845">
                  <c:v>1609</c:v>
                </c:pt>
                <c:pt idx="846">
                  <c:v>243</c:v>
                </c:pt>
                <c:pt idx="847">
                  <c:v>598</c:v>
                </c:pt>
                <c:pt idx="848">
                  <c:v>872</c:v>
                </c:pt>
                <c:pt idx="849">
                  <c:v>461</c:v>
                </c:pt>
                <c:pt idx="850">
                  <c:v>464</c:v>
                </c:pt>
                <c:pt idx="851">
                  <c:v>41</c:v>
                </c:pt>
                <c:pt idx="852">
                  <c:v>252</c:v>
                </c:pt>
                <c:pt idx="853">
                  <c:v>918</c:v>
                </c:pt>
                <c:pt idx="854">
                  <c:v>1220</c:v>
                </c:pt>
                <c:pt idx="855">
                  <c:v>355</c:v>
                </c:pt>
                <c:pt idx="856">
                  <c:v>231</c:v>
                </c:pt>
                <c:pt idx="857">
                  <c:v>79</c:v>
                </c:pt>
                <c:pt idx="858">
                  <c:v>592</c:v>
                </c:pt>
                <c:pt idx="859">
                  <c:v>24</c:v>
                </c:pt>
                <c:pt idx="860">
                  <c:v>205</c:v>
                </c:pt>
                <c:pt idx="861">
                  <c:v>1121</c:v>
                </c:pt>
                <c:pt idx="862">
                  <c:v>251</c:v>
                </c:pt>
                <c:pt idx="863">
                  <c:v>1134</c:v>
                </c:pt>
                <c:pt idx="864">
                  <c:v>1803</c:v>
                </c:pt>
                <c:pt idx="865">
                  <c:v>168</c:v>
                </c:pt>
                <c:pt idx="866">
                  <c:v>960</c:v>
                </c:pt>
                <c:pt idx="867">
                  <c:v>207</c:v>
                </c:pt>
                <c:pt idx="868">
                  <c:v>485</c:v>
                </c:pt>
                <c:pt idx="869">
                  <c:v>882</c:v>
                </c:pt>
                <c:pt idx="870">
                  <c:v>751</c:v>
                </c:pt>
                <c:pt idx="871">
                  <c:v>479</c:v>
                </c:pt>
                <c:pt idx="872">
                  <c:v>172</c:v>
                </c:pt>
                <c:pt idx="873">
                  <c:v>68</c:v>
                </c:pt>
                <c:pt idx="874">
                  <c:v>131</c:v>
                </c:pt>
                <c:pt idx="875">
                  <c:v>1430</c:v>
                </c:pt>
                <c:pt idx="876">
                  <c:v>326</c:v>
                </c:pt>
                <c:pt idx="877">
                  <c:v>76</c:v>
                </c:pt>
                <c:pt idx="878">
                  <c:v>350</c:v>
                </c:pt>
                <c:pt idx="879">
                  <c:v>648</c:v>
                </c:pt>
                <c:pt idx="880">
                  <c:v>54</c:v>
                </c:pt>
                <c:pt idx="881">
                  <c:v>706</c:v>
                </c:pt>
                <c:pt idx="882">
                  <c:v>646</c:v>
                </c:pt>
                <c:pt idx="883">
                  <c:v>1181</c:v>
                </c:pt>
                <c:pt idx="884">
                  <c:v>25</c:v>
                </c:pt>
                <c:pt idx="885">
                  <c:v>156</c:v>
                </c:pt>
                <c:pt idx="886">
                  <c:v>645</c:v>
                </c:pt>
                <c:pt idx="887">
                  <c:v>1841</c:v>
                </c:pt>
                <c:pt idx="888">
                  <c:v>295</c:v>
                </c:pt>
                <c:pt idx="889">
                  <c:v>316</c:v>
                </c:pt>
                <c:pt idx="890">
                  <c:v>423</c:v>
                </c:pt>
                <c:pt idx="891">
                  <c:v>1930</c:v>
                </c:pt>
                <c:pt idx="892">
                  <c:v>73</c:v>
                </c:pt>
                <c:pt idx="893">
                  <c:v>1224</c:v>
                </c:pt>
                <c:pt idx="894">
                  <c:v>408</c:v>
                </c:pt>
                <c:pt idx="895">
                  <c:v>879</c:v>
                </c:pt>
                <c:pt idx="896">
                  <c:v>613</c:v>
                </c:pt>
                <c:pt idx="897">
                  <c:v>135</c:v>
                </c:pt>
                <c:pt idx="898">
                  <c:v>177</c:v>
                </c:pt>
                <c:pt idx="899">
                  <c:v>228</c:v>
                </c:pt>
                <c:pt idx="900">
                  <c:v>473</c:v>
                </c:pt>
                <c:pt idx="901">
                  <c:v>450</c:v>
                </c:pt>
                <c:pt idx="902">
                  <c:v>775</c:v>
                </c:pt>
                <c:pt idx="903">
                  <c:v>365</c:v>
                </c:pt>
                <c:pt idx="904">
                  <c:v>168</c:v>
                </c:pt>
                <c:pt idx="905">
                  <c:v>216</c:v>
                </c:pt>
                <c:pt idx="906">
                  <c:v>185</c:v>
                </c:pt>
                <c:pt idx="907">
                  <c:v>1018</c:v>
                </c:pt>
                <c:pt idx="908">
                  <c:v>156</c:v>
                </c:pt>
                <c:pt idx="909">
                  <c:v>526</c:v>
                </c:pt>
                <c:pt idx="910">
                  <c:v>97</c:v>
                </c:pt>
                <c:pt idx="911">
                  <c:v>252</c:v>
                </c:pt>
                <c:pt idx="912">
                  <c:v>46</c:v>
                </c:pt>
                <c:pt idx="913">
                  <c:v>157</c:v>
                </c:pt>
                <c:pt idx="914">
                  <c:v>777</c:v>
                </c:pt>
                <c:pt idx="915">
                  <c:v>19</c:v>
                </c:pt>
                <c:pt idx="916">
                  <c:v>578</c:v>
                </c:pt>
                <c:pt idx="917">
                  <c:v>311</c:v>
                </c:pt>
                <c:pt idx="918">
                  <c:v>131</c:v>
                </c:pt>
                <c:pt idx="919">
                  <c:v>90</c:v>
                </c:pt>
                <c:pt idx="920">
                  <c:v>1057</c:v>
                </c:pt>
                <c:pt idx="921">
                  <c:v>81</c:v>
                </c:pt>
                <c:pt idx="922">
                  <c:v>159</c:v>
                </c:pt>
                <c:pt idx="923">
                  <c:v>49</c:v>
                </c:pt>
                <c:pt idx="924">
                  <c:v>491</c:v>
                </c:pt>
                <c:pt idx="925">
                  <c:v>84</c:v>
                </c:pt>
                <c:pt idx="926">
                  <c:v>553</c:v>
                </c:pt>
                <c:pt idx="927">
                  <c:v>223</c:v>
                </c:pt>
                <c:pt idx="928">
                  <c:v>513</c:v>
                </c:pt>
                <c:pt idx="929">
                  <c:v>197</c:v>
                </c:pt>
                <c:pt idx="930">
                  <c:v>487</c:v>
                </c:pt>
                <c:pt idx="931">
                  <c:v>103</c:v>
                </c:pt>
                <c:pt idx="932">
                  <c:v>418</c:v>
                </c:pt>
                <c:pt idx="933">
                  <c:v>635</c:v>
                </c:pt>
                <c:pt idx="934">
                  <c:v>961</c:v>
                </c:pt>
                <c:pt idx="935">
                  <c:v>397</c:v>
                </c:pt>
                <c:pt idx="936">
                  <c:v>285</c:v>
                </c:pt>
                <c:pt idx="937">
                  <c:v>207</c:v>
                </c:pt>
                <c:pt idx="938">
                  <c:v>152</c:v>
                </c:pt>
                <c:pt idx="939">
                  <c:v>234</c:v>
                </c:pt>
                <c:pt idx="940">
                  <c:v>125</c:v>
                </c:pt>
                <c:pt idx="941">
                  <c:v>11</c:v>
                </c:pt>
                <c:pt idx="942">
                  <c:v>28</c:v>
                </c:pt>
                <c:pt idx="943">
                  <c:v>405</c:v>
                </c:pt>
                <c:pt idx="944">
                  <c:v>188</c:v>
                </c:pt>
                <c:pt idx="945">
                  <c:v>539</c:v>
                </c:pt>
                <c:pt idx="946">
                  <c:v>243</c:v>
                </c:pt>
                <c:pt idx="947">
                  <c:v>159</c:v>
                </c:pt>
                <c:pt idx="948">
                  <c:v>503</c:v>
                </c:pt>
                <c:pt idx="949">
                  <c:v>676</c:v>
                </c:pt>
                <c:pt idx="950">
                  <c:v>110</c:v>
                </c:pt>
                <c:pt idx="951">
                  <c:v>97</c:v>
                </c:pt>
                <c:pt idx="952">
                  <c:v>84</c:v>
                </c:pt>
                <c:pt idx="953">
                  <c:v>668</c:v>
                </c:pt>
                <c:pt idx="954">
                  <c:v>1117</c:v>
                </c:pt>
                <c:pt idx="955">
                  <c:v>652</c:v>
                </c:pt>
                <c:pt idx="956">
                  <c:v>199</c:v>
                </c:pt>
                <c:pt idx="957">
                  <c:v>1125</c:v>
                </c:pt>
                <c:pt idx="958">
                  <c:v>337</c:v>
                </c:pt>
                <c:pt idx="959">
                  <c:v>165</c:v>
                </c:pt>
                <c:pt idx="960">
                  <c:v>330</c:v>
                </c:pt>
                <c:pt idx="961">
                  <c:v>180</c:v>
                </c:pt>
                <c:pt idx="962">
                  <c:v>200</c:v>
                </c:pt>
                <c:pt idx="963">
                  <c:v>104</c:v>
                </c:pt>
                <c:pt idx="964">
                  <c:v>214</c:v>
                </c:pt>
                <c:pt idx="965">
                  <c:v>134</c:v>
                </c:pt>
                <c:pt idx="966">
                  <c:v>137</c:v>
                </c:pt>
                <c:pt idx="967">
                  <c:v>83</c:v>
                </c:pt>
                <c:pt idx="968">
                  <c:v>113</c:v>
                </c:pt>
                <c:pt idx="969">
                  <c:v>94</c:v>
                </c:pt>
                <c:pt idx="970">
                  <c:v>25</c:v>
                </c:pt>
                <c:pt idx="971">
                  <c:v>403</c:v>
                </c:pt>
                <c:pt idx="972">
                  <c:v>719</c:v>
                </c:pt>
                <c:pt idx="973">
                  <c:v>634</c:v>
                </c:pt>
                <c:pt idx="974">
                  <c:v>137</c:v>
                </c:pt>
                <c:pt idx="975">
                  <c:v>98</c:v>
                </c:pt>
                <c:pt idx="976">
                  <c:v>259</c:v>
                </c:pt>
                <c:pt idx="977">
                  <c:v>275</c:v>
                </c:pt>
                <c:pt idx="978">
                  <c:v>625</c:v>
                </c:pt>
                <c:pt idx="979">
                  <c:v>127</c:v>
                </c:pt>
                <c:pt idx="980">
                  <c:v>79</c:v>
                </c:pt>
                <c:pt idx="981">
                  <c:v>132</c:v>
                </c:pt>
                <c:pt idx="982">
                  <c:v>65</c:v>
                </c:pt>
                <c:pt idx="983">
                  <c:v>8</c:v>
                </c:pt>
                <c:pt idx="984">
                  <c:v>9</c:v>
                </c:pt>
                <c:pt idx="985">
                  <c:v>483</c:v>
                </c:pt>
                <c:pt idx="986">
                  <c:v>787</c:v>
                </c:pt>
                <c:pt idx="987">
                  <c:v>1160</c:v>
                </c:pt>
                <c:pt idx="988">
                  <c:v>495</c:v>
                </c:pt>
                <c:pt idx="989">
                  <c:v>467</c:v>
                </c:pt>
                <c:pt idx="990">
                  <c:v>313</c:v>
                </c:pt>
                <c:pt idx="991">
                  <c:v>308</c:v>
                </c:pt>
                <c:pt idx="992">
                  <c:v>429</c:v>
                </c:pt>
                <c:pt idx="993">
                  <c:v>530</c:v>
                </c:pt>
                <c:pt idx="994">
                  <c:v>112</c:v>
                </c:pt>
                <c:pt idx="995">
                  <c:v>435</c:v>
                </c:pt>
                <c:pt idx="996">
                  <c:v>130</c:v>
                </c:pt>
                <c:pt idx="997">
                  <c:v>86</c:v>
                </c:pt>
                <c:pt idx="998">
                  <c:v>59</c:v>
                </c:pt>
                <c:pt idx="999">
                  <c:v>45</c:v>
                </c:pt>
                <c:pt idx="1000">
                  <c:v>52</c:v>
                </c:pt>
                <c:pt idx="1001">
                  <c:v>59</c:v>
                </c:pt>
                <c:pt idx="1002">
                  <c:v>8</c:v>
                </c:pt>
                <c:pt idx="1003">
                  <c:v>6</c:v>
                </c:pt>
                <c:pt idx="1004">
                  <c:v>4</c:v>
                </c:pt>
                <c:pt idx="1005">
                  <c:v>474</c:v>
                </c:pt>
                <c:pt idx="1006">
                  <c:v>808</c:v>
                </c:pt>
                <c:pt idx="1007">
                  <c:v>304</c:v>
                </c:pt>
                <c:pt idx="1008">
                  <c:v>370</c:v>
                </c:pt>
                <c:pt idx="1009">
                  <c:v>321</c:v>
                </c:pt>
                <c:pt idx="1010">
                  <c:v>24</c:v>
                </c:pt>
                <c:pt idx="1011">
                  <c:v>13</c:v>
                </c:pt>
                <c:pt idx="1012">
                  <c:v>7</c:v>
                </c:pt>
                <c:pt idx="1013">
                  <c:v>6</c:v>
                </c:pt>
                <c:pt idx="1014">
                  <c:v>2</c:v>
                </c:pt>
                <c:pt idx="1015">
                  <c:v>7</c:v>
                </c:pt>
                <c:pt idx="1016">
                  <c:v>3</c:v>
                </c:pt>
                <c:pt idx="1017">
                  <c:v>5</c:v>
                </c:pt>
                <c:pt idx="1018">
                  <c:v>3</c:v>
                </c:pt>
                <c:pt idx="1019">
                  <c:v>2</c:v>
                </c:pt>
                <c:pt idx="1020">
                  <c:v>2</c:v>
                </c:pt>
                <c:pt idx="1021">
                  <c:v>0</c:v>
                </c:pt>
                <c:pt idx="1022">
                  <c:v>78</c:v>
                </c:pt>
                <c:pt idx="1023">
                  <c:v>18</c:v>
                </c:pt>
                <c:pt idx="1024">
                  <c:v>26</c:v>
                </c:pt>
                <c:pt idx="1025">
                  <c:v>45</c:v>
                </c:pt>
                <c:pt idx="1026">
                  <c:v>20</c:v>
                </c:pt>
                <c:pt idx="1027">
                  <c:v>27</c:v>
                </c:pt>
                <c:pt idx="1028">
                  <c:v>45</c:v>
                </c:pt>
                <c:pt idx="1029">
                  <c:v>24</c:v>
                </c:pt>
                <c:pt idx="1030">
                  <c:v>16</c:v>
                </c:pt>
                <c:pt idx="1031">
                  <c:v>37</c:v>
                </c:pt>
                <c:pt idx="1032">
                  <c:v>10</c:v>
                </c:pt>
                <c:pt idx="1033">
                  <c:v>21</c:v>
                </c:pt>
                <c:pt idx="1034">
                  <c:v>62</c:v>
                </c:pt>
                <c:pt idx="1035">
                  <c:v>4</c:v>
                </c:pt>
                <c:pt idx="1036">
                  <c:v>2</c:v>
                </c:pt>
                <c:pt idx="1037">
                  <c:v>23</c:v>
                </c:pt>
                <c:pt idx="1038">
                  <c:v>18</c:v>
                </c:pt>
                <c:pt idx="1039">
                  <c:v>23</c:v>
                </c:pt>
                <c:pt idx="1040">
                  <c:v>12</c:v>
                </c:pt>
                <c:pt idx="1041">
                  <c:v>12</c:v>
                </c:pt>
                <c:pt idx="1042">
                  <c:v>37</c:v>
                </c:pt>
                <c:pt idx="1043">
                  <c:v>11</c:v>
                </c:pt>
                <c:pt idx="1044">
                  <c:v>18</c:v>
                </c:pt>
                <c:pt idx="1045">
                  <c:v>14</c:v>
                </c:pt>
                <c:pt idx="1046">
                  <c:v>21</c:v>
                </c:pt>
                <c:pt idx="1047">
                  <c:v>20</c:v>
                </c:pt>
                <c:pt idx="1048">
                  <c:v>16</c:v>
                </c:pt>
                <c:pt idx="1049">
                  <c:v>11</c:v>
                </c:pt>
                <c:pt idx="1050">
                  <c:v>12</c:v>
                </c:pt>
                <c:pt idx="1051">
                  <c:v>19</c:v>
                </c:pt>
                <c:pt idx="1052">
                  <c:v>26</c:v>
                </c:pt>
                <c:pt idx="1053">
                  <c:v>13</c:v>
                </c:pt>
                <c:pt idx="1054">
                  <c:v>4</c:v>
                </c:pt>
                <c:pt idx="1055">
                  <c:v>9</c:v>
                </c:pt>
                <c:pt idx="1056">
                  <c:v>5</c:v>
                </c:pt>
                <c:pt idx="1057">
                  <c:v>11</c:v>
                </c:pt>
                <c:pt idx="1058">
                  <c:v>10</c:v>
                </c:pt>
                <c:pt idx="1059">
                  <c:v>43</c:v>
                </c:pt>
                <c:pt idx="1060">
                  <c:v>4</c:v>
                </c:pt>
                <c:pt idx="1061">
                  <c:v>8</c:v>
                </c:pt>
                <c:pt idx="1062">
                  <c:v>6</c:v>
                </c:pt>
                <c:pt idx="1063">
                  <c:v>4</c:v>
                </c:pt>
                <c:pt idx="1064">
                  <c:v>8</c:v>
                </c:pt>
                <c:pt idx="1065">
                  <c:v>6</c:v>
                </c:pt>
                <c:pt idx="1066">
                  <c:v>5</c:v>
                </c:pt>
                <c:pt idx="1067">
                  <c:v>10</c:v>
                </c:pt>
                <c:pt idx="1068">
                  <c:v>5</c:v>
                </c:pt>
                <c:pt idx="1069">
                  <c:v>33</c:v>
                </c:pt>
                <c:pt idx="1070">
                  <c:v>3</c:v>
                </c:pt>
                <c:pt idx="1071">
                  <c:v>11</c:v>
                </c:pt>
                <c:pt idx="1072">
                  <c:v>19</c:v>
                </c:pt>
                <c:pt idx="1073">
                  <c:v>9</c:v>
                </c:pt>
                <c:pt idx="1074">
                  <c:v>28</c:v>
                </c:pt>
                <c:pt idx="1075">
                  <c:v>9</c:v>
                </c:pt>
                <c:pt idx="1076">
                  <c:v>15</c:v>
                </c:pt>
                <c:pt idx="1077">
                  <c:v>1</c:v>
                </c:pt>
                <c:pt idx="1078">
                  <c:v>8</c:v>
                </c:pt>
                <c:pt idx="1079">
                  <c:v>32</c:v>
                </c:pt>
                <c:pt idx="1080">
                  <c:v>4</c:v>
                </c:pt>
                <c:pt idx="1081">
                  <c:v>13</c:v>
                </c:pt>
                <c:pt idx="1082">
                  <c:v>10</c:v>
                </c:pt>
                <c:pt idx="1083">
                  <c:v>4</c:v>
                </c:pt>
                <c:pt idx="1084">
                  <c:v>3</c:v>
                </c:pt>
                <c:pt idx="1085">
                  <c:v>3</c:v>
                </c:pt>
                <c:pt idx="1086">
                  <c:v>3</c:v>
                </c:pt>
                <c:pt idx="1087">
                  <c:v>3</c:v>
                </c:pt>
                <c:pt idx="1088">
                  <c:v>2</c:v>
                </c:pt>
                <c:pt idx="1089">
                  <c:v>16</c:v>
                </c:pt>
                <c:pt idx="1090">
                  <c:v>3</c:v>
                </c:pt>
                <c:pt idx="1091">
                  <c:v>1</c:v>
                </c:pt>
                <c:pt idx="1092">
                  <c:v>7</c:v>
                </c:pt>
                <c:pt idx="1093">
                  <c:v>5</c:v>
                </c:pt>
                <c:pt idx="1094">
                  <c:v>12</c:v>
                </c:pt>
                <c:pt idx="1095">
                  <c:v>2</c:v>
                </c:pt>
                <c:pt idx="1096">
                  <c:v>4</c:v>
                </c:pt>
                <c:pt idx="1097">
                  <c:v>7</c:v>
                </c:pt>
                <c:pt idx="1098">
                  <c:v>2</c:v>
                </c:pt>
                <c:pt idx="1099">
                  <c:v>3</c:v>
                </c:pt>
                <c:pt idx="1100">
                  <c:v>10</c:v>
                </c:pt>
                <c:pt idx="1101">
                  <c:v>3</c:v>
                </c:pt>
                <c:pt idx="1102">
                  <c:v>0</c:v>
                </c:pt>
                <c:pt idx="1103">
                  <c:v>12</c:v>
                </c:pt>
                <c:pt idx="1104">
                  <c:v>5</c:v>
                </c:pt>
                <c:pt idx="1105">
                  <c:v>9</c:v>
                </c:pt>
                <c:pt idx="1106">
                  <c:v>17</c:v>
                </c:pt>
                <c:pt idx="1107">
                  <c:v>2</c:v>
                </c:pt>
                <c:pt idx="1108">
                  <c:v>4</c:v>
                </c:pt>
                <c:pt idx="1109">
                  <c:v>491</c:v>
                </c:pt>
                <c:pt idx="1110">
                  <c:v>561</c:v>
                </c:pt>
                <c:pt idx="1111">
                  <c:v>352</c:v>
                </c:pt>
                <c:pt idx="1112">
                  <c:v>551</c:v>
                </c:pt>
                <c:pt idx="1113">
                  <c:v>482</c:v>
                </c:pt>
                <c:pt idx="1114">
                  <c:v>307</c:v>
                </c:pt>
                <c:pt idx="1115">
                  <c:v>228</c:v>
                </c:pt>
                <c:pt idx="1116">
                  <c:v>48</c:v>
                </c:pt>
                <c:pt idx="1117">
                  <c:v>118</c:v>
                </c:pt>
                <c:pt idx="1118">
                  <c:v>364</c:v>
                </c:pt>
                <c:pt idx="1119">
                  <c:v>570</c:v>
                </c:pt>
                <c:pt idx="1120">
                  <c:v>173</c:v>
                </c:pt>
                <c:pt idx="1121">
                  <c:v>314</c:v>
                </c:pt>
                <c:pt idx="1122">
                  <c:v>161</c:v>
                </c:pt>
                <c:pt idx="1123">
                  <c:v>202</c:v>
                </c:pt>
                <c:pt idx="1124">
                  <c:v>221</c:v>
                </c:pt>
                <c:pt idx="1125">
                  <c:v>177</c:v>
                </c:pt>
                <c:pt idx="1126">
                  <c:v>124</c:v>
                </c:pt>
                <c:pt idx="1127">
                  <c:v>39</c:v>
                </c:pt>
                <c:pt idx="1128">
                  <c:v>141</c:v>
                </c:pt>
                <c:pt idx="1129">
                  <c:v>262</c:v>
                </c:pt>
                <c:pt idx="1130">
                  <c:v>875</c:v>
                </c:pt>
                <c:pt idx="1131">
                  <c:v>720</c:v>
                </c:pt>
                <c:pt idx="1132">
                  <c:v>934</c:v>
                </c:pt>
                <c:pt idx="1133">
                  <c:v>546</c:v>
                </c:pt>
                <c:pt idx="1134">
                  <c:v>230</c:v>
                </c:pt>
                <c:pt idx="1135">
                  <c:v>144</c:v>
                </c:pt>
                <c:pt idx="1136">
                  <c:v>347</c:v>
                </c:pt>
                <c:pt idx="1137">
                  <c:v>24</c:v>
                </c:pt>
                <c:pt idx="1138">
                  <c:v>273</c:v>
                </c:pt>
                <c:pt idx="1139">
                  <c:v>45</c:v>
                </c:pt>
                <c:pt idx="1140">
                  <c:v>163</c:v>
                </c:pt>
                <c:pt idx="1141">
                  <c:v>196</c:v>
                </c:pt>
                <c:pt idx="1142">
                  <c:v>192</c:v>
                </c:pt>
                <c:pt idx="1143">
                  <c:v>116</c:v>
                </c:pt>
                <c:pt idx="1144">
                  <c:v>125</c:v>
                </c:pt>
                <c:pt idx="1145">
                  <c:v>44</c:v>
                </c:pt>
                <c:pt idx="1146">
                  <c:v>110</c:v>
                </c:pt>
                <c:pt idx="1147">
                  <c:v>7</c:v>
                </c:pt>
                <c:pt idx="1148">
                  <c:v>39</c:v>
                </c:pt>
                <c:pt idx="1149">
                  <c:v>34</c:v>
                </c:pt>
                <c:pt idx="1150">
                  <c:v>60</c:v>
                </c:pt>
                <c:pt idx="1151">
                  <c:v>41</c:v>
                </c:pt>
                <c:pt idx="1152">
                  <c:v>13</c:v>
                </c:pt>
                <c:pt idx="1153">
                  <c:v>47</c:v>
                </c:pt>
                <c:pt idx="1154">
                  <c:v>52</c:v>
                </c:pt>
                <c:pt idx="1155">
                  <c:v>17</c:v>
                </c:pt>
                <c:pt idx="1156">
                  <c:v>81</c:v>
                </c:pt>
                <c:pt idx="1157">
                  <c:v>78</c:v>
                </c:pt>
                <c:pt idx="1158">
                  <c:v>31</c:v>
                </c:pt>
                <c:pt idx="1159">
                  <c:v>9</c:v>
                </c:pt>
                <c:pt idx="1160">
                  <c:v>12</c:v>
                </c:pt>
                <c:pt idx="1161">
                  <c:v>21</c:v>
                </c:pt>
                <c:pt idx="1162">
                  <c:v>48</c:v>
                </c:pt>
                <c:pt idx="1163">
                  <c:v>3</c:v>
                </c:pt>
                <c:pt idx="1164">
                  <c:v>128</c:v>
                </c:pt>
                <c:pt idx="1165">
                  <c:v>86</c:v>
                </c:pt>
                <c:pt idx="1166">
                  <c:v>59</c:v>
                </c:pt>
                <c:pt idx="1167">
                  <c:v>67</c:v>
                </c:pt>
                <c:pt idx="1168">
                  <c:v>8</c:v>
                </c:pt>
                <c:pt idx="1169">
                  <c:v>8</c:v>
                </c:pt>
                <c:pt idx="1170">
                  <c:v>44</c:v>
                </c:pt>
                <c:pt idx="1171">
                  <c:v>13</c:v>
                </c:pt>
                <c:pt idx="1172">
                  <c:v>5</c:v>
                </c:pt>
                <c:pt idx="1173">
                  <c:v>5</c:v>
                </c:pt>
                <c:pt idx="1174">
                  <c:v>23</c:v>
                </c:pt>
                <c:pt idx="1175">
                  <c:v>9</c:v>
                </c:pt>
                <c:pt idx="1176">
                  <c:v>18</c:v>
                </c:pt>
                <c:pt idx="1177">
                  <c:v>5</c:v>
                </c:pt>
                <c:pt idx="1178">
                  <c:v>9</c:v>
                </c:pt>
                <c:pt idx="1179">
                  <c:v>4</c:v>
                </c:pt>
                <c:pt idx="1180">
                  <c:v>11</c:v>
                </c:pt>
                <c:pt idx="1181">
                  <c:v>10</c:v>
                </c:pt>
                <c:pt idx="1182">
                  <c:v>2</c:v>
                </c:pt>
                <c:pt idx="1183">
                  <c:v>69</c:v>
                </c:pt>
                <c:pt idx="1184">
                  <c:v>20</c:v>
                </c:pt>
                <c:pt idx="1185">
                  <c:v>59</c:v>
                </c:pt>
                <c:pt idx="1186">
                  <c:v>128</c:v>
                </c:pt>
                <c:pt idx="1187">
                  <c:v>46</c:v>
                </c:pt>
                <c:pt idx="1188">
                  <c:v>124</c:v>
                </c:pt>
                <c:pt idx="1189">
                  <c:v>37</c:v>
                </c:pt>
                <c:pt idx="1190">
                  <c:v>39</c:v>
                </c:pt>
                <c:pt idx="1191">
                  <c:v>40</c:v>
                </c:pt>
                <c:pt idx="1192">
                  <c:v>13</c:v>
                </c:pt>
                <c:pt idx="1193">
                  <c:v>11</c:v>
                </c:pt>
                <c:pt idx="1194">
                  <c:v>40</c:v>
                </c:pt>
                <c:pt idx="1195">
                  <c:v>49</c:v>
                </c:pt>
                <c:pt idx="1196">
                  <c:v>76</c:v>
                </c:pt>
                <c:pt idx="1197">
                  <c:v>66</c:v>
                </c:pt>
                <c:pt idx="1198">
                  <c:v>45</c:v>
                </c:pt>
                <c:pt idx="1199">
                  <c:v>14</c:v>
                </c:pt>
                <c:pt idx="1200">
                  <c:v>17</c:v>
                </c:pt>
                <c:pt idx="1201">
                  <c:v>19</c:v>
                </c:pt>
                <c:pt idx="1202">
                  <c:v>38</c:v>
                </c:pt>
                <c:pt idx="1203">
                  <c:v>24</c:v>
                </c:pt>
                <c:pt idx="1204">
                  <c:v>3</c:v>
                </c:pt>
                <c:pt idx="1205">
                  <c:v>9</c:v>
                </c:pt>
                <c:pt idx="1206">
                  <c:v>34</c:v>
                </c:pt>
                <c:pt idx="1207">
                  <c:v>4</c:v>
                </c:pt>
                <c:pt idx="1208">
                  <c:v>19</c:v>
                </c:pt>
                <c:pt idx="1209">
                  <c:v>38</c:v>
                </c:pt>
                <c:pt idx="1210">
                  <c:v>40</c:v>
                </c:pt>
                <c:pt idx="1211">
                  <c:v>16</c:v>
                </c:pt>
                <c:pt idx="1212">
                  <c:v>23</c:v>
                </c:pt>
                <c:pt idx="1213">
                  <c:v>47</c:v>
                </c:pt>
                <c:pt idx="1214">
                  <c:v>10</c:v>
                </c:pt>
                <c:pt idx="1215">
                  <c:v>35</c:v>
                </c:pt>
                <c:pt idx="1216">
                  <c:v>14</c:v>
                </c:pt>
                <c:pt idx="1217">
                  <c:v>13</c:v>
                </c:pt>
                <c:pt idx="1218">
                  <c:v>11</c:v>
                </c:pt>
                <c:pt idx="1219">
                  <c:v>37</c:v>
                </c:pt>
                <c:pt idx="1220">
                  <c:v>14</c:v>
                </c:pt>
                <c:pt idx="1221">
                  <c:v>0</c:v>
                </c:pt>
                <c:pt idx="1222">
                  <c:v>7</c:v>
                </c:pt>
                <c:pt idx="1223">
                  <c:v>10</c:v>
                </c:pt>
                <c:pt idx="1224">
                  <c:v>1</c:v>
                </c:pt>
                <c:pt idx="1225">
                  <c:v>6</c:v>
                </c:pt>
                <c:pt idx="1226">
                  <c:v>17</c:v>
                </c:pt>
                <c:pt idx="1227">
                  <c:v>10</c:v>
                </c:pt>
                <c:pt idx="1228">
                  <c:v>2</c:v>
                </c:pt>
                <c:pt idx="1229">
                  <c:v>3</c:v>
                </c:pt>
                <c:pt idx="1230">
                  <c:v>3</c:v>
                </c:pt>
                <c:pt idx="1231">
                  <c:v>39</c:v>
                </c:pt>
                <c:pt idx="1232">
                  <c:v>91</c:v>
                </c:pt>
                <c:pt idx="1233">
                  <c:v>100</c:v>
                </c:pt>
                <c:pt idx="1234">
                  <c:v>85</c:v>
                </c:pt>
                <c:pt idx="1235">
                  <c:v>48</c:v>
                </c:pt>
                <c:pt idx="1236">
                  <c:v>87</c:v>
                </c:pt>
                <c:pt idx="1237">
                  <c:v>23</c:v>
                </c:pt>
                <c:pt idx="1238">
                  <c:v>16</c:v>
                </c:pt>
                <c:pt idx="1239">
                  <c:v>44</c:v>
                </c:pt>
                <c:pt idx="1240">
                  <c:v>6</c:v>
                </c:pt>
                <c:pt idx="1241">
                  <c:v>56</c:v>
                </c:pt>
                <c:pt idx="1242">
                  <c:v>43</c:v>
                </c:pt>
                <c:pt idx="1243">
                  <c:v>12</c:v>
                </c:pt>
                <c:pt idx="1244">
                  <c:v>9</c:v>
                </c:pt>
                <c:pt idx="1245">
                  <c:v>7</c:v>
                </c:pt>
                <c:pt idx="1246">
                  <c:v>25</c:v>
                </c:pt>
                <c:pt idx="1247">
                  <c:v>31</c:v>
                </c:pt>
                <c:pt idx="1248">
                  <c:v>93</c:v>
                </c:pt>
                <c:pt idx="1249">
                  <c:v>186</c:v>
                </c:pt>
                <c:pt idx="1250">
                  <c:v>187</c:v>
                </c:pt>
                <c:pt idx="1251">
                  <c:v>169</c:v>
                </c:pt>
                <c:pt idx="1252">
                  <c:v>1007</c:v>
                </c:pt>
                <c:pt idx="1253">
                  <c:v>87</c:v>
                </c:pt>
                <c:pt idx="1254">
                  <c:v>46</c:v>
                </c:pt>
                <c:pt idx="1255">
                  <c:v>636</c:v>
                </c:pt>
                <c:pt idx="1256">
                  <c:v>155</c:v>
                </c:pt>
                <c:pt idx="1257">
                  <c:v>246</c:v>
                </c:pt>
                <c:pt idx="1258">
                  <c:v>916</c:v>
                </c:pt>
                <c:pt idx="1259">
                  <c:v>116</c:v>
                </c:pt>
                <c:pt idx="1260">
                  <c:v>40</c:v>
                </c:pt>
                <c:pt idx="1261">
                  <c:v>191</c:v>
                </c:pt>
                <c:pt idx="1262">
                  <c:v>175</c:v>
                </c:pt>
                <c:pt idx="1263">
                  <c:v>456</c:v>
                </c:pt>
                <c:pt idx="1264">
                  <c:v>471</c:v>
                </c:pt>
                <c:pt idx="1265">
                  <c:v>469</c:v>
                </c:pt>
                <c:pt idx="1266">
                  <c:v>629</c:v>
                </c:pt>
                <c:pt idx="1267">
                  <c:v>85</c:v>
                </c:pt>
                <c:pt idx="1268">
                  <c:v>39</c:v>
                </c:pt>
                <c:pt idx="1269">
                  <c:v>166</c:v>
                </c:pt>
                <c:pt idx="1270">
                  <c:v>118</c:v>
                </c:pt>
                <c:pt idx="1271">
                  <c:v>415</c:v>
                </c:pt>
                <c:pt idx="1272">
                  <c:v>348</c:v>
                </c:pt>
                <c:pt idx="1273">
                  <c:v>218</c:v>
                </c:pt>
                <c:pt idx="1274">
                  <c:v>81</c:v>
                </c:pt>
                <c:pt idx="1275">
                  <c:v>449</c:v>
                </c:pt>
                <c:pt idx="1276">
                  <c:v>179</c:v>
                </c:pt>
                <c:pt idx="1277">
                  <c:v>245</c:v>
                </c:pt>
                <c:pt idx="1278">
                  <c:v>224</c:v>
                </c:pt>
                <c:pt idx="1279">
                  <c:v>97</c:v>
                </c:pt>
                <c:pt idx="1280">
                  <c:v>64</c:v>
                </c:pt>
                <c:pt idx="1281">
                  <c:v>734</c:v>
                </c:pt>
                <c:pt idx="1282">
                  <c:v>760</c:v>
                </c:pt>
                <c:pt idx="1283">
                  <c:v>280</c:v>
                </c:pt>
                <c:pt idx="1284">
                  <c:v>80</c:v>
                </c:pt>
                <c:pt idx="1285">
                  <c:v>173</c:v>
                </c:pt>
                <c:pt idx="1286">
                  <c:v>478</c:v>
                </c:pt>
                <c:pt idx="1287">
                  <c:v>482</c:v>
                </c:pt>
                <c:pt idx="1288">
                  <c:v>1109</c:v>
                </c:pt>
                <c:pt idx="1289">
                  <c:v>281</c:v>
                </c:pt>
                <c:pt idx="1290">
                  <c:v>118</c:v>
                </c:pt>
                <c:pt idx="1291">
                  <c:v>298</c:v>
                </c:pt>
                <c:pt idx="1292">
                  <c:v>96</c:v>
                </c:pt>
                <c:pt idx="1293">
                  <c:v>59</c:v>
                </c:pt>
                <c:pt idx="1294">
                  <c:v>206</c:v>
                </c:pt>
                <c:pt idx="1295">
                  <c:v>325</c:v>
                </c:pt>
                <c:pt idx="1296">
                  <c:v>463</c:v>
                </c:pt>
                <c:pt idx="1297">
                  <c:v>516</c:v>
                </c:pt>
                <c:pt idx="1298">
                  <c:v>391</c:v>
                </c:pt>
                <c:pt idx="1299">
                  <c:v>128</c:v>
                </c:pt>
                <c:pt idx="1300">
                  <c:v>469</c:v>
                </c:pt>
                <c:pt idx="1301">
                  <c:v>106</c:v>
                </c:pt>
                <c:pt idx="1302">
                  <c:v>112</c:v>
                </c:pt>
                <c:pt idx="1303">
                  <c:v>137</c:v>
                </c:pt>
                <c:pt idx="1304">
                  <c:v>309</c:v>
                </c:pt>
                <c:pt idx="1305">
                  <c:v>41</c:v>
                </c:pt>
                <c:pt idx="1306">
                  <c:v>48</c:v>
                </c:pt>
                <c:pt idx="1307">
                  <c:v>415</c:v>
                </c:pt>
                <c:pt idx="1308">
                  <c:v>157</c:v>
                </c:pt>
                <c:pt idx="1309">
                  <c:v>236</c:v>
                </c:pt>
                <c:pt idx="1310">
                  <c:v>262</c:v>
                </c:pt>
                <c:pt idx="1311">
                  <c:v>138</c:v>
                </c:pt>
                <c:pt idx="1312">
                  <c:v>144</c:v>
                </c:pt>
                <c:pt idx="1313">
                  <c:v>44</c:v>
                </c:pt>
                <c:pt idx="1314">
                  <c:v>124</c:v>
                </c:pt>
                <c:pt idx="1315">
                  <c:v>45</c:v>
                </c:pt>
                <c:pt idx="1316">
                  <c:v>102</c:v>
                </c:pt>
                <c:pt idx="1317">
                  <c:v>103</c:v>
                </c:pt>
                <c:pt idx="1318">
                  <c:v>252</c:v>
                </c:pt>
                <c:pt idx="1319">
                  <c:v>81</c:v>
                </c:pt>
                <c:pt idx="1320">
                  <c:v>151</c:v>
                </c:pt>
                <c:pt idx="1321">
                  <c:v>148</c:v>
                </c:pt>
                <c:pt idx="1322">
                  <c:v>123</c:v>
                </c:pt>
                <c:pt idx="1323">
                  <c:v>128</c:v>
                </c:pt>
                <c:pt idx="1324">
                  <c:v>208</c:v>
                </c:pt>
                <c:pt idx="1325">
                  <c:v>189</c:v>
                </c:pt>
                <c:pt idx="1326">
                  <c:v>65</c:v>
                </c:pt>
                <c:pt idx="1327">
                  <c:v>53</c:v>
                </c:pt>
                <c:pt idx="1328">
                  <c:v>56</c:v>
                </c:pt>
                <c:pt idx="1329">
                  <c:v>158</c:v>
                </c:pt>
                <c:pt idx="1330">
                  <c:v>152</c:v>
                </c:pt>
                <c:pt idx="1331">
                  <c:v>24</c:v>
                </c:pt>
                <c:pt idx="1332">
                  <c:v>52</c:v>
                </c:pt>
                <c:pt idx="1333">
                  <c:v>119</c:v>
                </c:pt>
                <c:pt idx="1334">
                  <c:v>97</c:v>
                </c:pt>
                <c:pt idx="1335">
                  <c:v>188</c:v>
                </c:pt>
                <c:pt idx="1336">
                  <c:v>59</c:v>
                </c:pt>
                <c:pt idx="1337">
                  <c:v>589</c:v>
                </c:pt>
                <c:pt idx="1338">
                  <c:v>48</c:v>
                </c:pt>
                <c:pt idx="1339">
                  <c:v>172</c:v>
                </c:pt>
                <c:pt idx="1340">
                  <c:v>262</c:v>
                </c:pt>
                <c:pt idx="1341">
                  <c:v>24</c:v>
                </c:pt>
                <c:pt idx="1342">
                  <c:v>81</c:v>
                </c:pt>
                <c:pt idx="1343">
                  <c:v>114</c:v>
                </c:pt>
                <c:pt idx="1344">
                  <c:v>14</c:v>
                </c:pt>
                <c:pt idx="1345">
                  <c:v>232</c:v>
                </c:pt>
                <c:pt idx="1346">
                  <c:v>43</c:v>
                </c:pt>
                <c:pt idx="1347">
                  <c:v>308</c:v>
                </c:pt>
                <c:pt idx="1348">
                  <c:v>164</c:v>
                </c:pt>
                <c:pt idx="1349">
                  <c:v>165</c:v>
                </c:pt>
                <c:pt idx="1350">
                  <c:v>225</c:v>
                </c:pt>
                <c:pt idx="1351">
                  <c:v>56</c:v>
                </c:pt>
                <c:pt idx="1352">
                  <c:v>66</c:v>
                </c:pt>
                <c:pt idx="1353">
                  <c:v>74</c:v>
                </c:pt>
                <c:pt idx="1354">
                  <c:v>142</c:v>
                </c:pt>
                <c:pt idx="1355">
                  <c:v>120</c:v>
                </c:pt>
                <c:pt idx="1356">
                  <c:v>204</c:v>
                </c:pt>
                <c:pt idx="1357">
                  <c:v>294</c:v>
                </c:pt>
                <c:pt idx="1358">
                  <c:v>290</c:v>
                </c:pt>
                <c:pt idx="1359">
                  <c:v>588</c:v>
                </c:pt>
                <c:pt idx="1360">
                  <c:v>179</c:v>
                </c:pt>
                <c:pt idx="1361">
                  <c:v>483</c:v>
                </c:pt>
                <c:pt idx="1362">
                  <c:v>549</c:v>
                </c:pt>
                <c:pt idx="1363">
                  <c:v>285</c:v>
                </c:pt>
                <c:pt idx="1364">
                  <c:v>188</c:v>
                </c:pt>
                <c:pt idx="1365">
                  <c:v>405</c:v>
                </c:pt>
                <c:pt idx="1366">
                  <c:v>109</c:v>
                </c:pt>
                <c:pt idx="1367">
                  <c:v>223</c:v>
                </c:pt>
                <c:pt idx="1368">
                  <c:v>64</c:v>
                </c:pt>
                <c:pt idx="1369">
                  <c:v>298</c:v>
                </c:pt>
                <c:pt idx="1370">
                  <c:v>176</c:v>
                </c:pt>
                <c:pt idx="1371">
                  <c:v>257</c:v>
                </c:pt>
                <c:pt idx="1372">
                  <c:v>166</c:v>
                </c:pt>
                <c:pt idx="1373">
                  <c:v>411</c:v>
                </c:pt>
                <c:pt idx="1374">
                  <c:v>168</c:v>
                </c:pt>
                <c:pt idx="1375">
                  <c:v>248</c:v>
                </c:pt>
                <c:pt idx="1376">
                  <c:v>77</c:v>
                </c:pt>
                <c:pt idx="1377">
                  <c:v>98</c:v>
                </c:pt>
                <c:pt idx="1378">
                  <c:v>148</c:v>
                </c:pt>
                <c:pt idx="1379">
                  <c:v>155</c:v>
                </c:pt>
                <c:pt idx="1380">
                  <c:v>172</c:v>
                </c:pt>
                <c:pt idx="1381">
                  <c:v>132</c:v>
                </c:pt>
                <c:pt idx="1382">
                  <c:v>18</c:v>
                </c:pt>
                <c:pt idx="1383">
                  <c:v>54</c:v>
                </c:pt>
                <c:pt idx="1384">
                  <c:v>79</c:v>
                </c:pt>
                <c:pt idx="1385">
                  <c:v>150</c:v>
                </c:pt>
                <c:pt idx="1386">
                  <c:v>41</c:v>
                </c:pt>
                <c:pt idx="1387">
                  <c:v>41</c:v>
                </c:pt>
                <c:pt idx="1388">
                  <c:v>90</c:v>
                </c:pt>
                <c:pt idx="1389">
                  <c:v>97</c:v>
                </c:pt>
                <c:pt idx="1390">
                  <c:v>96</c:v>
                </c:pt>
                <c:pt idx="1391">
                  <c:v>15</c:v>
                </c:pt>
                <c:pt idx="1392">
                  <c:v>99</c:v>
                </c:pt>
                <c:pt idx="1393">
                  <c:v>97</c:v>
                </c:pt>
                <c:pt idx="1394">
                  <c:v>56</c:v>
                </c:pt>
                <c:pt idx="1395">
                  <c:v>121</c:v>
                </c:pt>
                <c:pt idx="1396">
                  <c:v>87</c:v>
                </c:pt>
                <c:pt idx="1397">
                  <c:v>60</c:v>
                </c:pt>
                <c:pt idx="1398">
                  <c:v>24</c:v>
                </c:pt>
                <c:pt idx="1399">
                  <c:v>36</c:v>
                </c:pt>
                <c:pt idx="1400">
                  <c:v>51</c:v>
                </c:pt>
                <c:pt idx="1401">
                  <c:v>16</c:v>
                </c:pt>
                <c:pt idx="1402">
                  <c:v>22</c:v>
                </c:pt>
                <c:pt idx="1403">
                  <c:v>37</c:v>
                </c:pt>
                <c:pt idx="1404">
                  <c:v>24</c:v>
                </c:pt>
                <c:pt idx="1405">
                  <c:v>42</c:v>
                </c:pt>
                <c:pt idx="1406">
                  <c:v>56</c:v>
                </c:pt>
                <c:pt idx="1407">
                  <c:v>11</c:v>
                </c:pt>
                <c:pt idx="1408">
                  <c:v>33</c:v>
                </c:pt>
                <c:pt idx="1409">
                  <c:v>15</c:v>
                </c:pt>
                <c:pt idx="1410">
                  <c:v>54</c:v>
                </c:pt>
                <c:pt idx="1411">
                  <c:v>39</c:v>
                </c:pt>
                <c:pt idx="1412">
                  <c:v>41</c:v>
                </c:pt>
                <c:pt idx="1413">
                  <c:v>82</c:v>
                </c:pt>
                <c:pt idx="1414">
                  <c:v>43</c:v>
                </c:pt>
                <c:pt idx="1415">
                  <c:v>6</c:v>
                </c:pt>
                <c:pt idx="1416">
                  <c:v>95</c:v>
                </c:pt>
                <c:pt idx="1417">
                  <c:v>54</c:v>
                </c:pt>
                <c:pt idx="1418">
                  <c:v>55</c:v>
                </c:pt>
                <c:pt idx="1419">
                  <c:v>174</c:v>
                </c:pt>
                <c:pt idx="1420">
                  <c:v>28</c:v>
                </c:pt>
                <c:pt idx="1421">
                  <c:v>13</c:v>
                </c:pt>
                <c:pt idx="1422">
                  <c:v>5</c:v>
                </c:pt>
                <c:pt idx="1423">
                  <c:v>29</c:v>
                </c:pt>
                <c:pt idx="1424">
                  <c:v>38</c:v>
                </c:pt>
                <c:pt idx="1425">
                  <c:v>48</c:v>
                </c:pt>
                <c:pt idx="1426">
                  <c:v>21</c:v>
                </c:pt>
                <c:pt idx="1427">
                  <c:v>80</c:v>
                </c:pt>
                <c:pt idx="1428">
                  <c:v>52</c:v>
                </c:pt>
                <c:pt idx="1429">
                  <c:v>17</c:v>
                </c:pt>
                <c:pt idx="1430">
                  <c:v>13</c:v>
                </c:pt>
                <c:pt idx="1431">
                  <c:v>67</c:v>
                </c:pt>
                <c:pt idx="1432">
                  <c:v>136</c:v>
                </c:pt>
                <c:pt idx="1433">
                  <c:v>51</c:v>
                </c:pt>
                <c:pt idx="1434">
                  <c:v>56</c:v>
                </c:pt>
                <c:pt idx="1435">
                  <c:v>50</c:v>
                </c:pt>
                <c:pt idx="1436">
                  <c:v>20</c:v>
                </c:pt>
                <c:pt idx="1437">
                  <c:v>40</c:v>
                </c:pt>
                <c:pt idx="1438">
                  <c:v>24</c:v>
                </c:pt>
                <c:pt idx="1439">
                  <c:v>82</c:v>
                </c:pt>
                <c:pt idx="1440">
                  <c:v>16</c:v>
                </c:pt>
                <c:pt idx="1441">
                  <c:v>42</c:v>
                </c:pt>
                <c:pt idx="1442">
                  <c:v>92</c:v>
                </c:pt>
                <c:pt idx="1443">
                  <c:v>51</c:v>
                </c:pt>
                <c:pt idx="1444">
                  <c:v>11</c:v>
                </c:pt>
                <c:pt idx="1445">
                  <c:v>40</c:v>
                </c:pt>
                <c:pt idx="1446">
                  <c:v>26</c:v>
                </c:pt>
                <c:pt idx="1447">
                  <c:v>1</c:v>
                </c:pt>
                <c:pt idx="1448">
                  <c:v>23</c:v>
                </c:pt>
                <c:pt idx="1449">
                  <c:v>21</c:v>
                </c:pt>
                <c:pt idx="1450">
                  <c:v>37</c:v>
                </c:pt>
                <c:pt idx="1451">
                  <c:v>27</c:v>
                </c:pt>
                <c:pt idx="1452">
                  <c:v>9</c:v>
                </c:pt>
                <c:pt idx="1453">
                  <c:v>10</c:v>
                </c:pt>
                <c:pt idx="1454">
                  <c:v>15</c:v>
                </c:pt>
                <c:pt idx="1455">
                  <c:v>11</c:v>
                </c:pt>
                <c:pt idx="1456">
                  <c:v>18</c:v>
                </c:pt>
                <c:pt idx="1457">
                  <c:v>3</c:v>
                </c:pt>
                <c:pt idx="1458">
                  <c:v>4</c:v>
                </c:pt>
                <c:pt idx="1459">
                  <c:v>2</c:v>
                </c:pt>
                <c:pt idx="1460">
                  <c:v>2</c:v>
                </c:pt>
                <c:pt idx="1461">
                  <c:v>17</c:v>
                </c:pt>
                <c:pt idx="1462">
                  <c:v>12</c:v>
                </c:pt>
                <c:pt idx="1463">
                  <c:v>0</c:v>
                </c:pt>
                <c:pt idx="1464">
                  <c:v>2</c:v>
                </c:pt>
                <c:pt idx="1465">
                  <c:v>6</c:v>
                </c:pt>
                <c:pt idx="1466">
                  <c:v>5</c:v>
                </c:pt>
                <c:pt idx="1467">
                  <c:v>10</c:v>
                </c:pt>
                <c:pt idx="1468">
                  <c:v>2</c:v>
                </c:pt>
                <c:pt idx="1469">
                  <c:v>6</c:v>
                </c:pt>
                <c:pt idx="1470">
                  <c:v>0</c:v>
                </c:pt>
                <c:pt idx="1471">
                  <c:v>7</c:v>
                </c:pt>
                <c:pt idx="1472">
                  <c:v>6</c:v>
                </c:pt>
                <c:pt idx="1473">
                  <c:v>0</c:v>
                </c:pt>
                <c:pt idx="1474">
                  <c:v>2</c:v>
                </c:pt>
                <c:pt idx="1475">
                  <c:v>3</c:v>
                </c:pt>
                <c:pt idx="1476">
                  <c:v>0</c:v>
                </c:pt>
                <c:pt idx="1477">
                  <c:v>1</c:v>
                </c:pt>
                <c:pt idx="1478">
                  <c:v>0</c:v>
                </c:pt>
                <c:pt idx="1479">
                  <c:v>3</c:v>
                </c:pt>
                <c:pt idx="1480">
                  <c:v>1</c:v>
                </c:pt>
                <c:pt idx="1481">
                  <c:v>2</c:v>
                </c:pt>
                <c:pt idx="1482">
                  <c:v>1</c:v>
                </c:pt>
                <c:pt idx="1483">
                  <c:v>0</c:v>
                </c:pt>
                <c:pt idx="1484">
                  <c:v>1</c:v>
                </c:pt>
                <c:pt idx="1485">
                  <c:v>1</c:v>
                </c:pt>
                <c:pt idx="1486">
                  <c:v>2</c:v>
                </c:pt>
                <c:pt idx="1487">
                  <c:v>1</c:v>
                </c:pt>
                <c:pt idx="1488">
                  <c:v>1</c:v>
                </c:pt>
                <c:pt idx="1489">
                  <c:v>1</c:v>
                </c:pt>
                <c:pt idx="1490">
                  <c:v>0</c:v>
                </c:pt>
                <c:pt idx="1491">
                  <c:v>1</c:v>
                </c:pt>
                <c:pt idx="1492">
                  <c:v>0</c:v>
                </c:pt>
                <c:pt idx="1493">
                  <c:v>1</c:v>
                </c:pt>
                <c:pt idx="1494">
                  <c:v>0</c:v>
                </c:pt>
                <c:pt idx="1495">
                  <c:v>1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2</c:v>
                </c:pt>
                <c:pt idx="1503">
                  <c:v>1</c:v>
                </c:pt>
                <c:pt idx="1504">
                  <c:v>1</c:v>
                </c:pt>
                <c:pt idx="1505">
                  <c:v>377</c:v>
                </c:pt>
                <c:pt idx="1506">
                  <c:v>173</c:v>
                </c:pt>
                <c:pt idx="1507">
                  <c:v>176</c:v>
                </c:pt>
                <c:pt idx="1508">
                  <c:v>273</c:v>
                </c:pt>
                <c:pt idx="1509">
                  <c:v>105</c:v>
                </c:pt>
                <c:pt idx="1510">
                  <c:v>93</c:v>
                </c:pt>
                <c:pt idx="1511">
                  <c:v>157</c:v>
                </c:pt>
                <c:pt idx="1512">
                  <c:v>108</c:v>
                </c:pt>
                <c:pt idx="1513">
                  <c:v>172</c:v>
                </c:pt>
                <c:pt idx="1514">
                  <c:v>44</c:v>
                </c:pt>
                <c:pt idx="1515">
                  <c:v>245</c:v>
                </c:pt>
                <c:pt idx="1516">
                  <c:v>42</c:v>
                </c:pt>
                <c:pt idx="1517">
                  <c:v>115</c:v>
                </c:pt>
                <c:pt idx="1518">
                  <c:v>192</c:v>
                </c:pt>
                <c:pt idx="1519">
                  <c:v>653</c:v>
                </c:pt>
                <c:pt idx="1520">
                  <c:v>502</c:v>
                </c:pt>
                <c:pt idx="1521">
                  <c:v>606</c:v>
                </c:pt>
                <c:pt idx="1522">
                  <c:v>642</c:v>
                </c:pt>
                <c:pt idx="1523">
                  <c:v>922</c:v>
                </c:pt>
                <c:pt idx="1524">
                  <c:v>230</c:v>
                </c:pt>
                <c:pt idx="1525">
                  <c:v>717</c:v>
                </c:pt>
                <c:pt idx="1526">
                  <c:v>174</c:v>
                </c:pt>
                <c:pt idx="1527">
                  <c:v>415</c:v>
                </c:pt>
                <c:pt idx="1528">
                  <c:v>833</c:v>
                </c:pt>
                <c:pt idx="1529">
                  <c:v>28</c:v>
                </c:pt>
                <c:pt idx="1530">
                  <c:v>715</c:v>
                </c:pt>
                <c:pt idx="1531">
                  <c:v>419</c:v>
                </c:pt>
                <c:pt idx="1532">
                  <c:v>344</c:v>
                </c:pt>
                <c:pt idx="1533">
                  <c:v>626</c:v>
                </c:pt>
                <c:pt idx="1534">
                  <c:v>761</c:v>
                </c:pt>
                <c:pt idx="1535">
                  <c:v>380</c:v>
                </c:pt>
                <c:pt idx="1536">
                  <c:v>178</c:v>
                </c:pt>
                <c:pt idx="1537">
                  <c:v>273</c:v>
                </c:pt>
                <c:pt idx="1538">
                  <c:v>157</c:v>
                </c:pt>
                <c:pt idx="1539">
                  <c:v>227</c:v>
                </c:pt>
                <c:pt idx="1540">
                  <c:v>190</c:v>
                </c:pt>
                <c:pt idx="1541">
                  <c:v>150</c:v>
                </c:pt>
                <c:pt idx="1542">
                  <c:v>221</c:v>
                </c:pt>
                <c:pt idx="1543">
                  <c:v>188</c:v>
                </c:pt>
                <c:pt idx="1544">
                  <c:v>372</c:v>
                </c:pt>
                <c:pt idx="1545">
                  <c:v>265</c:v>
                </c:pt>
                <c:pt idx="1546">
                  <c:v>150</c:v>
                </c:pt>
                <c:pt idx="1547">
                  <c:v>178</c:v>
                </c:pt>
                <c:pt idx="1548">
                  <c:v>97</c:v>
                </c:pt>
                <c:pt idx="1549">
                  <c:v>196</c:v>
                </c:pt>
                <c:pt idx="1550">
                  <c:v>183</c:v>
                </c:pt>
                <c:pt idx="1551">
                  <c:v>160</c:v>
                </c:pt>
                <c:pt idx="1552">
                  <c:v>66</c:v>
                </c:pt>
                <c:pt idx="1553">
                  <c:v>156</c:v>
                </c:pt>
                <c:pt idx="1554">
                  <c:v>278</c:v>
                </c:pt>
                <c:pt idx="1555">
                  <c:v>57</c:v>
                </c:pt>
                <c:pt idx="1556">
                  <c:v>65</c:v>
                </c:pt>
                <c:pt idx="1557">
                  <c:v>106</c:v>
                </c:pt>
                <c:pt idx="1558">
                  <c:v>136</c:v>
                </c:pt>
                <c:pt idx="1559">
                  <c:v>122</c:v>
                </c:pt>
                <c:pt idx="1560">
                  <c:v>116</c:v>
                </c:pt>
                <c:pt idx="1561">
                  <c:v>94</c:v>
                </c:pt>
                <c:pt idx="1562">
                  <c:v>200</c:v>
                </c:pt>
                <c:pt idx="1563">
                  <c:v>278</c:v>
                </c:pt>
                <c:pt idx="1564">
                  <c:v>166</c:v>
                </c:pt>
                <c:pt idx="1565">
                  <c:v>195</c:v>
                </c:pt>
                <c:pt idx="1566">
                  <c:v>185</c:v>
                </c:pt>
                <c:pt idx="1567">
                  <c:v>115</c:v>
                </c:pt>
                <c:pt idx="1568">
                  <c:v>130</c:v>
                </c:pt>
                <c:pt idx="1569">
                  <c:v>92</c:v>
                </c:pt>
                <c:pt idx="1570">
                  <c:v>80</c:v>
                </c:pt>
                <c:pt idx="1571">
                  <c:v>110</c:v>
                </c:pt>
                <c:pt idx="1572">
                  <c:v>120</c:v>
                </c:pt>
                <c:pt idx="1573">
                  <c:v>167</c:v>
                </c:pt>
                <c:pt idx="1574">
                  <c:v>71</c:v>
                </c:pt>
                <c:pt idx="1575">
                  <c:v>114</c:v>
                </c:pt>
                <c:pt idx="1576">
                  <c:v>46</c:v>
                </c:pt>
                <c:pt idx="1577">
                  <c:v>74</c:v>
                </c:pt>
                <c:pt idx="1578">
                  <c:v>47</c:v>
                </c:pt>
                <c:pt idx="1579">
                  <c:v>95</c:v>
                </c:pt>
                <c:pt idx="1580">
                  <c:v>55</c:v>
                </c:pt>
                <c:pt idx="1581">
                  <c:v>96</c:v>
                </c:pt>
                <c:pt idx="1582">
                  <c:v>43</c:v>
                </c:pt>
                <c:pt idx="1583">
                  <c:v>105</c:v>
                </c:pt>
                <c:pt idx="1584">
                  <c:v>89</c:v>
                </c:pt>
                <c:pt idx="1585">
                  <c:v>84</c:v>
                </c:pt>
                <c:pt idx="1586">
                  <c:v>133</c:v>
                </c:pt>
                <c:pt idx="1587">
                  <c:v>24</c:v>
                </c:pt>
                <c:pt idx="1588">
                  <c:v>53</c:v>
                </c:pt>
                <c:pt idx="1589">
                  <c:v>52</c:v>
                </c:pt>
                <c:pt idx="1590">
                  <c:v>17</c:v>
                </c:pt>
                <c:pt idx="1591">
                  <c:v>13</c:v>
                </c:pt>
                <c:pt idx="1592">
                  <c:v>25</c:v>
                </c:pt>
                <c:pt idx="1593">
                  <c:v>50</c:v>
                </c:pt>
                <c:pt idx="1594">
                  <c:v>16</c:v>
                </c:pt>
                <c:pt idx="1595">
                  <c:v>23</c:v>
                </c:pt>
                <c:pt idx="1596">
                  <c:v>11</c:v>
                </c:pt>
                <c:pt idx="1597">
                  <c:v>56</c:v>
                </c:pt>
                <c:pt idx="1598">
                  <c:v>5</c:v>
                </c:pt>
                <c:pt idx="1599">
                  <c:v>2</c:v>
                </c:pt>
                <c:pt idx="1600">
                  <c:v>26</c:v>
                </c:pt>
                <c:pt idx="1601">
                  <c:v>30</c:v>
                </c:pt>
                <c:pt idx="1602">
                  <c:v>22</c:v>
                </c:pt>
                <c:pt idx="1603">
                  <c:v>9</c:v>
                </c:pt>
                <c:pt idx="1604">
                  <c:v>13</c:v>
                </c:pt>
                <c:pt idx="1605">
                  <c:v>10</c:v>
                </c:pt>
                <c:pt idx="1606">
                  <c:v>26</c:v>
                </c:pt>
                <c:pt idx="1607">
                  <c:v>20</c:v>
                </c:pt>
                <c:pt idx="1608">
                  <c:v>19</c:v>
                </c:pt>
                <c:pt idx="1609">
                  <c:v>16</c:v>
                </c:pt>
                <c:pt idx="1610">
                  <c:v>16</c:v>
                </c:pt>
                <c:pt idx="1611">
                  <c:v>17</c:v>
                </c:pt>
                <c:pt idx="1612">
                  <c:v>18</c:v>
                </c:pt>
                <c:pt idx="1613">
                  <c:v>15</c:v>
                </c:pt>
                <c:pt idx="1614">
                  <c:v>44</c:v>
                </c:pt>
                <c:pt idx="1615">
                  <c:v>27</c:v>
                </c:pt>
                <c:pt idx="1616">
                  <c:v>12</c:v>
                </c:pt>
                <c:pt idx="1617">
                  <c:v>25</c:v>
                </c:pt>
                <c:pt idx="1618">
                  <c:v>16</c:v>
                </c:pt>
                <c:pt idx="1619">
                  <c:v>12</c:v>
                </c:pt>
                <c:pt idx="1620">
                  <c:v>16</c:v>
                </c:pt>
                <c:pt idx="1621">
                  <c:v>29</c:v>
                </c:pt>
                <c:pt idx="1622">
                  <c:v>25</c:v>
                </c:pt>
                <c:pt idx="1623">
                  <c:v>12</c:v>
                </c:pt>
                <c:pt idx="1624">
                  <c:v>15</c:v>
                </c:pt>
                <c:pt idx="1625">
                  <c:v>34</c:v>
                </c:pt>
                <c:pt idx="1626">
                  <c:v>2</c:v>
                </c:pt>
                <c:pt idx="1627">
                  <c:v>42</c:v>
                </c:pt>
                <c:pt idx="1628">
                  <c:v>11</c:v>
                </c:pt>
                <c:pt idx="1629">
                  <c:v>1</c:v>
                </c:pt>
                <c:pt idx="1630">
                  <c:v>1</c:v>
                </c:pt>
                <c:pt idx="1631">
                  <c:v>8</c:v>
                </c:pt>
                <c:pt idx="1632">
                  <c:v>9</c:v>
                </c:pt>
                <c:pt idx="1633">
                  <c:v>13</c:v>
                </c:pt>
                <c:pt idx="1634">
                  <c:v>14</c:v>
                </c:pt>
                <c:pt idx="1635">
                  <c:v>25</c:v>
                </c:pt>
                <c:pt idx="1636">
                  <c:v>45</c:v>
                </c:pt>
                <c:pt idx="1637">
                  <c:v>22</c:v>
                </c:pt>
                <c:pt idx="1638">
                  <c:v>30</c:v>
                </c:pt>
                <c:pt idx="1639">
                  <c:v>14</c:v>
                </c:pt>
                <c:pt idx="1640">
                  <c:v>6</c:v>
                </c:pt>
                <c:pt idx="1641">
                  <c:v>10</c:v>
                </c:pt>
                <c:pt idx="1642">
                  <c:v>4</c:v>
                </c:pt>
                <c:pt idx="1643">
                  <c:v>15</c:v>
                </c:pt>
                <c:pt idx="1644">
                  <c:v>7</c:v>
                </c:pt>
                <c:pt idx="1645">
                  <c:v>44</c:v>
                </c:pt>
                <c:pt idx="1646">
                  <c:v>4</c:v>
                </c:pt>
                <c:pt idx="1647">
                  <c:v>3</c:v>
                </c:pt>
                <c:pt idx="1648">
                  <c:v>19</c:v>
                </c:pt>
                <c:pt idx="1649">
                  <c:v>1</c:v>
                </c:pt>
                <c:pt idx="1650">
                  <c:v>40</c:v>
                </c:pt>
                <c:pt idx="1651">
                  <c:v>8</c:v>
                </c:pt>
                <c:pt idx="1652">
                  <c:v>3</c:v>
                </c:pt>
                <c:pt idx="1653">
                  <c:v>1</c:v>
                </c:pt>
                <c:pt idx="1654">
                  <c:v>14</c:v>
                </c:pt>
                <c:pt idx="1655">
                  <c:v>9</c:v>
                </c:pt>
                <c:pt idx="1656">
                  <c:v>15</c:v>
                </c:pt>
                <c:pt idx="1657">
                  <c:v>5</c:v>
                </c:pt>
                <c:pt idx="1658">
                  <c:v>8</c:v>
                </c:pt>
                <c:pt idx="1659">
                  <c:v>6</c:v>
                </c:pt>
                <c:pt idx="1660">
                  <c:v>9</c:v>
                </c:pt>
                <c:pt idx="1661">
                  <c:v>7</c:v>
                </c:pt>
                <c:pt idx="1662">
                  <c:v>3</c:v>
                </c:pt>
                <c:pt idx="1663">
                  <c:v>1</c:v>
                </c:pt>
                <c:pt idx="1664">
                  <c:v>10</c:v>
                </c:pt>
                <c:pt idx="1665">
                  <c:v>2</c:v>
                </c:pt>
                <c:pt idx="1666">
                  <c:v>3</c:v>
                </c:pt>
                <c:pt idx="1667">
                  <c:v>10</c:v>
                </c:pt>
                <c:pt idx="1668">
                  <c:v>0</c:v>
                </c:pt>
                <c:pt idx="1669">
                  <c:v>19</c:v>
                </c:pt>
                <c:pt idx="1670">
                  <c:v>14</c:v>
                </c:pt>
                <c:pt idx="1671">
                  <c:v>4</c:v>
                </c:pt>
                <c:pt idx="1672">
                  <c:v>22</c:v>
                </c:pt>
                <c:pt idx="1673">
                  <c:v>22</c:v>
                </c:pt>
                <c:pt idx="1674">
                  <c:v>57</c:v>
                </c:pt>
                <c:pt idx="1675">
                  <c:v>5</c:v>
                </c:pt>
                <c:pt idx="1676">
                  <c:v>36</c:v>
                </c:pt>
                <c:pt idx="1677">
                  <c:v>64</c:v>
                </c:pt>
                <c:pt idx="1678">
                  <c:v>21</c:v>
                </c:pt>
                <c:pt idx="1679">
                  <c:v>8</c:v>
                </c:pt>
                <c:pt idx="1680">
                  <c:v>20</c:v>
                </c:pt>
                <c:pt idx="1681">
                  <c:v>1</c:v>
                </c:pt>
                <c:pt idx="1682">
                  <c:v>8</c:v>
                </c:pt>
                <c:pt idx="1683">
                  <c:v>5</c:v>
                </c:pt>
                <c:pt idx="1684">
                  <c:v>1</c:v>
                </c:pt>
                <c:pt idx="1685">
                  <c:v>4</c:v>
                </c:pt>
                <c:pt idx="1686">
                  <c:v>0</c:v>
                </c:pt>
                <c:pt idx="1687">
                  <c:v>1</c:v>
                </c:pt>
                <c:pt idx="1688">
                  <c:v>2</c:v>
                </c:pt>
                <c:pt idx="1689">
                  <c:v>0</c:v>
                </c:pt>
                <c:pt idx="1690">
                  <c:v>0</c:v>
                </c:pt>
                <c:pt idx="1691">
                  <c:v>1</c:v>
                </c:pt>
                <c:pt idx="1692">
                  <c:v>3</c:v>
                </c:pt>
                <c:pt idx="1693">
                  <c:v>1</c:v>
                </c:pt>
                <c:pt idx="1694">
                  <c:v>1</c:v>
                </c:pt>
                <c:pt idx="1695">
                  <c:v>1</c:v>
                </c:pt>
                <c:pt idx="1696">
                  <c:v>1</c:v>
                </c:pt>
                <c:pt idx="1697">
                  <c:v>0</c:v>
                </c:pt>
                <c:pt idx="1698">
                  <c:v>1</c:v>
                </c:pt>
                <c:pt idx="1699">
                  <c:v>0</c:v>
                </c:pt>
                <c:pt idx="1700">
                  <c:v>1</c:v>
                </c:pt>
                <c:pt idx="1701">
                  <c:v>1</c:v>
                </c:pt>
                <c:pt idx="1702">
                  <c:v>1</c:v>
                </c:pt>
                <c:pt idx="1703">
                  <c:v>0</c:v>
                </c:pt>
                <c:pt idx="1704">
                  <c:v>1</c:v>
                </c:pt>
                <c:pt idx="1705">
                  <c:v>1</c:v>
                </c:pt>
                <c:pt idx="1706">
                  <c:v>0</c:v>
                </c:pt>
                <c:pt idx="1707">
                  <c:v>0</c:v>
                </c:pt>
                <c:pt idx="1708">
                  <c:v>1</c:v>
                </c:pt>
                <c:pt idx="1709">
                  <c:v>1</c:v>
                </c:pt>
                <c:pt idx="1710">
                  <c:v>1</c:v>
                </c:pt>
                <c:pt idx="1711">
                  <c:v>0</c:v>
                </c:pt>
                <c:pt idx="1712">
                  <c:v>0</c:v>
                </c:pt>
                <c:pt idx="1713">
                  <c:v>1</c:v>
                </c:pt>
                <c:pt idx="1714">
                  <c:v>0</c:v>
                </c:pt>
                <c:pt idx="1715">
                  <c:v>1</c:v>
                </c:pt>
                <c:pt idx="1716">
                  <c:v>0</c:v>
                </c:pt>
                <c:pt idx="1717">
                  <c:v>1</c:v>
                </c:pt>
                <c:pt idx="1718">
                  <c:v>1</c:v>
                </c:pt>
                <c:pt idx="1719">
                  <c:v>0</c:v>
                </c:pt>
                <c:pt idx="1720">
                  <c:v>1</c:v>
                </c:pt>
                <c:pt idx="1721">
                  <c:v>1</c:v>
                </c:pt>
                <c:pt idx="1722">
                  <c:v>1</c:v>
                </c:pt>
                <c:pt idx="1723">
                  <c:v>1</c:v>
                </c:pt>
                <c:pt idx="1724">
                  <c:v>1</c:v>
                </c:pt>
                <c:pt idx="1725">
                  <c:v>0</c:v>
                </c:pt>
                <c:pt idx="1726">
                  <c:v>1</c:v>
                </c:pt>
                <c:pt idx="1727">
                  <c:v>1</c:v>
                </c:pt>
                <c:pt idx="1728">
                  <c:v>0</c:v>
                </c:pt>
                <c:pt idx="1729">
                  <c:v>1</c:v>
                </c:pt>
                <c:pt idx="1730">
                  <c:v>1</c:v>
                </c:pt>
                <c:pt idx="1731">
                  <c:v>1</c:v>
                </c:pt>
                <c:pt idx="1732">
                  <c:v>126</c:v>
                </c:pt>
                <c:pt idx="1733">
                  <c:v>196</c:v>
                </c:pt>
                <c:pt idx="1734">
                  <c:v>129</c:v>
                </c:pt>
                <c:pt idx="1735">
                  <c:v>43</c:v>
                </c:pt>
                <c:pt idx="1736">
                  <c:v>50</c:v>
                </c:pt>
                <c:pt idx="1737">
                  <c:v>60</c:v>
                </c:pt>
                <c:pt idx="1738">
                  <c:v>41</c:v>
                </c:pt>
                <c:pt idx="1739">
                  <c:v>83</c:v>
                </c:pt>
                <c:pt idx="1740">
                  <c:v>41</c:v>
                </c:pt>
                <c:pt idx="1741">
                  <c:v>13</c:v>
                </c:pt>
                <c:pt idx="1742">
                  <c:v>17</c:v>
                </c:pt>
                <c:pt idx="1743">
                  <c:v>12</c:v>
                </c:pt>
                <c:pt idx="1744">
                  <c:v>28</c:v>
                </c:pt>
                <c:pt idx="1745">
                  <c:v>21</c:v>
                </c:pt>
                <c:pt idx="1746">
                  <c:v>14</c:v>
                </c:pt>
                <c:pt idx="1747">
                  <c:v>18</c:v>
                </c:pt>
                <c:pt idx="1748">
                  <c:v>7</c:v>
                </c:pt>
                <c:pt idx="1749">
                  <c:v>50</c:v>
                </c:pt>
                <c:pt idx="1750">
                  <c:v>48</c:v>
                </c:pt>
                <c:pt idx="1751">
                  <c:v>39</c:v>
                </c:pt>
                <c:pt idx="1752">
                  <c:v>7</c:v>
                </c:pt>
                <c:pt idx="1753">
                  <c:v>16</c:v>
                </c:pt>
                <c:pt idx="1754">
                  <c:v>5</c:v>
                </c:pt>
                <c:pt idx="1755">
                  <c:v>16</c:v>
                </c:pt>
                <c:pt idx="1756">
                  <c:v>48</c:v>
                </c:pt>
                <c:pt idx="1757">
                  <c:v>14</c:v>
                </c:pt>
                <c:pt idx="1758">
                  <c:v>10</c:v>
                </c:pt>
                <c:pt idx="1759">
                  <c:v>7</c:v>
                </c:pt>
                <c:pt idx="1760">
                  <c:v>4</c:v>
                </c:pt>
                <c:pt idx="1761">
                  <c:v>8</c:v>
                </c:pt>
                <c:pt idx="1762">
                  <c:v>7</c:v>
                </c:pt>
                <c:pt idx="1763">
                  <c:v>8</c:v>
                </c:pt>
                <c:pt idx="1764">
                  <c:v>39</c:v>
                </c:pt>
                <c:pt idx="1765">
                  <c:v>11</c:v>
                </c:pt>
                <c:pt idx="1766">
                  <c:v>10</c:v>
                </c:pt>
                <c:pt idx="1767">
                  <c:v>9</c:v>
                </c:pt>
                <c:pt idx="1768">
                  <c:v>5</c:v>
                </c:pt>
                <c:pt idx="1769">
                  <c:v>7</c:v>
                </c:pt>
                <c:pt idx="1770">
                  <c:v>10</c:v>
                </c:pt>
                <c:pt idx="1771">
                  <c:v>8</c:v>
                </c:pt>
                <c:pt idx="1772">
                  <c:v>5</c:v>
                </c:pt>
                <c:pt idx="1773">
                  <c:v>2</c:v>
                </c:pt>
                <c:pt idx="1774">
                  <c:v>6</c:v>
                </c:pt>
                <c:pt idx="1775">
                  <c:v>2</c:v>
                </c:pt>
                <c:pt idx="1776">
                  <c:v>4</c:v>
                </c:pt>
                <c:pt idx="1777">
                  <c:v>2</c:v>
                </c:pt>
                <c:pt idx="1778">
                  <c:v>6</c:v>
                </c:pt>
                <c:pt idx="1779">
                  <c:v>3</c:v>
                </c:pt>
                <c:pt idx="1780">
                  <c:v>2</c:v>
                </c:pt>
                <c:pt idx="1781">
                  <c:v>3</c:v>
                </c:pt>
                <c:pt idx="1782">
                  <c:v>5</c:v>
                </c:pt>
                <c:pt idx="1783">
                  <c:v>7</c:v>
                </c:pt>
                <c:pt idx="1784">
                  <c:v>11</c:v>
                </c:pt>
                <c:pt idx="1785">
                  <c:v>1</c:v>
                </c:pt>
                <c:pt idx="1786">
                  <c:v>2</c:v>
                </c:pt>
                <c:pt idx="1787">
                  <c:v>2</c:v>
                </c:pt>
                <c:pt idx="1788">
                  <c:v>2</c:v>
                </c:pt>
                <c:pt idx="1789">
                  <c:v>5</c:v>
                </c:pt>
                <c:pt idx="1790">
                  <c:v>0</c:v>
                </c:pt>
                <c:pt idx="1791">
                  <c:v>2</c:v>
                </c:pt>
                <c:pt idx="1792">
                  <c:v>4</c:v>
                </c:pt>
                <c:pt idx="1793">
                  <c:v>6</c:v>
                </c:pt>
                <c:pt idx="1794">
                  <c:v>3</c:v>
                </c:pt>
                <c:pt idx="1795">
                  <c:v>4</c:v>
                </c:pt>
                <c:pt idx="1796">
                  <c:v>0</c:v>
                </c:pt>
                <c:pt idx="1797">
                  <c:v>5</c:v>
                </c:pt>
                <c:pt idx="1798">
                  <c:v>1</c:v>
                </c:pt>
                <c:pt idx="1799">
                  <c:v>1</c:v>
                </c:pt>
                <c:pt idx="1800">
                  <c:v>7</c:v>
                </c:pt>
                <c:pt idx="1801">
                  <c:v>0</c:v>
                </c:pt>
                <c:pt idx="1802">
                  <c:v>0</c:v>
                </c:pt>
                <c:pt idx="1803">
                  <c:v>1</c:v>
                </c:pt>
                <c:pt idx="1804">
                  <c:v>2</c:v>
                </c:pt>
                <c:pt idx="1805">
                  <c:v>0</c:v>
                </c:pt>
                <c:pt idx="1806">
                  <c:v>0</c:v>
                </c:pt>
                <c:pt idx="1807">
                  <c:v>1</c:v>
                </c:pt>
                <c:pt idx="1808">
                  <c:v>1</c:v>
                </c:pt>
                <c:pt idx="1809">
                  <c:v>0</c:v>
                </c:pt>
                <c:pt idx="1810">
                  <c:v>1</c:v>
                </c:pt>
                <c:pt idx="1811">
                  <c:v>0</c:v>
                </c:pt>
                <c:pt idx="1812">
                  <c:v>0</c:v>
                </c:pt>
                <c:pt idx="1813">
                  <c:v>3</c:v>
                </c:pt>
                <c:pt idx="1814">
                  <c:v>2</c:v>
                </c:pt>
                <c:pt idx="1815">
                  <c:v>5</c:v>
                </c:pt>
                <c:pt idx="1816">
                  <c:v>35</c:v>
                </c:pt>
                <c:pt idx="1817">
                  <c:v>23</c:v>
                </c:pt>
                <c:pt idx="1818">
                  <c:v>0</c:v>
                </c:pt>
                <c:pt idx="1819">
                  <c:v>4</c:v>
                </c:pt>
                <c:pt idx="1820">
                  <c:v>0</c:v>
                </c:pt>
                <c:pt idx="1821">
                  <c:v>1</c:v>
                </c:pt>
                <c:pt idx="1822">
                  <c:v>0</c:v>
                </c:pt>
                <c:pt idx="1823">
                  <c:v>5</c:v>
                </c:pt>
                <c:pt idx="1824">
                  <c:v>6</c:v>
                </c:pt>
                <c:pt idx="1825">
                  <c:v>2</c:v>
                </c:pt>
                <c:pt idx="1826">
                  <c:v>0</c:v>
                </c:pt>
                <c:pt idx="1827">
                  <c:v>0</c:v>
                </c:pt>
                <c:pt idx="1828">
                  <c:v>1</c:v>
                </c:pt>
                <c:pt idx="1829">
                  <c:v>0</c:v>
                </c:pt>
                <c:pt idx="1830">
                  <c:v>0</c:v>
                </c:pt>
                <c:pt idx="1831">
                  <c:v>5</c:v>
                </c:pt>
                <c:pt idx="1832">
                  <c:v>0</c:v>
                </c:pt>
                <c:pt idx="1833">
                  <c:v>0</c:v>
                </c:pt>
                <c:pt idx="1834">
                  <c:v>0</c:v>
                </c:pt>
                <c:pt idx="1835">
                  <c:v>1</c:v>
                </c:pt>
                <c:pt idx="1836">
                  <c:v>0</c:v>
                </c:pt>
                <c:pt idx="1837">
                  <c:v>3</c:v>
                </c:pt>
                <c:pt idx="1838">
                  <c:v>0</c:v>
                </c:pt>
                <c:pt idx="1839">
                  <c:v>0</c:v>
                </c:pt>
                <c:pt idx="1840">
                  <c:v>0</c:v>
                </c:pt>
                <c:pt idx="1841">
                  <c:v>7</c:v>
                </c:pt>
                <c:pt idx="1842">
                  <c:v>0</c:v>
                </c:pt>
                <c:pt idx="1843">
                  <c:v>1</c:v>
                </c:pt>
                <c:pt idx="1844">
                  <c:v>3</c:v>
                </c:pt>
                <c:pt idx="1845">
                  <c:v>2</c:v>
                </c:pt>
                <c:pt idx="1846">
                  <c:v>0</c:v>
                </c:pt>
                <c:pt idx="1847">
                  <c:v>1</c:v>
                </c:pt>
                <c:pt idx="1848">
                  <c:v>1</c:v>
                </c:pt>
                <c:pt idx="1849">
                  <c:v>1</c:v>
                </c:pt>
                <c:pt idx="1850">
                  <c:v>0</c:v>
                </c:pt>
                <c:pt idx="1851">
                  <c:v>1</c:v>
                </c:pt>
                <c:pt idx="1852">
                  <c:v>0</c:v>
                </c:pt>
                <c:pt idx="1853">
                  <c:v>1</c:v>
                </c:pt>
                <c:pt idx="1854">
                  <c:v>0</c:v>
                </c:pt>
                <c:pt idx="1855">
                  <c:v>1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52</c:v>
                </c:pt>
                <c:pt idx="1864">
                  <c:v>122</c:v>
                </c:pt>
                <c:pt idx="1865">
                  <c:v>70</c:v>
                </c:pt>
                <c:pt idx="1866">
                  <c:v>50</c:v>
                </c:pt>
                <c:pt idx="1867">
                  <c:v>37</c:v>
                </c:pt>
                <c:pt idx="1868">
                  <c:v>27</c:v>
                </c:pt>
                <c:pt idx="1869">
                  <c:v>46</c:v>
                </c:pt>
                <c:pt idx="1870">
                  <c:v>55</c:v>
                </c:pt>
                <c:pt idx="1871">
                  <c:v>25</c:v>
                </c:pt>
                <c:pt idx="1872">
                  <c:v>20</c:v>
                </c:pt>
                <c:pt idx="1873">
                  <c:v>31</c:v>
                </c:pt>
                <c:pt idx="1874">
                  <c:v>28</c:v>
                </c:pt>
                <c:pt idx="1875">
                  <c:v>26</c:v>
                </c:pt>
                <c:pt idx="1876">
                  <c:v>11</c:v>
                </c:pt>
                <c:pt idx="1877">
                  <c:v>35</c:v>
                </c:pt>
                <c:pt idx="1878">
                  <c:v>9</c:v>
                </c:pt>
                <c:pt idx="1879">
                  <c:v>11</c:v>
                </c:pt>
                <c:pt idx="1880">
                  <c:v>20</c:v>
                </c:pt>
                <c:pt idx="1881">
                  <c:v>11</c:v>
                </c:pt>
                <c:pt idx="1882">
                  <c:v>15</c:v>
                </c:pt>
                <c:pt idx="1883">
                  <c:v>3</c:v>
                </c:pt>
                <c:pt idx="1884">
                  <c:v>8</c:v>
                </c:pt>
                <c:pt idx="1885">
                  <c:v>12</c:v>
                </c:pt>
                <c:pt idx="1886">
                  <c:v>10</c:v>
                </c:pt>
                <c:pt idx="1887">
                  <c:v>17</c:v>
                </c:pt>
                <c:pt idx="1888">
                  <c:v>13</c:v>
                </c:pt>
                <c:pt idx="1889">
                  <c:v>5</c:v>
                </c:pt>
                <c:pt idx="1890">
                  <c:v>12</c:v>
                </c:pt>
                <c:pt idx="1891">
                  <c:v>7</c:v>
                </c:pt>
                <c:pt idx="1892">
                  <c:v>3</c:v>
                </c:pt>
                <c:pt idx="1893">
                  <c:v>19</c:v>
                </c:pt>
                <c:pt idx="1894">
                  <c:v>11</c:v>
                </c:pt>
                <c:pt idx="1895">
                  <c:v>3</c:v>
                </c:pt>
                <c:pt idx="1896">
                  <c:v>5</c:v>
                </c:pt>
                <c:pt idx="1897">
                  <c:v>5</c:v>
                </c:pt>
                <c:pt idx="1898">
                  <c:v>0</c:v>
                </c:pt>
                <c:pt idx="1899">
                  <c:v>1</c:v>
                </c:pt>
                <c:pt idx="1900">
                  <c:v>11</c:v>
                </c:pt>
                <c:pt idx="1901">
                  <c:v>6</c:v>
                </c:pt>
                <c:pt idx="1902">
                  <c:v>2</c:v>
                </c:pt>
                <c:pt idx="1903">
                  <c:v>26</c:v>
                </c:pt>
                <c:pt idx="1904">
                  <c:v>14</c:v>
                </c:pt>
                <c:pt idx="1905">
                  <c:v>8</c:v>
                </c:pt>
                <c:pt idx="1906">
                  <c:v>4</c:v>
                </c:pt>
                <c:pt idx="1907">
                  <c:v>9</c:v>
                </c:pt>
                <c:pt idx="1908">
                  <c:v>7</c:v>
                </c:pt>
                <c:pt idx="1909">
                  <c:v>1</c:v>
                </c:pt>
                <c:pt idx="1910">
                  <c:v>3</c:v>
                </c:pt>
                <c:pt idx="1911">
                  <c:v>4</c:v>
                </c:pt>
                <c:pt idx="1912">
                  <c:v>1</c:v>
                </c:pt>
                <c:pt idx="1913">
                  <c:v>4</c:v>
                </c:pt>
                <c:pt idx="1914">
                  <c:v>4</c:v>
                </c:pt>
                <c:pt idx="1915">
                  <c:v>0</c:v>
                </c:pt>
                <c:pt idx="1916">
                  <c:v>2</c:v>
                </c:pt>
                <c:pt idx="1917">
                  <c:v>11</c:v>
                </c:pt>
                <c:pt idx="1918">
                  <c:v>1</c:v>
                </c:pt>
                <c:pt idx="1919">
                  <c:v>12</c:v>
                </c:pt>
                <c:pt idx="1920">
                  <c:v>3</c:v>
                </c:pt>
                <c:pt idx="1921">
                  <c:v>1</c:v>
                </c:pt>
                <c:pt idx="1922">
                  <c:v>5</c:v>
                </c:pt>
                <c:pt idx="1923">
                  <c:v>2</c:v>
                </c:pt>
                <c:pt idx="1924">
                  <c:v>2</c:v>
                </c:pt>
                <c:pt idx="1925">
                  <c:v>7</c:v>
                </c:pt>
                <c:pt idx="1926">
                  <c:v>6</c:v>
                </c:pt>
                <c:pt idx="1927">
                  <c:v>7</c:v>
                </c:pt>
                <c:pt idx="1928">
                  <c:v>0</c:v>
                </c:pt>
                <c:pt idx="1929">
                  <c:v>2</c:v>
                </c:pt>
                <c:pt idx="1930">
                  <c:v>1</c:v>
                </c:pt>
                <c:pt idx="1931">
                  <c:v>4</c:v>
                </c:pt>
                <c:pt idx="1932">
                  <c:v>1</c:v>
                </c:pt>
                <c:pt idx="1933">
                  <c:v>2</c:v>
                </c:pt>
                <c:pt idx="1934">
                  <c:v>16</c:v>
                </c:pt>
                <c:pt idx="1935">
                  <c:v>1</c:v>
                </c:pt>
                <c:pt idx="1936">
                  <c:v>0</c:v>
                </c:pt>
                <c:pt idx="1937">
                  <c:v>2</c:v>
                </c:pt>
                <c:pt idx="1938">
                  <c:v>1</c:v>
                </c:pt>
                <c:pt idx="1939">
                  <c:v>5</c:v>
                </c:pt>
                <c:pt idx="1940">
                  <c:v>2</c:v>
                </c:pt>
                <c:pt idx="1941">
                  <c:v>19</c:v>
                </c:pt>
                <c:pt idx="1942">
                  <c:v>3</c:v>
                </c:pt>
                <c:pt idx="1943">
                  <c:v>0</c:v>
                </c:pt>
                <c:pt idx="1944">
                  <c:v>0</c:v>
                </c:pt>
                <c:pt idx="1945">
                  <c:v>1</c:v>
                </c:pt>
                <c:pt idx="1946">
                  <c:v>1</c:v>
                </c:pt>
                <c:pt idx="1947">
                  <c:v>1</c:v>
                </c:pt>
                <c:pt idx="1948">
                  <c:v>1</c:v>
                </c:pt>
                <c:pt idx="1949">
                  <c:v>0</c:v>
                </c:pt>
                <c:pt idx="1950">
                  <c:v>1</c:v>
                </c:pt>
                <c:pt idx="1951">
                  <c:v>2</c:v>
                </c:pt>
                <c:pt idx="1952">
                  <c:v>1</c:v>
                </c:pt>
                <c:pt idx="1953">
                  <c:v>2</c:v>
                </c:pt>
                <c:pt idx="1954">
                  <c:v>3</c:v>
                </c:pt>
                <c:pt idx="1955">
                  <c:v>1</c:v>
                </c:pt>
                <c:pt idx="1956">
                  <c:v>4</c:v>
                </c:pt>
                <c:pt idx="1957">
                  <c:v>0</c:v>
                </c:pt>
                <c:pt idx="1958">
                  <c:v>0</c:v>
                </c:pt>
                <c:pt idx="1959">
                  <c:v>0</c:v>
                </c:pt>
                <c:pt idx="1960">
                  <c:v>2</c:v>
                </c:pt>
                <c:pt idx="1961">
                  <c:v>267</c:v>
                </c:pt>
                <c:pt idx="1962">
                  <c:v>34</c:v>
                </c:pt>
                <c:pt idx="1963">
                  <c:v>39</c:v>
                </c:pt>
                <c:pt idx="1964">
                  <c:v>107</c:v>
                </c:pt>
                <c:pt idx="1965">
                  <c:v>7</c:v>
                </c:pt>
                <c:pt idx="1966">
                  <c:v>20</c:v>
                </c:pt>
                <c:pt idx="1967">
                  <c:v>34</c:v>
                </c:pt>
                <c:pt idx="1968">
                  <c:v>14</c:v>
                </c:pt>
                <c:pt idx="1969">
                  <c:v>23</c:v>
                </c:pt>
                <c:pt idx="1970">
                  <c:v>19</c:v>
                </c:pt>
                <c:pt idx="1971">
                  <c:v>56</c:v>
                </c:pt>
                <c:pt idx="1972">
                  <c:v>31</c:v>
                </c:pt>
                <c:pt idx="1973">
                  <c:v>66</c:v>
                </c:pt>
                <c:pt idx="1974">
                  <c:v>12</c:v>
                </c:pt>
                <c:pt idx="1975">
                  <c:v>35</c:v>
                </c:pt>
                <c:pt idx="1976">
                  <c:v>14</c:v>
                </c:pt>
                <c:pt idx="1977">
                  <c:v>8</c:v>
                </c:pt>
                <c:pt idx="1978">
                  <c:v>4</c:v>
                </c:pt>
                <c:pt idx="1979">
                  <c:v>21</c:v>
                </c:pt>
                <c:pt idx="1980">
                  <c:v>11</c:v>
                </c:pt>
                <c:pt idx="1981">
                  <c:v>4</c:v>
                </c:pt>
                <c:pt idx="1982">
                  <c:v>14</c:v>
                </c:pt>
                <c:pt idx="1983">
                  <c:v>0</c:v>
                </c:pt>
                <c:pt idx="1984">
                  <c:v>0</c:v>
                </c:pt>
                <c:pt idx="1985">
                  <c:v>0</c:v>
                </c:pt>
                <c:pt idx="1986">
                  <c:v>5</c:v>
                </c:pt>
                <c:pt idx="1987">
                  <c:v>3</c:v>
                </c:pt>
                <c:pt idx="1988">
                  <c:v>1</c:v>
                </c:pt>
                <c:pt idx="1989">
                  <c:v>0</c:v>
                </c:pt>
                <c:pt idx="1990">
                  <c:v>2</c:v>
                </c:pt>
                <c:pt idx="1991">
                  <c:v>0</c:v>
                </c:pt>
                <c:pt idx="1992">
                  <c:v>1</c:v>
                </c:pt>
                <c:pt idx="1993">
                  <c:v>0</c:v>
                </c:pt>
                <c:pt idx="1994">
                  <c:v>1</c:v>
                </c:pt>
                <c:pt idx="1995">
                  <c:v>2</c:v>
                </c:pt>
                <c:pt idx="1996">
                  <c:v>0</c:v>
                </c:pt>
                <c:pt idx="1997">
                  <c:v>0</c:v>
                </c:pt>
                <c:pt idx="1998">
                  <c:v>1</c:v>
                </c:pt>
                <c:pt idx="1999">
                  <c:v>0</c:v>
                </c:pt>
                <c:pt idx="2000">
                  <c:v>0</c:v>
                </c:pt>
                <c:pt idx="2001">
                  <c:v>1</c:v>
                </c:pt>
                <c:pt idx="2002">
                  <c:v>1</c:v>
                </c:pt>
                <c:pt idx="2003">
                  <c:v>1</c:v>
                </c:pt>
                <c:pt idx="2004">
                  <c:v>1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6</c:v>
                </c:pt>
                <c:pt idx="2009">
                  <c:v>1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23</c:v>
                </c:pt>
                <c:pt idx="2015">
                  <c:v>77</c:v>
                </c:pt>
                <c:pt idx="2016">
                  <c:v>283</c:v>
                </c:pt>
                <c:pt idx="2017">
                  <c:v>139</c:v>
                </c:pt>
                <c:pt idx="2018">
                  <c:v>254</c:v>
                </c:pt>
                <c:pt idx="2019">
                  <c:v>314</c:v>
                </c:pt>
                <c:pt idx="2020">
                  <c:v>286</c:v>
                </c:pt>
                <c:pt idx="2021">
                  <c:v>551</c:v>
                </c:pt>
                <c:pt idx="2022">
                  <c:v>30</c:v>
                </c:pt>
                <c:pt idx="2023">
                  <c:v>35</c:v>
                </c:pt>
                <c:pt idx="2024">
                  <c:v>105</c:v>
                </c:pt>
                <c:pt idx="2025">
                  <c:v>190</c:v>
                </c:pt>
                <c:pt idx="2026">
                  <c:v>25</c:v>
                </c:pt>
                <c:pt idx="2027">
                  <c:v>31</c:v>
                </c:pt>
                <c:pt idx="2028">
                  <c:v>382</c:v>
                </c:pt>
                <c:pt idx="2029">
                  <c:v>88</c:v>
                </c:pt>
                <c:pt idx="2030">
                  <c:v>195</c:v>
                </c:pt>
                <c:pt idx="2031">
                  <c:v>87</c:v>
                </c:pt>
                <c:pt idx="2032">
                  <c:v>132</c:v>
                </c:pt>
                <c:pt idx="2033">
                  <c:v>61</c:v>
                </c:pt>
                <c:pt idx="2034">
                  <c:v>121</c:v>
                </c:pt>
                <c:pt idx="2035">
                  <c:v>186</c:v>
                </c:pt>
                <c:pt idx="2036">
                  <c:v>23</c:v>
                </c:pt>
                <c:pt idx="2037">
                  <c:v>16</c:v>
                </c:pt>
                <c:pt idx="2038">
                  <c:v>49</c:v>
                </c:pt>
                <c:pt idx="2039">
                  <c:v>63</c:v>
                </c:pt>
                <c:pt idx="2040">
                  <c:v>89</c:v>
                </c:pt>
                <c:pt idx="2041">
                  <c:v>112</c:v>
                </c:pt>
                <c:pt idx="2042">
                  <c:v>136</c:v>
                </c:pt>
                <c:pt idx="2043">
                  <c:v>70</c:v>
                </c:pt>
                <c:pt idx="2044">
                  <c:v>8</c:v>
                </c:pt>
                <c:pt idx="2045">
                  <c:v>38</c:v>
                </c:pt>
                <c:pt idx="2046">
                  <c:v>292</c:v>
                </c:pt>
                <c:pt idx="2047">
                  <c:v>88</c:v>
                </c:pt>
                <c:pt idx="2048">
                  <c:v>53</c:v>
                </c:pt>
                <c:pt idx="2049">
                  <c:v>145</c:v>
                </c:pt>
                <c:pt idx="2050">
                  <c:v>35</c:v>
                </c:pt>
                <c:pt idx="2051">
                  <c:v>52</c:v>
                </c:pt>
                <c:pt idx="2052">
                  <c:v>17</c:v>
                </c:pt>
                <c:pt idx="2053">
                  <c:v>54</c:v>
                </c:pt>
                <c:pt idx="2054">
                  <c:v>35</c:v>
                </c:pt>
                <c:pt idx="2055">
                  <c:v>289</c:v>
                </c:pt>
                <c:pt idx="2056">
                  <c:v>94</c:v>
                </c:pt>
                <c:pt idx="2057">
                  <c:v>38</c:v>
                </c:pt>
                <c:pt idx="2058">
                  <c:v>29</c:v>
                </c:pt>
                <c:pt idx="2059">
                  <c:v>3</c:v>
                </c:pt>
                <c:pt idx="2060">
                  <c:v>14</c:v>
                </c:pt>
                <c:pt idx="2061">
                  <c:v>13</c:v>
                </c:pt>
                <c:pt idx="2062">
                  <c:v>36</c:v>
                </c:pt>
                <c:pt idx="2063">
                  <c:v>11</c:v>
                </c:pt>
                <c:pt idx="2064">
                  <c:v>40</c:v>
                </c:pt>
                <c:pt idx="2065">
                  <c:v>46</c:v>
                </c:pt>
                <c:pt idx="2066">
                  <c:v>169</c:v>
                </c:pt>
                <c:pt idx="2067">
                  <c:v>23</c:v>
                </c:pt>
                <c:pt idx="2068">
                  <c:v>35</c:v>
                </c:pt>
                <c:pt idx="2069">
                  <c:v>157</c:v>
                </c:pt>
                <c:pt idx="2070">
                  <c:v>7</c:v>
                </c:pt>
                <c:pt idx="2071">
                  <c:v>69</c:v>
                </c:pt>
                <c:pt idx="2072">
                  <c:v>26</c:v>
                </c:pt>
                <c:pt idx="2073">
                  <c:v>3</c:v>
                </c:pt>
                <c:pt idx="2074">
                  <c:v>10</c:v>
                </c:pt>
                <c:pt idx="2075">
                  <c:v>6</c:v>
                </c:pt>
                <c:pt idx="2076">
                  <c:v>65</c:v>
                </c:pt>
                <c:pt idx="2077">
                  <c:v>81</c:v>
                </c:pt>
                <c:pt idx="2078">
                  <c:v>63</c:v>
                </c:pt>
                <c:pt idx="2079">
                  <c:v>43</c:v>
                </c:pt>
                <c:pt idx="2080">
                  <c:v>18</c:v>
                </c:pt>
                <c:pt idx="2081">
                  <c:v>119</c:v>
                </c:pt>
                <c:pt idx="2082">
                  <c:v>9</c:v>
                </c:pt>
                <c:pt idx="2083">
                  <c:v>3</c:v>
                </c:pt>
                <c:pt idx="2084">
                  <c:v>147</c:v>
                </c:pt>
                <c:pt idx="2085">
                  <c:v>119</c:v>
                </c:pt>
                <c:pt idx="2086">
                  <c:v>52</c:v>
                </c:pt>
                <c:pt idx="2087">
                  <c:v>3</c:v>
                </c:pt>
                <c:pt idx="2088">
                  <c:v>2</c:v>
                </c:pt>
                <c:pt idx="2089">
                  <c:v>142</c:v>
                </c:pt>
                <c:pt idx="2090">
                  <c:v>74</c:v>
                </c:pt>
                <c:pt idx="2091">
                  <c:v>642</c:v>
                </c:pt>
                <c:pt idx="2092">
                  <c:v>82</c:v>
                </c:pt>
                <c:pt idx="2093">
                  <c:v>318</c:v>
                </c:pt>
                <c:pt idx="2094">
                  <c:v>121</c:v>
                </c:pt>
                <c:pt idx="2095">
                  <c:v>64</c:v>
                </c:pt>
                <c:pt idx="2096">
                  <c:v>163</c:v>
                </c:pt>
                <c:pt idx="2097">
                  <c:v>20</c:v>
                </c:pt>
                <c:pt idx="2098">
                  <c:v>33</c:v>
                </c:pt>
                <c:pt idx="2099">
                  <c:v>138</c:v>
                </c:pt>
                <c:pt idx="2100">
                  <c:v>51</c:v>
                </c:pt>
                <c:pt idx="2101">
                  <c:v>106</c:v>
                </c:pt>
                <c:pt idx="2102">
                  <c:v>37</c:v>
                </c:pt>
                <c:pt idx="2103">
                  <c:v>40</c:v>
                </c:pt>
                <c:pt idx="2104">
                  <c:v>150</c:v>
                </c:pt>
                <c:pt idx="2105">
                  <c:v>57</c:v>
                </c:pt>
                <c:pt idx="2106">
                  <c:v>92</c:v>
                </c:pt>
                <c:pt idx="2107">
                  <c:v>35</c:v>
                </c:pt>
                <c:pt idx="2108">
                  <c:v>204</c:v>
                </c:pt>
                <c:pt idx="2109">
                  <c:v>212</c:v>
                </c:pt>
                <c:pt idx="2110">
                  <c:v>211</c:v>
                </c:pt>
                <c:pt idx="2111">
                  <c:v>119</c:v>
                </c:pt>
                <c:pt idx="2112">
                  <c:v>90</c:v>
                </c:pt>
                <c:pt idx="2113">
                  <c:v>50</c:v>
                </c:pt>
                <c:pt idx="2114">
                  <c:v>35</c:v>
                </c:pt>
                <c:pt idx="2115">
                  <c:v>105</c:v>
                </c:pt>
                <c:pt idx="2116">
                  <c:v>19</c:v>
                </c:pt>
                <c:pt idx="2117">
                  <c:v>41</c:v>
                </c:pt>
                <c:pt idx="2118">
                  <c:v>195</c:v>
                </c:pt>
                <c:pt idx="2119">
                  <c:v>92</c:v>
                </c:pt>
                <c:pt idx="2120">
                  <c:v>112</c:v>
                </c:pt>
                <c:pt idx="2121">
                  <c:v>399</c:v>
                </c:pt>
                <c:pt idx="2122">
                  <c:v>204</c:v>
                </c:pt>
                <c:pt idx="2123">
                  <c:v>173</c:v>
                </c:pt>
                <c:pt idx="2124">
                  <c:v>38</c:v>
                </c:pt>
                <c:pt idx="2125">
                  <c:v>90</c:v>
                </c:pt>
                <c:pt idx="2126">
                  <c:v>54</c:v>
                </c:pt>
                <c:pt idx="2127">
                  <c:v>19</c:v>
                </c:pt>
                <c:pt idx="2128">
                  <c:v>15</c:v>
                </c:pt>
                <c:pt idx="2129">
                  <c:v>131</c:v>
                </c:pt>
                <c:pt idx="2130">
                  <c:v>370</c:v>
                </c:pt>
                <c:pt idx="2131">
                  <c:v>346</c:v>
                </c:pt>
                <c:pt idx="2132">
                  <c:v>237</c:v>
                </c:pt>
                <c:pt idx="2133">
                  <c:v>382</c:v>
                </c:pt>
                <c:pt idx="2134">
                  <c:v>247</c:v>
                </c:pt>
                <c:pt idx="2135">
                  <c:v>221</c:v>
                </c:pt>
                <c:pt idx="2136">
                  <c:v>535</c:v>
                </c:pt>
                <c:pt idx="2137">
                  <c:v>153</c:v>
                </c:pt>
                <c:pt idx="2138">
                  <c:v>895</c:v>
                </c:pt>
                <c:pt idx="2139">
                  <c:v>509</c:v>
                </c:pt>
                <c:pt idx="2140">
                  <c:v>143</c:v>
                </c:pt>
                <c:pt idx="2141">
                  <c:v>124</c:v>
                </c:pt>
                <c:pt idx="2142">
                  <c:v>277</c:v>
                </c:pt>
                <c:pt idx="2143">
                  <c:v>191</c:v>
                </c:pt>
                <c:pt idx="2144">
                  <c:v>168</c:v>
                </c:pt>
                <c:pt idx="2145">
                  <c:v>105</c:v>
                </c:pt>
                <c:pt idx="2146">
                  <c:v>511</c:v>
                </c:pt>
                <c:pt idx="2147">
                  <c:v>289</c:v>
                </c:pt>
                <c:pt idx="2148">
                  <c:v>216</c:v>
                </c:pt>
                <c:pt idx="2149">
                  <c:v>425</c:v>
                </c:pt>
                <c:pt idx="2150">
                  <c:v>370</c:v>
                </c:pt>
                <c:pt idx="2151">
                  <c:v>104</c:v>
                </c:pt>
                <c:pt idx="2152">
                  <c:v>87</c:v>
                </c:pt>
                <c:pt idx="2153">
                  <c:v>94</c:v>
                </c:pt>
                <c:pt idx="2154">
                  <c:v>151</c:v>
                </c:pt>
                <c:pt idx="2155">
                  <c:v>73</c:v>
                </c:pt>
                <c:pt idx="2156">
                  <c:v>104</c:v>
                </c:pt>
                <c:pt idx="2157">
                  <c:v>71</c:v>
                </c:pt>
                <c:pt idx="2158">
                  <c:v>65</c:v>
                </c:pt>
                <c:pt idx="2159">
                  <c:v>107</c:v>
                </c:pt>
                <c:pt idx="2160">
                  <c:v>106</c:v>
                </c:pt>
                <c:pt idx="2161">
                  <c:v>65</c:v>
                </c:pt>
                <c:pt idx="2162">
                  <c:v>31</c:v>
                </c:pt>
                <c:pt idx="2163">
                  <c:v>67</c:v>
                </c:pt>
                <c:pt idx="2164">
                  <c:v>21</c:v>
                </c:pt>
                <c:pt idx="2165">
                  <c:v>136</c:v>
                </c:pt>
                <c:pt idx="2166">
                  <c:v>90</c:v>
                </c:pt>
                <c:pt idx="2167">
                  <c:v>397</c:v>
                </c:pt>
                <c:pt idx="2168">
                  <c:v>333</c:v>
                </c:pt>
                <c:pt idx="2169">
                  <c:v>218</c:v>
                </c:pt>
                <c:pt idx="2170">
                  <c:v>63</c:v>
                </c:pt>
                <c:pt idx="2171">
                  <c:v>167</c:v>
                </c:pt>
                <c:pt idx="2172">
                  <c:v>44</c:v>
                </c:pt>
                <c:pt idx="2173">
                  <c:v>35</c:v>
                </c:pt>
                <c:pt idx="2174">
                  <c:v>56</c:v>
                </c:pt>
                <c:pt idx="2175">
                  <c:v>35</c:v>
                </c:pt>
                <c:pt idx="2176">
                  <c:v>23</c:v>
                </c:pt>
                <c:pt idx="2177">
                  <c:v>8</c:v>
                </c:pt>
                <c:pt idx="2178">
                  <c:v>34</c:v>
                </c:pt>
                <c:pt idx="2179">
                  <c:v>2</c:v>
                </c:pt>
                <c:pt idx="2180">
                  <c:v>25</c:v>
                </c:pt>
                <c:pt idx="2181">
                  <c:v>9</c:v>
                </c:pt>
                <c:pt idx="2182">
                  <c:v>36</c:v>
                </c:pt>
                <c:pt idx="2183">
                  <c:v>58</c:v>
                </c:pt>
                <c:pt idx="2184">
                  <c:v>3</c:v>
                </c:pt>
                <c:pt idx="2185">
                  <c:v>22</c:v>
                </c:pt>
                <c:pt idx="2186">
                  <c:v>48</c:v>
                </c:pt>
                <c:pt idx="2187">
                  <c:v>4</c:v>
                </c:pt>
                <c:pt idx="2188">
                  <c:v>19</c:v>
                </c:pt>
                <c:pt idx="2189">
                  <c:v>11</c:v>
                </c:pt>
                <c:pt idx="2190">
                  <c:v>110</c:v>
                </c:pt>
                <c:pt idx="2191">
                  <c:v>23</c:v>
                </c:pt>
                <c:pt idx="2192">
                  <c:v>4</c:v>
                </c:pt>
                <c:pt idx="2193">
                  <c:v>3</c:v>
                </c:pt>
                <c:pt idx="2194">
                  <c:v>9</c:v>
                </c:pt>
                <c:pt idx="2195">
                  <c:v>21</c:v>
                </c:pt>
                <c:pt idx="2196">
                  <c:v>21</c:v>
                </c:pt>
                <c:pt idx="2197">
                  <c:v>0</c:v>
                </c:pt>
                <c:pt idx="2198">
                  <c:v>17</c:v>
                </c:pt>
                <c:pt idx="2199">
                  <c:v>70</c:v>
                </c:pt>
                <c:pt idx="2200">
                  <c:v>15</c:v>
                </c:pt>
                <c:pt idx="2201">
                  <c:v>29</c:v>
                </c:pt>
                <c:pt idx="2202">
                  <c:v>76</c:v>
                </c:pt>
                <c:pt idx="2203">
                  <c:v>4</c:v>
                </c:pt>
                <c:pt idx="2204">
                  <c:v>12</c:v>
                </c:pt>
                <c:pt idx="2205">
                  <c:v>3</c:v>
                </c:pt>
                <c:pt idx="2206">
                  <c:v>9</c:v>
                </c:pt>
                <c:pt idx="2207">
                  <c:v>31</c:v>
                </c:pt>
                <c:pt idx="2208">
                  <c:v>10</c:v>
                </c:pt>
                <c:pt idx="2209">
                  <c:v>22</c:v>
                </c:pt>
                <c:pt idx="2210">
                  <c:v>7</c:v>
                </c:pt>
                <c:pt idx="2211">
                  <c:v>5</c:v>
                </c:pt>
                <c:pt idx="2212">
                  <c:v>14</c:v>
                </c:pt>
                <c:pt idx="2213">
                  <c:v>35</c:v>
                </c:pt>
                <c:pt idx="2214">
                  <c:v>27</c:v>
                </c:pt>
                <c:pt idx="2215">
                  <c:v>0</c:v>
                </c:pt>
                <c:pt idx="2216">
                  <c:v>8</c:v>
                </c:pt>
                <c:pt idx="2217">
                  <c:v>3</c:v>
                </c:pt>
                <c:pt idx="2218">
                  <c:v>4</c:v>
                </c:pt>
                <c:pt idx="2219">
                  <c:v>12</c:v>
                </c:pt>
                <c:pt idx="2220">
                  <c:v>1</c:v>
                </c:pt>
                <c:pt idx="2221">
                  <c:v>13</c:v>
                </c:pt>
                <c:pt idx="2222">
                  <c:v>13</c:v>
                </c:pt>
                <c:pt idx="2223">
                  <c:v>8</c:v>
                </c:pt>
                <c:pt idx="2224">
                  <c:v>45</c:v>
                </c:pt>
                <c:pt idx="2225">
                  <c:v>14</c:v>
                </c:pt>
                <c:pt idx="2226">
                  <c:v>12</c:v>
                </c:pt>
                <c:pt idx="2227">
                  <c:v>11</c:v>
                </c:pt>
                <c:pt idx="2228">
                  <c:v>4</c:v>
                </c:pt>
                <c:pt idx="2229">
                  <c:v>14</c:v>
                </c:pt>
                <c:pt idx="2230">
                  <c:v>14</c:v>
                </c:pt>
                <c:pt idx="2231">
                  <c:v>3</c:v>
                </c:pt>
                <c:pt idx="2232">
                  <c:v>2</c:v>
                </c:pt>
                <c:pt idx="2233">
                  <c:v>1</c:v>
                </c:pt>
                <c:pt idx="2234">
                  <c:v>4</c:v>
                </c:pt>
                <c:pt idx="2235">
                  <c:v>5</c:v>
                </c:pt>
                <c:pt idx="2236">
                  <c:v>5</c:v>
                </c:pt>
                <c:pt idx="2237">
                  <c:v>18</c:v>
                </c:pt>
                <c:pt idx="2238">
                  <c:v>3</c:v>
                </c:pt>
                <c:pt idx="2239">
                  <c:v>0</c:v>
                </c:pt>
                <c:pt idx="2240">
                  <c:v>31</c:v>
                </c:pt>
                <c:pt idx="2241">
                  <c:v>25</c:v>
                </c:pt>
                <c:pt idx="2242">
                  <c:v>13</c:v>
                </c:pt>
                <c:pt idx="2243">
                  <c:v>15</c:v>
                </c:pt>
                <c:pt idx="2244">
                  <c:v>31</c:v>
                </c:pt>
                <c:pt idx="2245">
                  <c:v>13</c:v>
                </c:pt>
                <c:pt idx="2246">
                  <c:v>38</c:v>
                </c:pt>
                <c:pt idx="2247">
                  <c:v>14</c:v>
                </c:pt>
                <c:pt idx="2248">
                  <c:v>34</c:v>
                </c:pt>
                <c:pt idx="2249">
                  <c:v>32</c:v>
                </c:pt>
                <c:pt idx="2250">
                  <c:v>10</c:v>
                </c:pt>
                <c:pt idx="2251">
                  <c:v>6</c:v>
                </c:pt>
                <c:pt idx="2252">
                  <c:v>6</c:v>
                </c:pt>
                <c:pt idx="2253">
                  <c:v>2</c:v>
                </c:pt>
                <c:pt idx="2254">
                  <c:v>6</c:v>
                </c:pt>
                <c:pt idx="2255">
                  <c:v>15</c:v>
                </c:pt>
                <c:pt idx="2256">
                  <c:v>1</c:v>
                </c:pt>
                <c:pt idx="2257">
                  <c:v>4</c:v>
                </c:pt>
                <c:pt idx="2258">
                  <c:v>7</c:v>
                </c:pt>
                <c:pt idx="2259">
                  <c:v>56</c:v>
                </c:pt>
                <c:pt idx="2260">
                  <c:v>2</c:v>
                </c:pt>
                <c:pt idx="2261">
                  <c:v>4</c:v>
                </c:pt>
                <c:pt idx="2262">
                  <c:v>1</c:v>
                </c:pt>
                <c:pt idx="2263">
                  <c:v>15</c:v>
                </c:pt>
                <c:pt idx="2264">
                  <c:v>15</c:v>
                </c:pt>
                <c:pt idx="2265">
                  <c:v>5</c:v>
                </c:pt>
                <c:pt idx="2266">
                  <c:v>17</c:v>
                </c:pt>
                <c:pt idx="2267">
                  <c:v>3</c:v>
                </c:pt>
                <c:pt idx="2268">
                  <c:v>5</c:v>
                </c:pt>
                <c:pt idx="2269">
                  <c:v>11</c:v>
                </c:pt>
                <c:pt idx="2270">
                  <c:v>12</c:v>
                </c:pt>
                <c:pt idx="2271">
                  <c:v>6</c:v>
                </c:pt>
                <c:pt idx="2272">
                  <c:v>44</c:v>
                </c:pt>
                <c:pt idx="2273">
                  <c:v>17</c:v>
                </c:pt>
                <c:pt idx="2274">
                  <c:v>0</c:v>
                </c:pt>
                <c:pt idx="2275">
                  <c:v>3</c:v>
                </c:pt>
                <c:pt idx="2276">
                  <c:v>3</c:v>
                </c:pt>
                <c:pt idx="2277">
                  <c:v>3</c:v>
                </c:pt>
                <c:pt idx="2278">
                  <c:v>26</c:v>
                </c:pt>
                <c:pt idx="2279">
                  <c:v>2</c:v>
                </c:pt>
                <c:pt idx="2280">
                  <c:v>0</c:v>
                </c:pt>
                <c:pt idx="2281">
                  <c:v>9</c:v>
                </c:pt>
                <c:pt idx="2282">
                  <c:v>0</c:v>
                </c:pt>
                <c:pt idx="2283">
                  <c:v>4</c:v>
                </c:pt>
                <c:pt idx="2284">
                  <c:v>3</c:v>
                </c:pt>
                <c:pt idx="2285">
                  <c:v>0</c:v>
                </c:pt>
                <c:pt idx="2286">
                  <c:v>3</c:v>
                </c:pt>
                <c:pt idx="2287">
                  <c:v>4</c:v>
                </c:pt>
                <c:pt idx="2288">
                  <c:v>6</c:v>
                </c:pt>
                <c:pt idx="2289">
                  <c:v>11</c:v>
                </c:pt>
                <c:pt idx="2290">
                  <c:v>7</c:v>
                </c:pt>
                <c:pt idx="2291">
                  <c:v>11</c:v>
                </c:pt>
                <c:pt idx="2292">
                  <c:v>14</c:v>
                </c:pt>
                <c:pt idx="2293">
                  <c:v>0</c:v>
                </c:pt>
                <c:pt idx="2294">
                  <c:v>4</c:v>
                </c:pt>
                <c:pt idx="2295">
                  <c:v>21</c:v>
                </c:pt>
                <c:pt idx="2296">
                  <c:v>2</c:v>
                </c:pt>
                <c:pt idx="2297">
                  <c:v>10</c:v>
                </c:pt>
                <c:pt idx="2298">
                  <c:v>1</c:v>
                </c:pt>
                <c:pt idx="2299">
                  <c:v>3</c:v>
                </c:pt>
                <c:pt idx="2300">
                  <c:v>0</c:v>
                </c:pt>
                <c:pt idx="2301">
                  <c:v>2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31</c:v>
                </c:pt>
                <c:pt idx="2308">
                  <c:v>2</c:v>
                </c:pt>
                <c:pt idx="2309">
                  <c:v>5</c:v>
                </c:pt>
                <c:pt idx="2310">
                  <c:v>9</c:v>
                </c:pt>
                <c:pt idx="2311">
                  <c:v>4</c:v>
                </c:pt>
                <c:pt idx="2312">
                  <c:v>4</c:v>
                </c:pt>
                <c:pt idx="2313">
                  <c:v>8</c:v>
                </c:pt>
                <c:pt idx="2314">
                  <c:v>10</c:v>
                </c:pt>
                <c:pt idx="2315">
                  <c:v>0</c:v>
                </c:pt>
                <c:pt idx="2316">
                  <c:v>4</c:v>
                </c:pt>
                <c:pt idx="2317">
                  <c:v>1</c:v>
                </c:pt>
                <c:pt idx="2318">
                  <c:v>1</c:v>
                </c:pt>
                <c:pt idx="2319">
                  <c:v>2</c:v>
                </c:pt>
                <c:pt idx="2320">
                  <c:v>0</c:v>
                </c:pt>
                <c:pt idx="2321">
                  <c:v>3</c:v>
                </c:pt>
                <c:pt idx="2322">
                  <c:v>0</c:v>
                </c:pt>
                <c:pt idx="2323">
                  <c:v>35</c:v>
                </c:pt>
                <c:pt idx="2324">
                  <c:v>5</c:v>
                </c:pt>
                <c:pt idx="2325">
                  <c:v>6</c:v>
                </c:pt>
                <c:pt idx="2326">
                  <c:v>0</c:v>
                </c:pt>
                <c:pt idx="2327">
                  <c:v>0</c:v>
                </c:pt>
                <c:pt idx="2328">
                  <c:v>0</c:v>
                </c:pt>
                <c:pt idx="2329">
                  <c:v>0</c:v>
                </c:pt>
                <c:pt idx="2330">
                  <c:v>0</c:v>
                </c:pt>
                <c:pt idx="2331">
                  <c:v>3</c:v>
                </c:pt>
                <c:pt idx="2332">
                  <c:v>3</c:v>
                </c:pt>
                <c:pt idx="2333">
                  <c:v>0</c:v>
                </c:pt>
                <c:pt idx="2334">
                  <c:v>5</c:v>
                </c:pt>
                <c:pt idx="2335">
                  <c:v>0</c:v>
                </c:pt>
                <c:pt idx="2336">
                  <c:v>0</c:v>
                </c:pt>
                <c:pt idx="2337">
                  <c:v>1</c:v>
                </c:pt>
                <c:pt idx="2338">
                  <c:v>8</c:v>
                </c:pt>
                <c:pt idx="2339">
                  <c:v>5</c:v>
                </c:pt>
                <c:pt idx="2340">
                  <c:v>4</c:v>
                </c:pt>
                <c:pt idx="2341">
                  <c:v>1</c:v>
                </c:pt>
                <c:pt idx="2342">
                  <c:v>0</c:v>
                </c:pt>
                <c:pt idx="2343">
                  <c:v>1</c:v>
                </c:pt>
                <c:pt idx="2344">
                  <c:v>2</c:v>
                </c:pt>
                <c:pt idx="2345">
                  <c:v>0</c:v>
                </c:pt>
                <c:pt idx="2346">
                  <c:v>1</c:v>
                </c:pt>
                <c:pt idx="2347">
                  <c:v>4</c:v>
                </c:pt>
                <c:pt idx="2348">
                  <c:v>0</c:v>
                </c:pt>
                <c:pt idx="2349">
                  <c:v>1</c:v>
                </c:pt>
                <c:pt idx="2350">
                  <c:v>0</c:v>
                </c:pt>
                <c:pt idx="2351">
                  <c:v>0</c:v>
                </c:pt>
                <c:pt idx="2352">
                  <c:v>5</c:v>
                </c:pt>
                <c:pt idx="2353">
                  <c:v>3</c:v>
                </c:pt>
                <c:pt idx="2354">
                  <c:v>2</c:v>
                </c:pt>
                <c:pt idx="2355">
                  <c:v>4</c:v>
                </c:pt>
                <c:pt idx="2356">
                  <c:v>2</c:v>
                </c:pt>
                <c:pt idx="2357">
                  <c:v>3</c:v>
                </c:pt>
                <c:pt idx="2358">
                  <c:v>0</c:v>
                </c:pt>
                <c:pt idx="2359">
                  <c:v>0</c:v>
                </c:pt>
                <c:pt idx="2360">
                  <c:v>1</c:v>
                </c:pt>
                <c:pt idx="2361">
                  <c:v>2</c:v>
                </c:pt>
                <c:pt idx="2362">
                  <c:v>4</c:v>
                </c:pt>
                <c:pt idx="2363">
                  <c:v>0</c:v>
                </c:pt>
                <c:pt idx="2364">
                  <c:v>2</c:v>
                </c:pt>
                <c:pt idx="2365">
                  <c:v>0</c:v>
                </c:pt>
                <c:pt idx="2366">
                  <c:v>8</c:v>
                </c:pt>
                <c:pt idx="2367">
                  <c:v>1</c:v>
                </c:pt>
                <c:pt idx="2368">
                  <c:v>2</c:v>
                </c:pt>
                <c:pt idx="2369">
                  <c:v>1</c:v>
                </c:pt>
                <c:pt idx="2370">
                  <c:v>6</c:v>
                </c:pt>
                <c:pt idx="2371">
                  <c:v>19</c:v>
                </c:pt>
                <c:pt idx="2372">
                  <c:v>11</c:v>
                </c:pt>
                <c:pt idx="2373">
                  <c:v>11</c:v>
                </c:pt>
                <c:pt idx="2374">
                  <c:v>2</c:v>
                </c:pt>
                <c:pt idx="2375">
                  <c:v>8</c:v>
                </c:pt>
                <c:pt idx="2376">
                  <c:v>11</c:v>
                </c:pt>
                <c:pt idx="2377">
                  <c:v>36</c:v>
                </c:pt>
                <c:pt idx="2378">
                  <c:v>3</c:v>
                </c:pt>
                <c:pt idx="2379">
                  <c:v>3</c:v>
                </c:pt>
                <c:pt idx="2380">
                  <c:v>1</c:v>
                </c:pt>
                <c:pt idx="2381">
                  <c:v>25</c:v>
                </c:pt>
                <c:pt idx="2382">
                  <c:v>11</c:v>
                </c:pt>
                <c:pt idx="2383">
                  <c:v>12</c:v>
                </c:pt>
                <c:pt idx="2384">
                  <c:v>8</c:v>
                </c:pt>
                <c:pt idx="2385">
                  <c:v>13</c:v>
                </c:pt>
                <c:pt idx="2386">
                  <c:v>0</c:v>
                </c:pt>
                <c:pt idx="2387">
                  <c:v>1</c:v>
                </c:pt>
                <c:pt idx="2388">
                  <c:v>20</c:v>
                </c:pt>
                <c:pt idx="2389">
                  <c:v>11</c:v>
                </c:pt>
                <c:pt idx="2390">
                  <c:v>1</c:v>
                </c:pt>
                <c:pt idx="2391">
                  <c:v>1</c:v>
                </c:pt>
                <c:pt idx="2392">
                  <c:v>4</c:v>
                </c:pt>
                <c:pt idx="2393">
                  <c:v>12</c:v>
                </c:pt>
                <c:pt idx="2394">
                  <c:v>3</c:v>
                </c:pt>
                <c:pt idx="2395">
                  <c:v>1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1</c:v>
                </c:pt>
                <c:pt idx="2401">
                  <c:v>5</c:v>
                </c:pt>
                <c:pt idx="2402">
                  <c:v>2</c:v>
                </c:pt>
                <c:pt idx="2403">
                  <c:v>2</c:v>
                </c:pt>
                <c:pt idx="2404">
                  <c:v>4</c:v>
                </c:pt>
                <c:pt idx="2405">
                  <c:v>0</c:v>
                </c:pt>
                <c:pt idx="2406">
                  <c:v>3</c:v>
                </c:pt>
                <c:pt idx="2407">
                  <c:v>0</c:v>
                </c:pt>
                <c:pt idx="2408">
                  <c:v>9</c:v>
                </c:pt>
                <c:pt idx="2409">
                  <c:v>1</c:v>
                </c:pt>
                <c:pt idx="2410">
                  <c:v>0</c:v>
                </c:pt>
                <c:pt idx="2411">
                  <c:v>27</c:v>
                </c:pt>
                <c:pt idx="2412">
                  <c:v>1</c:v>
                </c:pt>
                <c:pt idx="2413">
                  <c:v>0</c:v>
                </c:pt>
                <c:pt idx="2414">
                  <c:v>2</c:v>
                </c:pt>
                <c:pt idx="2415">
                  <c:v>0</c:v>
                </c:pt>
                <c:pt idx="2416">
                  <c:v>0</c:v>
                </c:pt>
                <c:pt idx="2417">
                  <c:v>1</c:v>
                </c:pt>
                <c:pt idx="2418">
                  <c:v>3</c:v>
                </c:pt>
                <c:pt idx="2419">
                  <c:v>3</c:v>
                </c:pt>
                <c:pt idx="2420">
                  <c:v>1</c:v>
                </c:pt>
                <c:pt idx="2421">
                  <c:v>3</c:v>
                </c:pt>
                <c:pt idx="2422">
                  <c:v>6</c:v>
                </c:pt>
                <c:pt idx="2423">
                  <c:v>0</c:v>
                </c:pt>
                <c:pt idx="2424">
                  <c:v>0</c:v>
                </c:pt>
                <c:pt idx="2425">
                  <c:v>2</c:v>
                </c:pt>
                <c:pt idx="2426">
                  <c:v>0</c:v>
                </c:pt>
                <c:pt idx="2427">
                  <c:v>1</c:v>
                </c:pt>
                <c:pt idx="2428">
                  <c:v>0</c:v>
                </c:pt>
                <c:pt idx="2429">
                  <c:v>1</c:v>
                </c:pt>
                <c:pt idx="2430">
                  <c:v>0</c:v>
                </c:pt>
                <c:pt idx="2431">
                  <c:v>0</c:v>
                </c:pt>
                <c:pt idx="2432">
                  <c:v>4</c:v>
                </c:pt>
                <c:pt idx="2433">
                  <c:v>0</c:v>
                </c:pt>
                <c:pt idx="2434">
                  <c:v>3</c:v>
                </c:pt>
                <c:pt idx="2435">
                  <c:v>0</c:v>
                </c:pt>
                <c:pt idx="2436">
                  <c:v>5</c:v>
                </c:pt>
                <c:pt idx="2437">
                  <c:v>1</c:v>
                </c:pt>
                <c:pt idx="2438">
                  <c:v>3</c:v>
                </c:pt>
                <c:pt idx="2439">
                  <c:v>0</c:v>
                </c:pt>
                <c:pt idx="2440">
                  <c:v>1</c:v>
                </c:pt>
                <c:pt idx="2441">
                  <c:v>1</c:v>
                </c:pt>
                <c:pt idx="2442">
                  <c:v>0</c:v>
                </c:pt>
                <c:pt idx="2443">
                  <c:v>2</c:v>
                </c:pt>
                <c:pt idx="2444">
                  <c:v>0</c:v>
                </c:pt>
                <c:pt idx="2445">
                  <c:v>1</c:v>
                </c:pt>
                <c:pt idx="2446">
                  <c:v>0</c:v>
                </c:pt>
                <c:pt idx="2447">
                  <c:v>1</c:v>
                </c:pt>
                <c:pt idx="2448">
                  <c:v>1</c:v>
                </c:pt>
                <c:pt idx="2449">
                  <c:v>2</c:v>
                </c:pt>
                <c:pt idx="2450">
                  <c:v>0</c:v>
                </c:pt>
                <c:pt idx="2451">
                  <c:v>0</c:v>
                </c:pt>
                <c:pt idx="2452">
                  <c:v>4</c:v>
                </c:pt>
                <c:pt idx="2453">
                  <c:v>12</c:v>
                </c:pt>
                <c:pt idx="2454">
                  <c:v>12</c:v>
                </c:pt>
                <c:pt idx="2455">
                  <c:v>2</c:v>
                </c:pt>
                <c:pt idx="2456">
                  <c:v>0</c:v>
                </c:pt>
                <c:pt idx="2457">
                  <c:v>8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6</c:v>
                </c:pt>
                <c:pt idx="2462">
                  <c:v>0</c:v>
                </c:pt>
                <c:pt idx="2463">
                  <c:v>1</c:v>
                </c:pt>
                <c:pt idx="2464">
                  <c:v>6</c:v>
                </c:pt>
                <c:pt idx="2465">
                  <c:v>9</c:v>
                </c:pt>
                <c:pt idx="2466">
                  <c:v>7</c:v>
                </c:pt>
                <c:pt idx="2467">
                  <c:v>0</c:v>
                </c:pt>
                <c:pt idx="2468">
                  <c:v>0</c:v>
                </c:pt>
                <c:pt idx="2469">
                  <c:v>1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4</c:v>
                </c:pt>
                <c:pt idx="2474">
                  <c:v>4</c:v>
                </c:pt>
                <c:pt idx="2475">
                  <c:v>3</c:v>
                </c:pt>
                <c:pt idx="2476">
                  <c:v>0</c:v>
                </c:pt>
                <c:pt idx="2477">
                  <c:v>21</c:v>
                </c:pt>
                <c:pt idx="2478">
                  <c:v>2</c:v>
                </c:pt>
                <c:pt idx="2479">
                  <c:v>4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2</c:v>
                </c:pt>
                <c:pt idx="2486">
                  <c:v>0</c:v>
                </c:pt>
                <c:pt idx="2487">
                  <c:v>2</c:v>
                </c:pt>
                <c:pt idx="2488">
                  <c:v>3</c:v>
                </c:pt>
                <c:pt idx="2489">
                  <c:v>5</c:v>
                </c:pt>
                <c:pt idx="2490">
                  <c:v>0</c:v>
                </c:pt>
                <c:pt idx="2491">
                  <c:v>4</c:v>
                </c:pt>
                <c:pt idx="2492">
                  <c:v>1</c:v>
                </c:pt>
                <c:pt idx="2493">
                  <c:v>0</c:v>
                </c:pt>
                <c:pt idx="2494">
                  <c:v>0</c:v>
                </c:pt>
                <c:pt idx="2495">
                  <c:v>2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1</c:v>
                </c:pt>
                <c:pt idx="2500">
                  <c:v>1</c:v>
                </c:pt>
                <c:pt idx="2501">
                  <c:v>4</c:v>
                </c:pt>
                <c:pt idx="2502">
                  <c:v>0</c:v>
                </c:pt>
                <c:pt idx="2503">
                  <c:v>0</c:v>
                </c:pt>
                <c:pt idx="2504">
                  <c:v>5</c:v>
                </c:pt>
                <c:pt idx="2505">
                  <c:v>0</c:v>
                </c:pt>
                <c:pt idx="2506">
                  <c:v>4</c:v>
                </c:pt>
                <c:pt idx="2507">
                  <c:v>4</c:v>
                </c:pt>
                <c:pt idx="2508">
                  <c:v>0</c:v>
                </c:pt>
                <c:pt idx="2509">
                  <c:v>1</c:v>
                </c:pt>
                <c:pt idx="2510">
                  <c:v>8</c:v>
                </c:pt>
                <c:pt idx="2511">
                  <c:v>0</c:v>
                </c:pt>
                <c:pt idx="2512">
                  <c:v>5</c:v>
                </c:pt>
                <c:pt idx="2513">
                  <c:v>0</c:v>
                </c:pt>
                <c:pt idx="2514">
                  <c:v>0</c:v>
                </c:pt>
                <c:pt idx="2515">
                  <c:v>7</c:v>
                </c:pt>
                <c:pt idx="2516">
                  <c:v>0</c:v>
                </c:pt>
                <c:pt idx="2517">
                  <c:v>3</c:v>
                </c:pt>
                <c:pt idx="2518">
                  <c:v>1</c:v>
                </c:pt>
                <c:pt idx="2519">
                  <c:v>4</c:v>
                </c:pt>
                <c:pt idx="2520">
                  <c:v>3</c:v>
                </c:pt>
                <c:pt idx="2521">
                  <c:v>15</c:v>
                </c:pt>
                <c:pt idx="2522">
                  <c:v>5</c:v>
                </c:pt>
                <c:pt idx="2523">
                  <c:v>2</c:v>
                </c:pt>
                <c:pt idx="2524">
                  <c:v>17</c:v>
                </c:pt>
                <c:pt idx="2525">
                  <c:v>1</c:v>
                </c:pt>
                <c:pt idx="2526">
                  <c:v>7</c:v>
                </c:pt>
                <c:pt idx="2527">
                  <c:v>3</c:v>
                </c:pt>
                <c:pt idx="2528">
                  <c:v>1</c:v>
                </c:pt>
                <c:pt idx="2529">
                  <c:v>3</c:v>
                </c:pt>
                <c:pt idx="2530">
                  <c:v>0</c:v>
                </c:pt>
                <c:pt idx="2531">
                  <c:v>0</c:v>
                </c:pt>
                <c:pt idx="2532">
                  <c:v>1</c:v>
                </c:pt>
                <c:pt idx="2533">
                  <c:v>0</c:v>
                </c:pt>
                <c:pt idx="2534">
                  <c:v>0</c:v>
                </c:pt>
                <c:pt idx="2535">
                  <c:v>5</c:v>
                </c:pt>
                <c:pt idx="2536">
                  <c:v>1</c:v>
                </c:pt>
                <c:pt idx="2537">
                  <c:v>0</c:v>
                </c:pt>
                <c:pt idx="2538">
                  <c:v>1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73</c:v>
                </c:pt>
                <c:pt idx="2545">
                  <c:v>1</c:v>
                </c:pt>
                <c:pt idx="2546">
                  <c:v>2</c:v>
                </c:pt>
                <c:pt idx="2547">
                  <c:v>0</c:v>
                </c:pt>
                <c:pt idx="2548">
                  <c:v>0</c:v>
                </c:pt>
                <c:pt idx="2549">
                  <c:v>1</c:v>
                </c:pt>
                <c:pt idx="2550">
                  <c:v>6</c:v>
                </c:pt>
                <c:pt idx="2551">
                  <c:v>1</c:v>
                </c:pt>
                <c:pt idx="2552">
                  <c:v>0</c:v>
                </c:pt>
                <c:pt idx="2553">
                  <c:v>0</c:v>
                </c:pt>
                <c:pt idx="2554">
                  <c:v>1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1</c:v>
                </c:pt>
                <c:pt idx="2559">
                  <c:v>1</c:v>
                </c:pt>
                <c:pt idx="2560">
                  <c:v>1</c:v>
                </c:pt>
                <c:pt idx="2561">
                  <c:v>1</c:v>
                </c:pt>
                <c:pt idx="2562">
                  <c:v>0</c:v>
                </c:pt>
                <c:pt idx="2563">
                  <c:v>1</c:v>
                </c:pt>
                <c:pt idx="2564">
                  <c:v>1</c:v>
                </c:pt>
                <c:pt idx="2565">
                  <c:v>0</c:v>
                </c:pt>
                <c:pt idx="2566">
                  <c:v>0</c:v>
                </c:pt>
                <c:pt idx="2567">
                  <c:v>15</c:v>
                </c:pt>
                <c:pt idx="2568">
                  <c:v>0</c:v>
                </c:pt>
                <c:pt idx="2569">
                  <c:v>0</c:v>
                </c:pt>
                <c:pt idx="2570">
                  <c:v>4</c:v>
                </c:pt>
                <c:pt idx="2571">
                  <c:v>9</c:v>
                </c:pt>
                <c:pt idx="2572">
                  <c:v>1</c:v>
                </c:pt>
                <c:pt idx="2573">
                  <c:v>7</c:v>
                </c:pt>
                <c:pt idx="2574">
                  <c:v>2</c:v>
                </c:pt>
                <c:pt idx="2575">
                  <c:v>12</c:v>
                </c:pt>
                <c:pt idx="2576">
                  <c:v>4</c:v>
                </c:pt>
                <c:pt idx="2577">
                  <c:v>3</c:v>
                </c:pt>
                <c:pt idx="2578">
                  <c:v>3</c:v>
                </c:pt>
                <c:pt idx="2579">
                  <c:v>1</c:v>
                </c:pt>
                <c:pt idx="2580">
                  <c:v>5</c:v>
                </c:pt>
                <c:pt idx="2581">
                  <c:v>0</c:v>
                </c:pt>
                <c:pt idx="2582">
                  <c:v>1</c:v>
                </c:pt>
                <c:pt idx="2583">
                  <c:v>4</c:v>
                </c:pt>
                <c:pt idx="2584">
                  <c:v>3</c:v>
                </c:pt>
                <c:pt idx="2585">
                  <c:v>2</c:v>
                </c:pt>
                <c:pt idx="2586">
                  <c:v>7</c:v>
                </c:pt>
                <c:pt idx="2587">
                  <c:v>13</c:v>
                </c:pt>
                <c:pt idx="2588">
                  <c:v>1</c:v>
                </c:pt>
                <c:pt idx="2589">
                  <c:v>1</c:v>
                </c:pt>
                <c:pt idx="2590">
                  <c:v>0</c:v>
                </c:pt>
                <c:pt idx="2591">
                  <c:v>2</c:v>
                </c:pt>
                <c:pt idx="2592">
                  <c:v>3</c:v>
                </c:pt>
                <c:pt idx="2593">
                  <c:v>1</c:v>
                </c:pt>
                <c:pt idx="2594">
                  <c:v>5</c:v>
                </c:pt>
                <c:pt idx="2595">
                  <c:v>8</c:v>
                </c:pt>
                <c:pt idx="2596">
                  <c:v>7</c:v>
                </c:pt>
                <c:pt idx="2597">
                  <c:v>5</c:v>
                </c:pt>
                <c:pt idx="2598">
                  <c:v>3</c:v>
                </c:pt>
                <c:pt idx="2599">
                  <c:v>1</c:v>
                </c:pt>
                <c:pt idx="2600">
                  <c:v>1</c:v>
                </c:pt>
                <c:pt idx="2601">
                  <c:v>2</c:v>
                </c:pt>
                <c:pt idx="2602">
                  <c:v>1</c:v>
                </c:pt>
                <c:pt idx="2603">
                  <c:v>1</c:v>
                </c:pt>
                <c:pt idx="2604">
                  <c:v>7</c:v>
                </c:pt>
                <c:pt idx="2605">
                  <c:v>1</c:v>
                </c:pt>
                <c:pt idx="2606">
                  <c:v>0</c:v>
                </c:pt>
                <c:pt idx="2607">
                  <c:v>1</c:v>
                </c:pt>
                <c:pt idx="2608">
                  <c:v>2</c:v>
                </c:pt>
                <c:pt idx="2609">
                  <c:v>5</c:v>
                </c:pt>
                <c:pt idx="2610">
                  <c:v>2</c:v>
                </c:pt>
                <c:pt idx="2611">
                  <c:v>3</c:v>
                </c:pt>
                <c:pt idx="2612">
                  <c:v>0</c:v>
                </c:pt>
                <c:pt idx="2613">
                  <c:v>1</c:v>
                </c:pt>
                <c:pt idx="2614">
                  <c:v>4</c:v>
                </c:pt>
                <c:pt idx="2615">
                  <c:v>1</c:v>
                </c:pt>
                <c:pt idx="2616">
                  <c:v>1</c:v>
                </c:pt>
                <c:pt idx="2617">
                  <c:v>1</c:v>
                </c:pt>
                <c:pt idx="2618">
                  <c:v>1</c:v>
                </c:pt>
                <c:pt idx="2619">
                  <c:v>2</c:v>
                </c:pt>
                <c:pt idx="2620">
                  <c:v>2</c:v>
                </c:pt>
                <c:pt idx="2621">
                  <c:v>2</c:v>
                </c:pt>
                <c:pt idx="2622">
                  <c:v>2</c:v>
                </c:pt>
                <c:pt idx="2623">
                  <c:v>0</c:v>
                </c:pt>
                <c:pt idx="2624">
                  <c:v>0</c:v>
                </c:pt>
                <c:pt idx="2625">
                  <c:v>1</c:v>
                </c:pt>
                <c:pt idx="2626">
                  <c:v>1</c:v>
                </c:pt>
                <c:pt idx="2627">
                  <c:v>1</c:v>
                </c:pt>
                <c:pt idx="2628">
                  <c:v>2</c:v>
                </c:pt>
                <c:pt idx="2629">
                  <c:v>0</c:v>
                </c:pt>
                <c:pt idx="2630">
                  <c:v>0</c:v>
                </c:pt>
                <c:pt idx="2631">
                  <c:v>1</c:v>
                </c:pt>
                <c:pt idx="2632">
                  <c:v>2</c:v>
                </c:pt>
                <c:pt idx="2633">
                  <c:v>1</c:v>
                </c:pt>
                <c:pt idx="2634">
                  <c:v>0</c:v>
                </c:pt>
                <c:pt idx="2635">
                  <c:v>2</c:v>
                </c:pt>
                <c:pt idx="2636">
                  <c:v>0</c:v>
                </c:pt>
                <c:pt idx="2637">
                  <c:v>1</c:v>
                </c:pt>
                <c:pt idx="2638">
                  <c:v>1</c:v>
                </c:pt>
                <c:pt idx="2639">
                  <c:v>1</c:v>
                </c:pt>
                <c:pt idx="2640">
                  <c:v>2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1</c:v>
                </c:pt>
                <c:pt idx="2646">
                  <c:v>0</c:v>
                </c:pt>
                <c:pt idx="2647">
                  <c:v>0</c:v>
                </c:pt>
                <c:pt idx="2648">
                  <c:v>1</c:v>
                </c:pt>
                <c:pt idx="2649">
                  <c:v>0</c:v>
                </c:pt>
                <c:pt idx="2650">
                  <c:v>0</c:v>
                </c:pt>
                <c:pt idx="2651">
                  <c:v>1</c:v>
                </c:pt>
                <c:pt idx="2652">
                  <c:v>0</c:v>
                </c:pt>
                <c:pt idx="2653">
                  <c:v>1</c:v>
                </c:pt>
                <c:pt idx="2654">
                  <c:v>1</c:v>
                </c:pt>
                <c:pt idx="2655">
                  <c:v>1</c:v>
                </c:pt>
                <c:pt idx="2656">
                  <c:v>1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1</c:v>
                </c:pt>
                <c:pt idx="2662">
                  <c:v>1</c:v>
                </c:pt>
                <c:pt idx="2663">
                  <c:v>1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1</c:v>
                </c:pt>
                <c:pt idx="2673">
                  <c:v>0</c:v>
                </c:pt>
                <c:pt idx="2674">
                  <c:v>1</c:v>
                </c:pt>
                <c:pt idx="2675">
                  <c:v>1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2</c:v>
                </c:pt>
                <c:pt idx="2681">
                  <c:v>0</c:v>
                </c:pt>
                <c:pt idx="2682">
                  <c:v>1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1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1</c:v>
                </c:pt>
                <c:pt idx="2705">
                  <c:v>0</c:v>
                </c:pt>
                <c:pt idx="2706">
                  <c:v>2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1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1</c:v>
                </c:pt>
                <c:pt idx="2724">
                  <c:v>0</c:v>
                </c:pt>
                <c:pt idx="2725">
                  <c:v>0</c:v>
                </c:pt>
                <c:pt idx="2726">
                  <c:v>1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2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1</c:v>
                </c:pt>
                <c:pt idx="2743">
                  <c:v>0</c:v>
                </c:pt>
                <c:pt idx="2744">
                  <c:v>0</c:v>
                </c:pt>
                <c:pt idx="2745">
                  <c:v>1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1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1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2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1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1</c:v>
                </c:pt>
                <c:pt idx="2782">
                  <c:v>0</c:v>
                </c:pt>
                <c:pt idx="2783">
                  <c:v>1</c:v>
                </c:pt>
                <c:pt idx="2784">
                  <c:v>0</c:v>
                </c:pt>
                <c:pt idx="2785">
                  <c:v>0</c:v>
                </c:pt>
                <c:pt idx="2786">
                  <c:v>2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2</c:v>
                </c:pt>
                <c:pt idx="2795">
                  <c:v>2</c:v>
                </c:pt>
                <c:pt idx="2796">
                  <c:v>0</c:v>
                </c:pt>
                <c:pt idx="2797">
                  <c:v>0</c:v>
                </c:pt>
                <c:pt idx="2798">
                  <c:v>1</c:v>
                </c:pt>
                <c:pt idx="2799">
                  <c:v>0</c:v>
                </c:pt>
                <c:pt idx="2800">
                  <c:v>1</c:v>
                </c:pt>
                <c:pt idx="2801">
                  <c:v>0</c:v>
                </c:pt>
                <c:pt idx="2802">
                  <c:v>0</c:v>
                </c:pt>
                <c:pt idx="2803">
                  <c:v>1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1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60</c:v>
                </c:pt>
                <c:pt idx="2826">
                  <c:v>57</c:v>
                </c:pt>
                <c:pt idx="2827">
                  <c:v>170</c:v>
                </c:pt>
                <c:pt idx="2828">
                  <c:v>102</c:v>
                </c:pt>
                <c:pt idx="2829">
                  <c:v>112</c:v>
                </c:pt>
                <c:pt idx="2830">
                  <c:v>73</c:v>
                </c:pt>
                <c:pt idx="2831">
                  <c:v>107</c:v>
                </c:pt>
                <c:pt idx="2832">
                  <c:v>88</c:v>
                </c:pt>
                <c:pt idx="2833">
                  <c:v>211</c:v>
                </c:pt>
                <c:pt idx="2834">
                  <c:v>274</c:v>
                </c:pt>
                <c:pt idx="2835">
                  <c:v>42</c:v>
                </c:pt>
                <c:pt idx="2836">
                  <c:v>55</c:v>
                </c:pt>
                <c:pt idx="2837">
                  <c:v>175</c:v>
                </c:pt>
                <c:pt idx="2838">
                  <c:v>235</c:v>
                </c:pt>
                <c:pt idx="2839">
                  <c:v>312</c:v>
                </c:pt>
                <c:pt idx="2840">
                  <c:v>113</c:v>
                </c:pt>
                <c:pt idx="2841">
                  <c:v>139</c:v>
                </c:pt>
                <c:pt idx="2842">
                  <c:v>61</c:v>
                </c:pt>
                <c:pt idx="2843">
                  <c:v>112</c:v>
                </c:pt>
                <c:pt idx="2844">
                  <c:v>17</c:v>
                </c:pt>
                <c:pt idx="2845">
                  <c:v>271</c:v>
                </c:pt>
                <c:pt idx="2846">
                  <c:v>50</c:v>
                </c:pt>
                <c:pt idx="2847">
                  <c:v>10</c:v>
                </c:pt>
                <c:pt idx="2848">
                  <c:v>67</c:v>
                </c:pt>
                <c:pt idx="2849">
                  <c:v>223</c:v>
                </c:pt>
                <c:pt idx="2850">
                  <c:v>6</c:v>
                </c:pt>
                <c:pt idx="2851">
                  <c:v>124</c:v>
                </c:pt>
                <c:pt idx="2852">
                  <c:v>11</c:v>
                </c:pt>
                <c:pt idx="2853">
                  <c:v>298</c:v>
                </c:pt>
                <c:pt idx="2854">
                  <c:v>17</c:v>
                </c:pt>
                <c:pt idx="2855">
                  <c:v>101</c:v>
                </c:pt>
                <c:pt idx="2856">
                  <c:v>112</c:v>
                </c:pt>
                <c:pt idx="2857">
                  <c:v>26</c:v>
                </c:pt>
                <c:pt idx="2858">
                  <c:v>87</c:v>
                </c:pt>
                <c:pt idx="2859">
                  <c:v>17</c:v>
                </c:pt>
                <c:pt idx="2860">
                  <c:v>56</c:v>
                </c:pt>
                <c:pt idx="2861">
                  <c:v>88</c:v>
                </c:pt>
                <c:pt idx="2862">
                  <c:v>33</c:v>
                </c:pt>
                <c:pt idx="2863">
                  <c:v>37</c:v>
                </c:pt>
                <c:pt idx="2864">
                  <c:v>47</c:v>
                </c:pt>
                <c:pt idx="2865">
                  <c:v>121</c:v>
                </c:pt>
                <c:pt idx="2866">
                  <c:v>44</c:v>
                </c:pt>
                <c:pt idx="2867">
                  <c:v>86</c:v>
                </c:pt>
                <c:pt idx="2868">
                  <c:v>12</c:v>
                </c:pt>
                <c:pt idx="2869">
                  <c:v>10</c:v>
                </c:pt>
                <c:pt idx="2870">
                  <c:v>159</c:v>
                </c:pt>
                <c:pt idx="2871">
                  <c:v>103</c:v>
                </c:pt>
                <c:pt idx="2872">
                  <c:v>15</c:v>
                </c:pt>
                <c:pt idx="2873">
                  <c:v>186</c:v>
                </c:pt>
                <c:pt idx="2874">
                  <c:v>28</c:v>
                </c:pt>
                <c:pt idx="2875">
                  <c:v>51</c:v>
                </c:pt>
                <c:pt idx="2876">
                  <c:v>18</c:v>
                </c:pt>
                <c:pt idx="2877">
                  <c:v>44</c:v>
                </c:pt>
                <c:pt idx="2878">
                  <c:v>37</c:v>
                </c:pt>
                <c:pt idx="2879">
                  <c:v>88</c:v>
                </c:pt>
                <c:pt idx="2880">
                  <c:v>35</c:v>
                </c:pt>
                <c:pt idx="2881">
                  <c:v>54</c:v>
                </c:pt>
                <c:pt idx="2882">
                  <c:v>47</c:v>
                </c:pt>
                <c:pt idx="2883">
                  <c:v>28</c:v>
                </c:pt>
                <c:pt idx="2884">
                  <c:v>9</c:v>
                </c:pt>
                <c:pt idx="2885">
                  <c:v>47</c:v>
                </c:pt>
                <c:pt idx="2886">
                  <c:v>133</c:v>
                </c:pt>
                <c:pt idx="2887">
                  <c:v>56</c:v>
                </c:pt>
                <c:pt idx="2888">
                  <c:v>2</c:v>
                </c:pt>
                <c:pt idx="2889">
                  <c:v>10</c:v>
                </c:pt>
                <c:pt idx="2890">
                  <c:v>95</c:v>
                </c:pt>
                <c:pt idx="2891">
                  <c:v>6</c:v>
                </c:pt>
                <c:pt idx="2892">
                  <c:v>45</c:v>
                </c:pt>
                <c:pt idx="2893">
                  <c:v>47</c:v>
                </c:pt>
                <c:pt idx="2894">
                  <c:v>35</c:v>
                </c:pt>
                <c:pt idx="2895">
                  <c:v>37</c:v>
                </c:pt>
                <c:pt idx="2896">
                  <c:v>5</c:v>
                </c:pt>
                <c:pt idx="2897">
                  <c:v>8</c:v>
                </c:pt>
                <c:pt idx="2898">
                  <c:v>25</c:v>
                </c:pt>
                <c:pt idx="2899">
                  <c:v>6</c:v>
                </c:pt>
                <c:pt idx="2900">
                  <c:v>56</c:v>
                </c:pt>
                <c:pt idx="2901">
                  <c:v>30</c:v>
                </c:pt>
                <c:pt idx="2902">
                  <c:v>92</c:v>
                </c:pt>
                <c:pt idx="2903">
                  <c:v>121</c:v>
                </c:pt>
                <c:pt idx="2904">
                  <c:v>17</c:v>
                </c:pt>
                <c:pt idx="2905">
                  <c:v>43</c:v>
                </c:pt>
                <c:pt idx="2906">
                  <c:v>39</c:v>
                </c:pt>
                <c:pt idx="2907">
                  <c:v>6</c:v>
                </c:pt>
                <c:pt idx="2908">
                  <c:v>13</c:v>
                </c:pt>
                <c:pt idx="2909">
                  <c:v>5</c:v>
                </c:pt>
                <c:pt idx="2910">
                  <c:v>9</c:v>
                </c:pt>
                <c:pt idx="2911">
                  <c:v>12</c:v>
                </c:pt>
                <c:pt idx="2912">
                  <c:v>58</c:v>
                </c:pt>
                <c:pt idx="2913">
                  <c:v>32</c:v>
                </c:pt>
                <c:pt idx="2914">
                  <c:v>125</c:v>
                </c:pt>
                <c:pt idx="2915">
                  <c:v>43</c:v>
                </c:pt>
                <c:pt idx="2916">
                  <c:v>79</c:v>
                </c:pt>
                <c:pt idx="2917">
                  <c:v>2</c:v>
                </c:pt>
                <c:pt idx="2918">
                  <c:v>41</c:v>
                </c:pt>
                <c:pt idx="2919">
                  <c:v>24</c:v>
                </c:pt>
                <c:pt idx="2920">
                  <c:v>5</c:v>
                </c:pt>
                <c:pt idx="2921">
                  <c:v>20</c:v>
                </c:pt>
                <c:pt idx="2922">
                  <c:v>30</c:v>
                </c:pt>
                <c:pt idx="2923">
                  <c:v>12</c:v>
                </c:pt>
                <c:pt idx="2924">
                  <c:v>16</c:v>
                </c:pt>
                <c:pt idx="2925">
                  <c:v>1</c:v>
                </c:pt>
                <c:pt idx="2926">
                  <c:v>49</c:v>
                </c:pt>
                <c:pt idx="2927">
                  <c:v>10</c:v>
                </c:pt>
                <c:pt idx="2928">
                  <c:v>12</c:v>
                </c:pt>
                <c:pt idx="2929">
                  <c:v>29</c:v>
                </c:pt>
                <c:pt idx="2930">
                  <c:v>18</c:v>
                </c:pt>
                <c:pt idx="2931">
                  <c:v>15</c:v>
                </c:pt>
                <c:pt idx="2932">
                  <c:v>4</c:v>
                </c:pt>
                <c:pt idx="2933">
                  <c:v>2</c:v>
                </c:pt>
                <c:pt idx="2934">
                  <c:v>3</c:v>
                </c:pt>
                <c:pt idx="2935">
                  <c:v>11</c:v>
                </c:pt>
                <c:pt idx="2936">
                  <c:v>2</c:v>
                </c:pt>
                <c:pt idx="2937">
                  <c:v>4</c:v>
                </c:pt>
                <c:pt idx="2938">
                  <c:v>3</c:v>
                </c:pt>
                <c:pt idx="2939">
                  <c:v>23</c:v>
                </c:pt>
                <c:pt idx="2940">
                  <c:v>27</c:v>
                </c:pt>
                <c:pt idx="2941">
                  <c:v>22</c:v>
                </c:pt>
                <c:pt idx="2942">
                  <c:v>7</c:v>
                </c:pt>
                <c:pt idx="2943">
                  <c:v>12</c:v>
                </c:pt>
                <c:pt idx="2944">
                  <c:v>1</c:v>
                </c:pt>
                <c:pt idx="2945">
                  <c:v>8</c:v>
                </c:pt>
                <c:pt idx="2946">
                  <c:v>2</c:v>
                </c:pt>
                <c:pt idx="2947">
                  <c:v>2</c:v>
                </c:pt>
                <c:pt idx="2948">
                  <c:v>0</c:v>
                </c:pt>
                <c:pt idx="2949">
                  <c:v>0</c:v>
                </c:pt>
                <c:pt idx="2950">
                  <c:v>28</c:v>
                </c:pt>
                <c:pt idx="2951">
                  <c:v>40</c:v>
                </c:pt>
                <c:pt idx="2952">
                  <c:v>27</c:v>
                </c:pt>
                <c:pt idx="2953">
                  <c:v>11</c:v>
                </c:pt>
                <c:pt idx="2954">
                  <c:v>6</c:v>
                </c:pt>
                <c:pt idx="2955">
                  <c:v>6</c:v>
                </c:pt>
                <c:pt idx="2956">
                  <c:v>0</c:v>
                </c:pt>
                <c:pt idx="2957">
                  <c:v>26</c:v>
                </c:pt>
                <c:pt idx="2958">
                  <c:v>9</c:v>
                </c:pt>
                <c:pt idx="2959">
                  <c:v>2</c:v>
                </c:pt>
                <c:pt idx="2960">
                  <c:v>15</c:v>
                </c:pt>
                <c:pt idx="2961">
                  <c:v>7</c:v>
                </c:pt>
                <c:pt idx="2962">
                  <c:v>11</c:v>
                </c:pt>
                <c:pt idx="2963">
                  <c:v>33</c:v>
                </c:pt>
                <c:pt idx="2964">
                  <c:v>9</c:v>
                </c:pt>
                <c:pt idx="2965">
                  <c:v>29</c:v>
                </c:pt>
                <c:pt idx="2966">
                  <c:v>6</c:v>
                </c:pt>
                <c:pt idx="2967">
                  <c:v>0</c:v>
                </c:pt>
                <c:pt idx="2968">
                  <c:v>12</c:v>
                </c:pt>
                <c:pt idx="2969">
                  <c:v>0</c:v>
                </c:pt>
                <c:pt idx="2970">
                  <c:v>13</c:v>
                </c:pt>
                <c:pt idx="2971">
                  <c:v>9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4</c:v>
                </c:pt>
                <c:pt idx="2977">
                  <c:v>0</c:v>
                </c:pt>
                <c:pt idx="2978">
                  <c:v>48</c:v>
                </c:pt>
                <c:pt idx="2979">
                  <c:v>0</c:v>
                </c:pt>
                <c:pt idx="2980">
                  <c:v>2</c:v>
                </c:pt>
                <c:pt idx="2981">
                  <c:v>2</c:v>
                </c:pt>
                <c:pt idx="2982">
                  <c:v>0</c:v>
                </c:pt>
                <c:pt idx="2983">
                  <c:v>1</c:v>
                </c:pt>
                <c:pt idx="2984">
                  <c:v>5</c:v>
                </c:pt>
                <c:pt idx="2985">
                  <c:v>1</c:v>
                </c:pt>
                <c:pt idx="2986">
                  <c:v>2</c:v>
                </c:pt>
                <c:pt idx="2987">
                  <c:v>23</c:v>
                </c:pt>
                <c:pt idx="2988">
                  <c:v>2</c:v>
                </c:pt>
                <c:pt idx="2989">
                  <c:v>9</c:v>
                </c:pt>
                <c:pt idx="2990">
                  <c:v>2</c:v>
                </c:pt>
                <c:pt idx="2991">
                  <c:v>2</c:v>
                </c:pt>
                <c:pt idx="2992">
                  <c:v>7</c:v>
                </c:pt>
                <c:pt idx="2993">
                  <c:v>2</c:v>
                </c:pt>
                <c:pt idx="2994">
                  <c:v>0</c:v>
                </c:pt>
                <c:pt idx="2995">
                  <c:v>4</c:v>
                </c:pt>
                <c:pt idx="2996">
                  <c:v>2</c:v>
                </c:pt>
                <c:pt idx="2997">
                  <c:v>0</c:v>
                </c:pt>
                <c:pt idx="2998">
                  <c:v>0</c:v>
                </c:pt>
                <c:pt idx="2999">
                  <c:v>2</c:v>
                </c:pt>
                <c:pt idx="3000">
                  <c:v>1</c:v>
                </c:pt>
                <c:pt idx="3001">
                  <c:v>0</c:v>
                </c:pt>
                <c:pt idx="3002">
                  <c:v>4</c:v>
                </c:pt>
                <c:pt idx="3003">
                  <c:v>1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3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8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2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3</c:v>
                </c:pt>
                <c:pt idx="3027">
                  <c:v>0</c:v>
                </c:pt>
                <c:pt idx="3028">
                  <c:v>1</c:v>
                </c:pt>
                <c:pt idx="3029">
                  <c:v>1</c:v>
                </c:pt>
                <c:pt idx="3030">
                  <c:v>0</c:v>
                </c:pt>
                <c:pt idx="3031">
                  <c:v>2</c:v>
                </c:pt>
                <c:pt idx="3032">
                  <c:v>3</c:v>
                </c:pt>
                <c:pt idx="3033">
                  <c:v>0</c:v>
                </c:pt>
                <c:pt idx="3034">
                  <c:v>1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3</c:v>
                </c:pt>
                <c:pt idx="3041">
                  <c:v>4</c:v>
                </c:pt>
                <c:pt idx="3042">
                  <c:v>4</c:v>
                </c:pt>
                <c:pt idx="3043">
                  <c:v>12</c:v>
                </c:pt>
                <c:pt idx="3044">
                  <c:v>0</c:v>
                </c:pt>
                <c:pt idx="3045">
                  <c:v>3</c:v>
                </c:pt>
                <c:pt idx="3046">
                  <c:v>9</c:v>
                </c:pt>
                <c:pt idx="3047">
                  <c:v>14</c:v>
                </c:pt>
                <c:pt idx="3048">
                  <c:v>3</c:v>
                </c:pt>
                <c:pt idx="3049">
                  <c:v>3</c:v>
                </c:pt>
                <c:pt idx="3050">
                  <c:v>5</c:v>
                </c:pt>
                <c:pt idx="3051">
                  <c:v>2</c:v>
                </c:pt>
                <c:pt idx="3052">
                  <c:v>5</c:v>
                </c:pt>
                <c:pt idx="3053">
                  <c:v>1</c:v>
                </c:pt>
                <c:pt idx="3054">
                  <c:v>9</c:v>
                </c:pt>
                <c:pt idx="3055">
                  <c:v>2</c:v>
                </c:pt>
                <c:pt idx="3056">
                  <c:v>7</c:v>
                </c:pt>
                <c:pt idx="3057">
                  <c:v>3</c:v>
                </c:pt>
                <c:pt idx="3058">
                  <c:v>8</c:v>
                </c:pt>
                <c:pt idx="3059">
                  <c:v>0</c:v>
                </c:pt>
                <c:pt idx="3060">
                  <c:v>2</c:v>
                </c:pt>
                <c:pt idx="3061">
                  <c:v>15</c:v>
                </c:pt>
                <c:pt idx="3062">
                  <c:v>0</c:v>
                </c:pt>
                <c:pt idx="3063">
                  <c:v>0</c:v>
                </c:pt>
                <c:pt idx="3064">
                  <c:v>1</c:v>
                </c:pt>
                <c:pt idx="3065">
                  <c:v>1</c:v>
                </c:pt>
                <c:pt idx="3066">
                  <c:v>3</c:v>
                </c:pt>
                <c:pt idx="3067">
                  <c:v>0</c:v>
                </c:pt>
                <c:pt idx="3068">
                  <c:v>2</c:v>
                </c:pt>
                <c:pt idx="3069">
                  <c:v>5</c:v>
                </c:pt>
                <c:pt idx="3070">
                  <c:v>3</c:v>
                </c:pt>
                <c:pt idx="3071">
                  <c:v>1</c:v>
                </c:pt>
                <c:pt idx="3072">
                  <c:v>1</c:v>
                </c:pt>
                <c:pt idx="3073">
                  <c:v>2</c:v>
                </c:pt>
                <c:pt idx="3074">
                  <c:v>4</c:v>
                </c:pt>
                <c:pt idx="3075">
                  <c:v>0</c:v>
                </c:pt>
                <c:pt idx="3076">
                  <c:v>0</c:v>
                </c:pt>
                <c:pt idx="3077">
                  <c:v>4</c:v>
                </c:pt>
                <c:pt idx="3078">
                  <c:v>2</c:v>
                </c:pt>
                <c:pt idx="3079">
                  <c:v>0</c:v>
                </c:pt>
                <c:pt idx="3080">
                  <c:v>5</c:v>
                </c:pt>
                <c:pt idx="3081">
                  <c:v>8</c:v>
                </c:pt>
                <c:pt idx="3082">
                  <c:v>6</c:v>
                </c:pt>
                <c:pt idx="3083">
                  <c:v>21</c:v>
                </c:pt>
                <c:pt idx="3084">
                  <c:v>74</c:v>
                </c:pt>
                <c:pt idx="3085">
                  <c:v>7</c:v>
                </c:pt>
                <c:pt idx="3086">
                  <c:v>8</c:v>
                </c:pt>
                <c:pt idx="3087">
                  <c:v>6</c:v>
                </c:pt>
                <c:pt idx="3088">
                  <c:v>19</c:v>
                </c:pt>
                <c:pt idx="3089">
                  <c:v>13</c:v>
                </c:pt>
                <c:pt idx="3090">
                  <c:v>1</c:v>
                </c:pt>
                <c:pt idx="3091">
                  <c:v>4</c:v>
                </c:pt>
                <c:pt idx="3092">
                  <c:v>0</c:v>
                </c:pt>
                <c:pt idx="3093">
                  <c:v>2</c:v>
                </c:pt>
                <c:pt idx="3094">
                  <c:v>1</c:v>
                </c:pt>
                <c:pt idx="3095">
                  <c:v>11</c:v>
                </c:pt>
                <c:pt idx="3096">
                  <c:v>5</c:v>
                </c:pt>
                <c:pt idx="3097">
                  <c:v>4</c:v>
                </c:pt>
                <c:pt idx="3098">
                  <c:v>8</c:v>
                </c:pt>
                <c:pt idx="3099">
                  <c:v>33</c:v>
                </c:pt>
                <c:pt idx="3100">
                  <c:v>0</c:v>
                </c:pt>
                <c:pt idx="3101">
                  <c:v>3</c:v>
                </c:pt>
                <c:pt idx="3102">
                  <c:v>5</c:v>
                </c:pt>
                <c:pt idx="3103">
                  <c:v>6</c:v>
                </c:pt>
                <c:pt idx="3104">
                  <c:v>0</c:v>
                </c:pt>
                <c:pt idx="3105">
                  <c:v>3</c:v>
                </c:pt>
                <c:pt idx="3106">
                  <c:v>0</c:v>
                </c:pt>
                <c:pt idx="3107">
                  <c:v>2</c:v>
                </c:pt>
                <c:pt idx="3108">
                  <c:v>13</c:v>
                </c:pt>
                <c:pt idx="3109">
                  <c:v>3</c:v>
                </c:pt>
                <c:pt idx="3110">
                  <c:v>5</c:v>
                </c:pt>
                <c:pt idx="3111">
                  <c:v>3</c:v>
                </c:pt>
                <c:pt idx="3112">
                  <c:v>9</c:v>
                </c:pt>
                <c:pt idx="3113">
                  <c:v>8</c:v>
                </c:pt>
                <c:pt idx="3114">
                  <c:v>2</c:v>
                </c:pt>
                <c:pt idx="3115">
                  <c:v>2</c:v>
                </c:pt>
                <c:pt idx="3116">
                  <c:v>5</c:v>
                </c:pt>
                <c:pt idx="3117">
                  <c:v>7</c:v>
                </c:pt>
                <c:pt idx="3118">
                  <c:v>1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3</c:v>
                </c:pt>
                <c:pt idx="3123">
                  <c:v>3</c:v>
                </c:pt>
                <c:pt idx="3124">
                  <c:v>0</c:v>
                </c:pt>
                <c:pt idx="3125">
                  <c:v>5</c:v>
                </c:pt>
                <c:pt idx="3126">
                  <c:v>3</c:v>
                </c:pt>
                <c:pt idx="3127">
                  <c:v>6</c:v>
                </c:pt>
                <c:pt idx="3128">
                  <c:v>5</c:v>
                </c:pt>
                <c:pt idx="3129">
                  <c:v>3</c:v>
                </c:pt>
                <c:pt idx="3130">
                  <c:v>1</c:v>
                </c:pt>
                <c:pt idx="3131">
                  <c:v>7</c:v>
                </c:pt>
                <c:pt idx="3132">
                  <c:v>4</c:v>
                </c:pt>
                <c:pt idx="3133">
                  <c:v>0</c:v>
                </c:pt>
                <c:pt idx="3134">
                  <c:v>13</c:v>
                </c:pt>
                <c:pt idx="3135">
                  <c:v>6</c:v>
                </c:pt>
                <c:pt idx="3136">
                  <c:v>4</c:v>
                </c:pt>
                <c:pt idx="3137">
                  <c:v>3</c:v>
                </c:pt>
                <c:pt idx="3138">
                  <c:v>0</c:v>
                </c:pt>
                <c:pt idx="3139">
                  <c:v>6</c:v>
                </c:pt>
                <c:pt idx="3140">
                  <c:v>2</c:v>
                </c:pt>
                <c:pt idx="3141">
                  <c:v>0</c:v>
                </c:pt>
                <c:pt idx="3142">
                  <c:v>2</c:v>
                </c:pt>
                <c:pt idx="3143">
                  <c:v>17</c:v>
                </c:pt>
                <c:pt idx="3144">
                  <c:v>3</c:v>
                </c:pt>
                <c:pt idx="3145">
                  <c:v>2</c:v>
                </c:pt>
                <c:pt idx="3146">
                  <c:v>14</c:v>
                </c:pt>
                <c:pt idx="3147">
                  <c:v>6</c:v>
                </c:pt>
                <c:pt idx="3148">
                  <c:v>4</c:v>
                </c:pt>
                <c:pt idx="3149">
                  <c:v>3</c:v>
                </c:pt>
                <c:pt idx="3150">
                  <c:v>1</c:v>
                </c:pt>
                <c:pt idx="3151">
                  <c:v>18</c:v>
                </c:pt>
                <c:pt idx="3152">
                  <c:v>0</c:v>
                </c:pt>
                <c:pt idx="3153">
                  <c:v>0</c:v>
                </c:pt>
                <c:pt idx="3154">
                  <c:v>5</c:v>
                </c:pt>
                <c:pt idx="3155">
                  <c:v>4</c:v>
                </c:pt>
                <c:pt idx="3156">
                  <c:v>2</c:v>
                </c:pt>
                <c:pt idx="3157">
                  <c:v>3</c:v>
                </c:pt>
                <c:pt idx="3158">
                  <c:v>0</c:v>
                </c:pt>
                <c:pt idx="3159">
                  <c:v>10</c:v>
                </c:pt>
                <c:pt idx="3160">
                  <c:v>4</c:v>
                </c:pt>
                <c:pt idx="3161">
                  <c:v>32</c:v>
                </c:pt>
                <c:pt idx="3162">
                  <c:v>7</c:v>
                </c:pt>
                <c:pt idx="3163">
                  <c:v>6</c:v>
                </c:pt>
                <c:pt idx="3164">
                  <c:v>7</c:v>
                </c:pt>
                <c:pt idx="3165">
                  <c:v>1</c:v>
                </c:pt>
                <c:pt idx="3166">
                  <c:v>12</c:v>
                </c:pt>
                <c:pt idx="3167">
                  <c:v>32</c:v>
                </c:pt>
                <c:pt idx="3168">
                  <c:v>3</c:v>
                </c:pt>
                <c:pt idx="3169">
                  <c:v>37</c:v>
                </c:pt>
                <c:pt idx="3170">
                  <c:v>5</c:v>
                </c:pt>
                <c:pt idx="3171">
                  <c:v>5</c:v>
                </c:pt>
                <c:pt idx="3172">
                  <c:v>6</c:v>
                </c:pt>
                <c:pt idx="3173">
                  <c:v>14</c:v>
                </c:pt>
                <c:pt idx="3174">
                  <c:v>17</c:v>
                </c:pt>
                <c:pt idx="3175">
                  <c:v>28</c:v>
                </c:pt>
                <c:pt idx="3176">
                  <c:v>27</c:v>
                </c:pt>
                <c:pt idx="3177">
                  <c:v>15</c:v>
                </c:pt>
                <c:pt idx="3178">
                  <c:v>4</c:v>
                </c:pt>
                <c:pt idx="3179">
                  <c:v>12</c:v>
                </c:pt>
                <c:pt idx="3180">
                  <c:v>29</c:v>
                </c:pt>
                <c:pt idx="3181">
                  <c:v>12</c:v>
                </c:pt>
                <c:pt idx="3182">
                  <c:v>18</c:v>
                </c:pt>
                <c:pt idx="3183">
                  <c:v>4</c:v>
                </c:pt>
                <c:pt idx="3184">
                  <c:v>14</c:v>
                </c:pt>
                <c:pt idx="3185">
                  <c:v>1</c:v>
                </c:pt>
                <c:pt idx="3186">
                  <c:v>21</c:v>
                </c:pt>
                <c:pt idx="3187">
                  <c:v>10</c:v>
                </c:pt>
                <c:pt idx="3188">
                  <c:v>6</c:v>
                </c:pt>
                <c:pt idx="3189">
                  <c:v>3</c:v>
                </c:pt>
                <c:pt idx="3190">
                  <c:v>6</c:v>
                </c:pt>
                <c:pt idx="3191">
                  <c:v>6</c:v>
                </c:pt>
                <c:pt idx="3192">
                  <c:v>6</c:v>
                </c:pt>
                <c:pt idx="3193">
                  <c:v>8</c:v>
                </c:pt>
                <c:pt idx="3194">
                  <c:v>4</c:v>
                </c:pt>
                <c:pt idx="3195">
                  <c:v>13</c:v>
                </c:pt>
                <c:pt idx="3196">
                  <c:v>20</c:v>
                </c:pt>
                <c:pt idx="3197">
                  <c:v>10</c:v>
                </c:pt>
                <c:pt idx="3198">
                  <c:v>5</c:v>
                </c:pt>
                <c:pt idx="3199">
                  <c:v>5</c:v>
                </c:pt>
                <c:pt idx="3200">
                  <c:v>0</c:v>
                </c:pt>
                <c:pt idx="3201">
                  <c:v>10</c:v>
                </c:pt>
                <c:pt idx="3202">
                  <c:v>5</c:v>
                </c:pt>
                <c:pt idx="3203">
                  <c:v>0</c:v>
                </c:pt>
                <c:pt idx="3204">
                  <c:v>4</c:v>
                </c:pt>
                <c:pt idx="3205">
                  <c:v>14</c:v>
                </c:pt>
                <c:pt idx="3206">
                  <c:v>9</c:v>
                </c:pt>
                <c:pt idx="3207">
                  <c:v>14</c:v>
                </c:pt>
                <c:pt idx="3208">
                  <c:v>2</c:v>
                </c:pt>
                <c:pt idx="3209">
                  <c:v>1</c:v>
                </c:pt>
                <c:pt idx="3210">
                  <c:v>10</c:v>
                </c:pt>
                <c:pt idx="3211">
                  <c:v>2</c:v>
                </c:pt>
                <c:pt idx="3212">
                  <c:v>5</c:v>
                </c:pt>
                <c:pt idx="3213">
                  <c:v>7</c:v>
                </c:pt>
                <c:pt idx="3214">
                  <c:v>0</c:v>
                </c:pt>
                <c:pt idx="3215">
                  <c:v>11</c:v>
                </c:pt>
                <c:pt idx="3216">
                  <c:v>0</c:v>
                </c:pt>
                <c:pt idx="3217">
                  <c:v>1</c:v>
                </c:pt>
                <c:pt idx="3218">
                  <c:v>2</c:v>
                </c:pt>
                <c:pt idx="3219">
                  <c:v>3</c:v>
                </c:pt>
                <c:pt idx="3220">
                  <c:v>3</c:v>
                </c:pt>
                <c:pt idx="3221">
                  <c:v>4</c:v>
                </c:pt>
                <c:pt idx="3222">
                  <c:v>2</c:v>
                </c:pt>
                <c:pt idx="3223">
                  <c:v>0</c:v>
                </c:pt>
                <c:pt idx="3224">
                  <c:v>1</c:v>
                </c:pt>
                <c:pt idx="3225">
                  <c:v>5</c:v>
                </c:pt>
                <c:pt idx="3226">
                  <c:v>7</c:v>
                </c:pt>
                <c:pt idx="3227">
                  <c:v>2</c:v>
                </c:pt>
                <c:pt idx="3228">
                  <c:v>0</c:v>
                </c:pt>
                <c:pt idx="3229">
                  <c:v>2</c:v>
                </c:pt>
                <c:pt idx="3230">
                  <c:v>2</c:v>
                </c:pt>
                <c:pt idx="3231">
                  <c:v>0</c:v>
                </c:pt>
                <c:pt idx="3232">
                  <c:v>10</c:v>
                </c:pt>
                <c:pt idx="3233">
                  <c:v>0</c:v>
                </c:pt>
                <c:pt idx="3234">
                  <c:v>3</c:v>
                </c:pt>
                <c:pt idx="3235">
                  <c:v>3</c:v>
                </c:pt>
                <c:pt idx="3236">
                  <c:v>2</c:v>
                </c:pt>
                <c:pt idx="3237">
                  <c:v>5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2</c:v>
                </c:pt>
                <c:pt idx="3244">
                  <c:v>1</c:v>
                </c:pt>
                <c:pt idx="3245">
                  <c:v>4</c:v>
                </c:pt>
                <c:pt idx="3246">
                  <c:v>5</c:v>
                </c:pt>
                <c:pt idx="3247">
                  <c:v>4</c:v>
                </c:pt>
                <c:pt idx="3248">
                  <c:v>39</c:v>
                </c:pt>
                <c:pt idx="3249">
                  <c:v>10</c:v>
                </c:pt>
                <c:pt idx="3250">
                  <c:v>8</c:v>
                </c:pt>
                <c:pt idx="3251">
                  <c:v>8</c:v>
                </c:pt>
                <c:pt idx="3252">
                  <c:v>13</c:v>
                </c:pt>
                <c:pt idx="3253">
                  <c:v>4</c:v>
                </c:pt>
                <c:pt idx="3254">
                  <c:v>20</c:v>
                </c:pt>
                <c:pt idx="3255">
                  <c:v>2</c:v>
                </c:pt>
                <c:pt idx="3256">
                  <c:v>2</c:v>
                </c:pt>
                <c:pt idx="3257">
                  <c:v>3</c:v>
                </c:pt>
                <c:pt idx="3258">
                  <c:v>5</c:v>
                </c:pt>
                <c:pt idx="3259">
                  <c:v>6</c:v>
                </c:pt>
                <c:pt idx="3260">
                  <c:v>2</c:v>
                </c:pt>
                <c:pt idx="3261">
                  <c:v>3</c:v>
                </c:pt>
                <c:pt idx="3262">
                  <c:v>3</c:v>
                </c:pt>
                <c:pt idx="3263">
                  <c:v>6</c:v>
                </c:pt>
                <c:pt idx="3264">
                  <c:v>2</c:v>
                </c:pt>
                <c:pt idx="3265">
                  <c:v>3</c:v>
                </c:pt>
                <c:pt idx="3266">
                  <c:v>1</c:v>
                </c:pt>
                <c:pt idx="3267">
                  <c:v>0</c:v>
                </c:pt>
                <c:pt idx="3268">
                  <c:v>17</c:v>
                </c:pt>
                <c:pt idx="3269">
                  <c:v>7</c:v>
                </c:pt>
                <c:pt idx="3270">
                  <c:v>1</c:v>
                </c:pt>
                <c:pt idx="3271">
                  <c:v>2</c:v>
                </c:pt>
                <c:pt idx="3272">
                  <c:v>2</c:v>
                </c:pt>
                <c:pt idx="3273">
                  <c:v>0</c:v>
                </c:pt>
                <c:pt idx="3274">
                  <c:v>1</c:v>
                </c:pt>
                <c:pt idx="3275">
                  <c:v>5</c:v>
                </c:pt>
                <c:pt idx="3276">
                  <c:v>1</c:v>
                </c:pt>
                <c:pt idx="3277">
                  <c:v>1</c:v>
                </c:pt>
                <c:pt idx="3278">
                  <c:v>0</c:v>
                </c:pt>
                <c:pt idx="3279">
                  <c:v>18</c:v>
                </c:pt>
                <c:pt idx="3280">
                  <c:v>19</c:v>
                </c:pt>
                <c:pt idx="3281">
                  <c:v>100</c:v>
                </c:pt>
                <c:pt idx="3282">
                  <c:v>4</c:v>
                </c:pt>
                <c:pt idx="3283">
                  <c:v>10</c:v>
                </c:pt>
                <c:pt idx="3284">
                  <c:v>5</c:v>
                </c:pt>
                <c:pt idx="3285">
                  <c:v>6</c:v>
                </c:pt>
                <c:pt idx="3286">
                  <c:v>91</c:v>
                </c:pt>
                <c:pt idx="3287">
                  <c:v>2</c:v>
                </c:pt>
                <c:pt idx="3288">
                  <c:v>6</c:v>
                </c:pt>
                <c:pt idx="3289">
                  <c:v>4</c:v>
                </c:pt>
                <c:pt idx="3290">
                  <c:v>0</c:v>
                </c:pt>
                <c:pt idx="3291">
                  <c:v>1</c:v>
                </c:pt>
                <c:pt idx="3292">
                  <c:v>1</c:v>
                </c:pt>
                <c:pt idx="3293">
                  <c:v>86</c:v>
                </c:pt>
                <c:pt idx="3294">
                  <c:v>8</c:v>
                </c:pt>
                <c:pt idx="3295">
                  <c:v>51</c:v>
                </c:pt>
                <c:pt idx="3296">
                  <c:v>7</c:v>
                </c:pt>
                <c:pt idx="3297">
                  <c:v>17</c:v>
                </c:pt>
                <c:pt idx="3298">
                  <c:v>4</c:v>
                </c:pt>
                <c:pt idx="3299">
                  <c:v>0</c:v>
                </c:pt>
                <c:pt idx="3300">
                  <c:v>10</c:v>
                </c:pt>
                <c:pt idx="3301">
                  <c:v>3</c:v>
                </c:pt>
                <c:pt idx="3302">
                  <c:v>6</c:v>
                </c:pt>
                <c:pt idx="3303">
                  <c:v>4</c:v>
                </c:pt>
                <c:pt idx="3304">
                  <c:v>2</c:v>
                </c:pt>
                <c:pt idx="3305">
                  <c:v>4</c:v>
                </c:pt>
                <c:pt idx="3306">
                  <c:v>1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3</c:v>
                </c:pt>
                <c:pt idx="3311">
                  <c:v>1</c:v>
                </c:pt>
                <c:pt idx="3312">
                  <c:v>1</c:v>
                </c:pt>
                <c:pt idx="3313">
                  <c:v>2</c:v>
                </c:pt>
                <c:pt idx="3314">
                  <c:v>4</c:v>
                </c:pt>
                <c:pt idx="3315">
                  <c:v>0</c:v>
                </c:pt>
                <c:pt idx="3316">
                  <c:v>1</c:v>
                </c:pt>
                <c:pt idx="3317">
                  <c:v>1</c:v>
                </c:pt>
                <c:pt idx="3318">
                  <c:v>4</c:v>
                </c:pt>
                <c:pt idx="3319">
                  <c:v>1</c:v>
                </c:pt>
                <c:pt idx="3320">
                  <c:v>2</c:v>
                </c:pt>
                <c:pt idx="3321">
                  <c:v>2</c:v>
                </c:pt>
                <c:pt idx="3322">
                  <c:v>3</c:v>
                </c:pt>
                <c:pt idx="3323">
                  <c:v>0</c:v>
                </c:pt>
                <c:pt idx="3324">
                  <c:v>1</c:v>
                </c:pt>
                <c:pt idx="3325">
                  <c:v>2</c:v>
                </c:pt>
                <c:pt idx="3326">
                  <c:v>14</c:v>
                </c:pt>
                <c:pt idx="3327">
                  <c:v>6</c:v>
                </c:pt>
                <c:pt idx="3328">
                  <c:v>17</c:v>
                </c:pt>
                <c:pt idx="3329">
                  <c:v>34</c:v>
                </c:pt>
                <c:pt idx="3330">
                  <c:v>5</c:v>
                </c:pt>
                <c:pt idx="3331">
                  <c:v>5</c:v>
                </c:pt>
                <c:pt idx="3332">
                  <c:v>5</c:v>
                </c:pt>
                <c:pt idx="3333">
                  <c:v>9</c:v>
                </c:pt>
                <c:pt idx="3334">
                  <c:v>1</c:v>
                </c:pt>
                <c:pt idx="3335">
                  <c:v>3</c:v>
                </c:pt>
                <c:pt idx="3336">
                  <c:v>0</c:v>
                </c:pt>
                <c:pt idx="3337">
                  <c:v>4</c:v>
                </c:pt>
                <c:pt idx="3338">
                  <c:v>1</c:v>
                </c:pt>
                <c:pt idx="3339">
                  <c:v>0</c:v>
                </c:pt>
                <c:pt idx="3340">
                  <c:v>29</c:v>
                </c:pt>
                <c:pt idx="3341">
                  <c:v>2</c:v>
                </c:pt>
                <c:pt idx="3342">
                  <c:v>4</c:v>
                </c:pt>
                <c:pt idx="3343">
                  <c:v>1</c:v>
                </c:pt>
                <c:pt idx="3344">
                  <c:v>0</c:v>
                </c:pt>
                <c:pt idx="3345">
                  <c:v>1</c:v>
                </c:pt>
                <c:pt idx="3346">
                  <c:v>2</c:v>
                </c:pt>
                <c:pt idx="3347">
                  <c:v>2</c:v>
                </c:pt>
                <c:pt idx="3348">
                  <c:v>2</c:v>
                </c:pt>
                <c:pt idx="3349">
                  <c:v>2</c:v>
                </c:pt>
                <c:pt idx="3350">
                  <c:v>2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6</c:v>
                </c:pt>
                <c:pt idx="3356">
                  <c:v>4</c:v>
                </c:pt>
                <c:pt idx="3357">
                  <c:v>3</c:v>
                </c:pt>
                <c:pt idx="3358">
                  <c:v>1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1</c:v>
                </c:pt>
                <c:pt idx="3363">
                  <c:v>1</c:v>
                </c:pt>
                <c:pt idx="3364">
                  <c:v>0</c:v>
                </c:pt>
                <c:pt idx="3365">
                  <c:v>9</c:v>
                </c:pt>
                <c:pt idx="3366">
                  <c:v>1</c:v>
                </c:pt>
                <c:pt idx="3367">
                  <c:v>0</c:v>
                </c:pt>
                <c:pt idx="3368">
                  <c:v>4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4</c:v>
                </c:pt>
                <c:pt idx="3373">
                  <c:v>2</c:v>
                </c:pt>
                <c:pt idx="3374">
                  <c:v>1</c:v>
                </c:pt>
                <c:pt idx="3375">
                  <c:v>1</c:v>
                </c:pt>
                <c:pt idx="3376">
                  <c:v>21</c:v>
                </c:pt>
                <c:pt idx="3377">
                  <c:v>12</c:v>
                </c:pt>
                <c:pt idx="3378">
                  <c:v>7</c:v>
                </c:pt>
                <c:pt idx="3379">
                  <c:v>0</c:v>
                </c:pt>
                <c:pt idx="3380">
                  <c:v>2</c:v>
                </c:pt>
                <c:pt idx="3381">
                  <c:v>0</c:v>
                </c:pt>
                <c:pt idx="3382">
                  <c:v>2</c:v>
                </c:pt>
                <c:pt idx="3383">
                  <c:v>0</c:v>
                </c:pt>
                <c:pt idx="3384">
                  <c:v>3</c:v>
                </c:pt>
                <c:pt idx="3385">
                  <c:v>1</c:v>
                </c:pt>
                <c:pt idx="3386">
                  <c:v>1</c:v>
                </c:pt>
                <c:pt idx="3387">
                  <c:v>0</c:v>
                </c:pt>
                <c:pt idx="3388">
                  <c:v>1</c:v>
                </c:pt>
                <c:pt idx="3389">
                  <c:v>5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1</c:v>
                </c:pt>
                <c:pt idx="3397">
                  <c:v>0</c:v>
                </c:pt>
                <c:pt idx="3398">
                  <c:v>1</c:v>
                </c:pt>
                <c:pt idx="3399">
                  <c:v>2</c:v>
                </c:pt>
                <c:pt idx="3400">
                  <c:v>6</c:v>
                </c:pt>
                <c:pt idx="3401">
                  <c:v>4</c:v>
                </c:pt>
                <c:pt idx="3402">
                  <c:v>1</c:v>
                </c:pt>
                <c:pt idx="3403">
                  <c:v>3</c:v>
                </c:pt>
                <c:pt idx="3404">
                  <c:v>12</c:v>
                </c:pt>
                <c:pt idx="3405">
                  <c:v>6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1</c:v>
                </c:pt>
                <c:pt idx="3411">
                  <c:v>3</c:v>
                </c:pt>
                <c:pt idx="3412">
                  <c:v>4</c:v>
                </c:pt>
                <c:pt idx="3413">
                  <c:v>0</c:v>
                </c:pt>
                <c:pt idx="3414">
                  <c:v>2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4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1</c:v>
                </c:pt>
                <c:pt idx="3427">
                  <c:v>0</c:v>
                </c:pt>
                <c:pt idx="3428">
                  <c:v>0</c:v>
                </c:pt>
                <c:pt idx="3429">
                  <c:v>1</c:v>
                </c:pt>
                <c:pt idx="3430">
                  <c:v>5</c:v>
                </c:pt>
                <c:pt idx="3431">
                  <c:v>0</c:v>
                </c:pt>
                <c:pt idx="3432">
                  <c:v>6</c:v>
                </c:pt>
                <c:pt idx="3433">
                  <c:v>0</c:v>
                </c:pt>
                <c:pt idx="3434">
                  <c:v>15</c:v>
                </c:pt>
                <c:pt idx="3435">
                  <c:v>0</c:v>
                </c:pt>
                <c:pt idx="3436">
                  <c:v>0</c:v>
                </c:pt>
                <c:pt idx="3437">
                  <c:v>5</c:v>
                </c:pt>
                <c:pt idx="3438">
                  <c:v>0</c:v>
                </c:pt>
                <c:pt idx="3439">
                  <c:v>0</c:v>
                </c:pt>
                <c:pt idx="3440">
                  <c:v>3</c:v>
                </c:pt>
                <c:pt idx="3441">
                  <c:v>1</c:v>
                </c:pt>
                <c:pt idx="3442">
                  <c:v>0</c:v>
                </c:pt>
                <c:pt idx="3443">
                  <c:v>0</c:v>
                </c:pt>
                <c:pt idx="3444">
                  <c:v>1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1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1</c:v>
                </c:pt>
                <c:pt idx="3460">
                  <c:v>0</c:v>
                </c:pt>
                <c:pt idx="3461">
                  <c:v>7</c:v>
                </c:pt>
                <c:pt idx="3462">
                  <c:v>3</c:v>
                </c:pt>
                <c:pt idx="3463">
                  <c:v>1</c:v>
                </c:pt>
                <c:pt idx="3464">
                  <c:v>0</c:v>
                </c:pt>
                <c:pt idx="3465">
                  <c:v>0</c:v>
                </c:pt>
                <c:pt idx="3466">
                  <c:v>1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1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11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3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279</c:v>
                </c:pt>
                <c:pt idx="3753">
                  <c:v>19</c:v>
                </c:pt>
                <c:pt idx="3754">
                  <c:v>624</c:v>
                </c:pt>
                <c:pt idx="3755">
                  <c:v>144</c:v>
                </c:pt>
                <c:pt idx="3756">
                  <c:v>53</c:v>
                </c:pt>
                <c:pt idx="3757">
                  <c:v>46</c:v>
                </c:pt>
                <c:pt idx="3758">
                  <c:v>44</c:v>
                </c:pt>
                <c:pt idx="3759">
                  <c:v>236</c:v>
                </c:pt>
                <c:pt idx="3760">
                  <c:v>514</c:v>
                </c:pt>
                <c:pt idx="3761">
                  <c:v>11</c:v>
                </c:pt>
                <c:pt idx="3762">
                  <c:v>45</c:v>
                </c:pt>
                <c:pt idx="3763">
                  <c:v>32</c:v>
                </c:pt>
                <c:pt idx="3764">
                  <c:v>300</c:v>
                </c:pt>
                <c:pt idx="3765">
                  <c:v>63</c:v>
                </c:pt>
                <c:pt idx="3766">
                  <c:v>447</c:v>
                </c:pt>
                <c:pt idx="3767">
                  <c:v>125</c:v>
                </c:pt>
                <c:pt idx="3768">
                  <c:v>90</c:v>
                </c:pt>
                <c:pt idx="3769">
                  <c:v>9</c:v>
                </c:pt>
                <c:pt idx="3770">
                  <c:v>179</c:v>
                </c:pt>
                <c:pt idx="3771">
                  <c:v>22</c:v>
                </c:pt>
                <c:pt idx="3772">
                  <c:v>90</c:v>
                </c:pt>
                <c:pt idx="3773">
                  <c:v>41</c:v>
                </c:pt>
                <c:pt idx="3774">
                  <c:v>267</c:v>
                </c:pt>
                <c:pt idx="3775">
                  <c:v>24</c:v>
                </c:pt>
                <c:pt idx="3776">
                  <c:v>21</c:v>
                </c:pt>
                <c:pt idx="3777">
                  <c:v>15</c:v>
                </c:pt>
                <c:pt idx="3778">
                  <c:v>43</c:v>
                </c:pt>
                <c:pt idx="3779">
                  <c:v>33</c:v>
                </c:pt>
                <c:pt idx="3780">
                  <c:v>191</c:v>
                </c:pt>
                <c:pt idx="3781">
                  <c:v>122</c:v>
                </c:pt>
                <c:pt idx="3782">
                  <c:v>43</c:v>
                </c:pt>
                <c:pt idx="3783">
                  <c:v>9</c:v>
                </c:pt>
                <c:pt idx="3784">
                  <c:v>121</c:v>
                </c:pt>
                <c:pt idx="3785">
                  <c:v>6</c:v>
                </c:pt>
                <c:pt idx="3786">
                  <c:v>180</c:v>
                </c:pt>
                <c:pt idx="3787">
                  <c:v>9</c:v>
                </c:pt>
                <c:pt idx="3788">
                  <c:v>19</c:v>
                </c:pt>
                <c:pt idx="3789">
                  <c:v>20</c:v>
                </c:pt>
                <c:pt idx="3790">
                  <c:v>4</c:v>
                </c:pt>
                <c:pt idx="3791">
                  <c:v>65</c:v>
                </c:pt>
                <c:pt idx="3792">
                  <c:v>45</c:v>
                </c:pt>
                <c:pt idx="3793">
                  <c:v>77</c:v>
                </c:pt>
                <c:pt idx="3794">
                  <c:v>31</c:v>
                </c:pt>
                <c:pt idx="3795">
                  <c:v>161</c:v>
                </c:pt>
                <c:pt idx="3796">
                  <c:v>58</c:v>
                </c:pt>
                <c:pt idx="3797">
                  <c:v>44</c:v>
                </c:pt>
                <c:pt idx="3798">
                  <c:v>3</c:v>
                </c:pt>
                <c:pt idx="3799">
                  <c:v>20</c:v>
                </c:pt>
                <c:pt idx="3800">
                  <c:v>57</c:v>
                </c:pt>
                <c:pt idx="3801">
                  <c:v>162</c:v>
                </c:pt>
                <c:pt idx="3802">
                  <c:v>31</c:v>
                </c:pt>
                <c:pt idx="3803">
                  <c:v>86</c:v>
                </c:pt>
                <c:pt idx="3804">
                  <c:v>13</c:v>
                </c:pt>
                <c:pt idx="3805">
                  <c:v>9</c:v>
                </c:pt>
                <c:pt idx="3806">
                  <c:v>6</c:v>
                </c:pt>
                <c:pt idx="3807">
                  <c:v>9</c:v>
                </c:pt>
                <c:pt idx="3808">
                  <c:v>66</c:v>
                </c:pt>
                <c:pt idx="3809">
                  <c:v>3</c:v>
                </c:pt>
                <c:pt idx="3810">
                  <c:v>12</c:v>
                </c:pt>
                <c:pt idx="3811">
                  <c:v>63</c:v>
                </c:pt>
                <c:pt idx="3812">
                  <c:v>52</c:v>
                </c:pt>
                <c:pt idx="3813">
                  <c:v>111</c:v>
                </c:pt>
                <c:pt idx="3814">
                  <c:v>36</c:v>
                </c:pt>
                <c:pt idx="3815">
                  <c:v>112</c:v>
                </c:pt>
                <c:pt idx="3816">
                  <c:v>7</c:v>
                </c:pt>
                <c:pt idx="3817">
                  <c:v>4</c:v>
                </c:pt>
                <c:pt idx="3818">
                  <c:v>66</c:v>
                </c:pt>
                <c:pt idx="3819">
                  <c:v>2</c:v>
                </c:pt>
                <c:pt idx="3820">
                  <c:v>3</c:v>
                </c:pt>
                <c:pt idx="3821">
                  <c:v>75</c:v>
                </c:pt>
                <c:pt idx="3822">
                  <c:v>17</c:v>
                </c:pt>
                <c:pt idx="3823">
                  <c:v>47</c:v>
                </c:pt>
                <c:pt idx="3824">
                  <c:v>9</c:v>
                </c:pt>
                <c:pt idx="3825">
                  <c:v>44</c:v>
                </c:pt>
                <c:pt idx="3826">
                  <c:v>84</c:v>
                </c:pt>
                <c:pt idx="3827">
                  <c:v>9</c:v>
                </c:pt>
                <c:pt idx="3828">
                  <c:v>18</c:v>
                </c:pt>
                <c:pt idx="3829">
                  <c:v>8</c:v>
                </c:pt>
                <c:pt idx="3830">
                  <c:v>67</c:v>
                </c:pt>
                <c:pt idx="3831">
                  <c:v>24</c:v>
                </c:pt>
                <c:pt idx="3832">
                  <c:v>51</c:v>
                </c:pt>
                <c:pt idx="3833">
                  <c:v>5</c:v>
                </c:pt>
                <c:pt idx="3834">
                  <c:v>22</c:v>
                </c:pt>
                <c:pt idx="3835">
                  <c:v>96</c:v>
                </c:pt>
                <c:pt idx="3836">
                  <c:v>117</c:v>
                </c:pt>
                <c:pt idx="3837">
                  <c:v>2</c:v>
                </c:pt>
                <c:pt idx="3838">
                  <c:v>3</c:v>
                </c:pt>
                <c:pt idx="3839">
                  <c:v>3</c:v>
                </c:pt>
                <c:pt idx="3840">
                  <c:v>48</c:v>
                </c:pt>
                <c:pt idx="3841">
                  <c:v>26</c:v>
                </c:pt>
                <c:pt idx="3842">
                  <c:v>75</c:v>
                </c:pt>
                <c:pt idx="3843">
                  <c:v>3</c:v>
                </c:pt>
                <c:pt idx="3844">
                  <c:v>63</c:v>
                </c:pt>
                <c:pt idx="3845">
                  <c:v>27</c:v>
                </c:pt>
                <c:pt idx="3846">
                  <c:v>13</c:v>
                </c:pt>
                <c:pt idx="3847">
                  <c:v>34</c:v>
                </c:pt>
                <c:pt idx="3848">
                  <c:v>26</c:v>
                </c:pt>
                <c:pt idx="3849">
                  <c:v>22</c:v>
                </c:pt>
                <c:pt idx="3850">
                  <c:v>17</c:v>
                </c:pt>
                <c:pt idx="3851">
                  <c:v>19</c:v>
                </c:pt>
                <c:pt idx="3852">
                  <c:v>43</c:v>
                </c:pt>
                <c:pt idx="3853">
                  <c:v>67</c:v>
                </c:pt>
                <c:pt idx="3854">
                  <c:v>96</c:v>
                </c:pt>
                <c:pt idx="3855">
                  <c:v>18</c:v>
                </c:pt>
                <c:pt idx="3856">
                  <c:v>6</c:v>
                </c:pt>
                <c:pt idx="3857">
                  <c:v>0</c:v>
                </c:pt>
                <c:pt idx="3858">
                  <c:v>101</c:v>
                </c:pt>
                <c:pt idx="3859">
                  <c:v>6</c:v>
                </c:pt>
                <c:pt idx="3860">
                  <c:v>91</c:v>
                </c:pt>
                <c:pt idx="3861">
                  <c:v>79</c:v>
                </c:pt>
                <c:pt idx="3862">
                  <c:v>26</c:v>
                </c:pt>
                <c:pt idx="3863">
                  <c:v>7</c:v>
                </c:pt>
                <c:pt idx="3864">
                  <c:v>3</c:v>
                </c:pt>
                <c:pt idx="3865">
                  <c:v>20</c:v>
                </c:pt>
                <c:pt idx="3866">
                  <c:v>8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53</c:v>
                </c:pt>
                <c:pt idx="3871">
                  <c:v>91</c:v>
                </c:pt>
                <c:pt idx="3872">
                  <c:v>34</c:v>
                </c:pt>
                <c:pt idx="3873">
                  <c:v>9</c:v>
                </c:pt>
                <c:pt idx="3874">
                  <c:v>8</c:v>
                </c:pt>
                <c:pt idx="3875">
                  <c:v>0</c:v>
                </c:pt>
                <c:pt idx="3876">
                  <c:v>250</c:v>
                </c:pt>
                <c:pt idx="3877">
                  <c:v>3</c:v>
                </c:pt>
                <c:pt idx="3878">
                  <c:v>42</c:v>
                </c:pt>
                <c:pt idx="3879">
                  <c:v>55</c:v>
                </c:pt>
                <c:pt idx="3880">
                  <c:v>47</c:v>
                </c:pt>
                <c:pt idx="3881">
                  <c:v>33</c:v>
                </c:pt>
                <c:pt idx="3882">
                  <c:v>15</c:v>
                </c:pt>
                <c:pt idx="3883">
                  <c:v>14</c:v>
                </c:pt>
                <c:pt idx="3884">
                  <c:v>17</c:v>
                </c:pt>
                <c:pt idx="3885">
                  <c:v>4</c:v>
                </c:pt>
                <c:pt idx="3886">
                  <c:v>6</c:v>
                </c:pt>
                <c:pt idx="3887">
                  <c:v>2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29</c:v>
                </c:pt>
                <c:pt idx="3892">
                  <c:v>19</c:v>
                </c:pt>
                <c:pt idx="3893">
                  <c:v>82</c:v>
                </c:pt>
                <c:pt idx="3894">
                  <c:v>50</c:v>
                </c:pt>
                <c:pt idx="3895">
                  <c:v>43</c:v>
                </c:pt>
                <c:pt idx="3896">
                  <c:v>27</c:v>
                </c:pt>
                <c:pt idx="3897">
                  <c:v>24</c:v>
                </c:pt>
                <c:pt idx="3898">
                  <c:v>39</c:v>
                </c:pt>
                <c:pt idx="3899">
                  <c:v>25</c:v>
                </c:pt>
                <c:pt idx="3900">
                  <c:v>0</c:v>
                </c:pt>
                <c:pt idx="3901">
                  <c:v>5</c:v>
                </c:pt>
                <c:pt idx="3902">
                  <c:v>3</c:v>
                </c:pt>
                <c:pt idx="3903">
                  <c:v>3</c:v>
                </c:pt>
                <c:pt idx="3904">
                  <c:v>0</c:v>
                </c:pt>
                <c:pt idx="3905">
                  <c:v>3</c:v>
                </c:pt>
                <c:pt idx="3906">
                  <c:v>0</c:v>
                </c:pt>
                <c:pt idx="3907">
                  <c:v>1</c:v>
                </c:pt>
                <c:pt idx="3908">
                  <c:v>5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2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36</c:v>
                </c:pt>
                <c:pt idx="3918">
                  <c:v>13</c:v>
                </c:pt>
                <c:pt idx="3919">
                  <c:v>19</c:v>
                </c:pt>
                <c:pt idx="3920">
                  <c:v>17</c:v>
                </c:pt>
                <c:pt idx="3921">
                  <c:v>6</c:v>
                </c:pt>
                <c:pt idx="3922">
                  <c:v>5</c:v>
                </c:pt>
                <c:pt idx="3923">
                  <c:v>1</c:v>
                </c:pt>
                <c:pt idx="3924">
                  <c:v>56</c:v>
                </c:pt>
                <c:pt idx="3925">
                  <c:v>72</c:v>
                </c:pt>
                <c:pt idx="3926">
                  <c:v>11</c:v>
                </c:pt>
                <c:pt idx="3927">
                  <c:v>37</c:v>
                </c:pt>
                <c:pt idx="3928">
                  <c:v>17</c:v>
                </c:pt>
                <c:pt idx="3929">
                  <c:v>6</c:v>
                </c:pt>
                <c:pt idx="3930">
                  <c:v>28</c:v>
                </c:pt>
                <c:pt idx="3931">
                  <c:v>24</c:v>
                </c:pt>
                <c:pt idx="3932">
                  <c:v>14</c:v>
                </c:pt>
                <c:pt idx="3933">
                  <c:v>5</c:v>
                </c:pt>
                <c:pt idx="3934">
                  <c:v>11</c:v>
                </c:pt>
                <c:pt idx="3935">
                  <c:v>9</c:v>
                </c:pt>
                <c:pt idx="3936">
                  <c:v>0</c:v>
                </c:pt>
                <c:pt idx="3937">
                  <c:v>5</c:v>
                </c:pt>
                <c:pt idx="3938">
                  <c:v>2</c:v>
                </c:pt>
                <c:pt idx="3939">
                  <c:v>6</c:v>
                </c:pt>
                <c:pt idx="3940">
                  <c:v>0</c:v>
                </c:pt>
                <c:pt idx="3941">
                  <c:v>0</c:v>
                </c:pt>
                <c:pt idx="3942">
                  <c:v>3</c:v>
                </c:pt>
                <c:pt idx="3943">
                  <c:v>0</c:v>
                </c:pt>
                <c:pt idx="3944">
                  <c:v>3</c:v>
                </c:pt>
                <c:pt idx="3945">
                  <c:v>4</c:v>
                </c:pt>
                <c:pt idx="3946">
                  <c:v>2</c:v>
                </c:pt>
                <c:pt idx="3947">
                  <c:v>18</c:v>
                </c:pt>
                <c:pt idx="3948">
                  <c:v>2</c:v>
                </c:pt>
                <c:pt idx="3949">
                  <c:v>23</c:v>
                </c:pt>
                <c:pt idx="3950">
                  <c:v>0</c:v>
                </c:pt>
                <c:pt idx="3951">
                  <c:v>28</c:v>
                </c:pt>
                <c:pt idx="3952">
                  <c:v>0</c:v>
                </c:pt>
                <c:pt idx="3953">
                  <c:v>0</c:v>
                </c:pt>
                <c:pt idx="3954">
                  <c:v>5</c:v>
                </c:pt>
                <c:pt idx="3955">
                  <c:v>5</c:v>
                </c:pt>
                <c:pt idx="3956">
                  <c:v>0</c:v>
                </c:pt>
                <c:pt idx="3957">
                  <c:v>0</c:v>
                </c:pt>
                <c:pt idx="3958">
                  <c:v>0</c:v>
                </c:pt>
                <c:pt idx="3959">
                  <c:v>0</c:v>
                </c:pt>
                <c:pt idx="3960">
                  <c:v>0</c:v>
                </c:pt>
                <c:pt idx="3961">
                  <c:v>4</c:v>
                </c:pt>
                <c:pt idx="3962">
                  <c:v>0</c:v>
                </c:pt>
                <c:pt idx="3963">
                  <c:v>0</c:v>
                </c:pt>
                <c:pt idx="3964">
                  <c:v>5</c:v>
                </c:pt>
                <c:pt idx="3965">
                  <c:v>4</c:v>
                </c:pt>
                <c:pt idx="3966">
                  <c:v>2</c:v>
                </c:pt>
                <c:pt idx="3967">
                  <c:v>3</c:v>
                </c:pt>
                <c:pt idx="3968">
                  <c:v>3</c:v>
                </c:pt>
                <c:pt idx="3969">
                  <c:v>2</c:v>
                </c:pt>
                <c:pt idx="3970">
                  <c:v>4</c:v>
                </c:pt>
                <c:pt idx="3971">
                  <c:v>2</c:v>
                </c:pt>
                <c:pt idx="3972">
                  <c:v>0</c:v>
                </c:pt>
                <c:pt idx="3973">
                  <c:v>0</c:v>
                </c:pt>
                <c:pt idx="3974">
                  <c:v>0</c:v>
                </c:pt>
                <c:pt idx="3975">
                  <c:v>0</c:v>
                </c:pt>
                <c:pt idx="3976">
                  <c:v>2</c:v>
                </c:pt>
                <c:pt idx="3977">
                  <c:v>0</c:v>
                </c:pt>
                <c:pt idx="3978">
                  <c:v>0</c:v>
                </c:pt>
                <c:pt idx="3979">
                  <c:v>0</c:v>
                </c:pt>
                <c:pt idx="3980">
                  <c:v>1</c:v>
                </c:pt>
                <c:pt idx="3981">
                  <c:v>0</c:v>
                </c:pt>
                <c:pt idx="3982">
                  <c:v>0</c:v>
                </c:pt>
                <c:pt idx="3983">
                  <c:v>0</c:v>
                </c:pt>
                <c:pt idx="3984">
                  <c:v>0</c:v>
                </c:pt>
                <c:pt idx="3985">
                  <c:v>2</c:v>
                </c:pt>
                <c:pt idx="3986">
                  <c:v>2</c:v>
                </c:pt>
                <c:pt idx="3987">
                  <c:v>2</c:v>
                </c:pt>
                <c:pt idx="3988">
                  <c:v>2</c:v>
                </c:pt>
                <c:pt idx="3989">
                  <c:v>0</c:v>
                </c:pt>
                <c:pt idx="3990">
                  <c:v>0</c:v>
                </c:pt>
                <c:pt idx="3991">
                  <c:v>37</c:v>
                </c:pt>
                <c:pt idx="3992">
                  <c:v>12</c:v>
                </c:pt>
                <c:pt idx="3993">
                  <c:v>7</c:v>
                </c:pt>
                <c:pt idx="3994">
                  <c:v>6</c:v>
                </c:pt>
                <c:pt idx="3995">
                  <c:v>6</c:v>
                </c:pt>
                <c:pt idx="3996">
                  <c:v>1</c:v>
                </c:pt>
                <c:pt idx="3997">
                  <c:v>6</c:v>
                </c:pt>
                <c:pt idx="3998">
                  <c:v>7</c:v>
                </c:pt>
                <c:pt idx="3999">
                  <c:v>4</c:v>
                </c:pt>
                <c:pt idx="4000">
                  <c:v>5</c:v>
                </c:pt>
                <c:pt idx="4001">
                  <c:v>3</c:v>
                </c:pt>
                <c:pt idx="4002">
                  <c:v>0</c:v>
                </c:pt>
                <c:pt idx="4003">
                  <c:v>0</c:v>
                </c:pt>
                <c:pt idx="4004">
                  <c:v>0</c:v>
                </c:pt>
                <c:pt idx="4005">
                  <c:v>0</c:v>
                </c:pt>
                <c:pt idx="4006">
                  <c:v>5</c:v>
                </c:pt>
                <c:pt idx="4007">
                  <c:v>1</c:v>
                </c:pt>
                <c:pt idx="4008">
                  <c:v>2</c:v>
                </c:pt>
                <c:pt idx="4009">
                  <c:v>3</c:v>
                </c:pt>
                <c:pt idx="4010">
                  <c:v>2</c:v>
                </c:pt>
                <c:pt idx="4011">
                  <c:v>0</c:v>
                </c:pt>
                <c:pt idx="4012">
                  <c:v>5</c:v>
                </c:pt>
                <c:pt idx="4013">
                  <c:v>6</c:v>
                </c:pt>
                <c:pt idx="4014">
                  <c:v>15</c:v>
                </c:pt>
                <c:pt idx="4015">
                  <c:v>2</c:v>
                </c:pt>
                <c:pt idx="4016">
                  <c:v>0</c:v>
                </c:pt>
                <c:pt idx="4017">
                  <c:v>0</c:v>
                </c:pt>
                <c:pt idx="4018">
                  <c:v>0</c:v>
                </c:pt>
                <c:pt idx="4019">
                  <c:v>0</c:v>
                </c:pt>
                <c:pt idx="4020">
                  <c:v>0</c:v>
                </c:pt>
                <c:pt idx="4021">
                  <c:v>4</c:v>
                </c:pt>
                <c:pt idx="4022">
                  <c:v>8</c:v>
                </c:pt>
                <c:pt idx="4023">
                  <c:v>0</c:v>
                </c:pt>
                <c:pt idx="4024">
                  <c:v>0</c:v>
                </c:pt>
                <c:pt idx="4025">
                  <c:v>1</c:v>
                </c:pt>
                <c:pt idx="4026">
                  <c:v>9</c:v>
                </c:pt>
                <c:pt idx="4027">
                  <c:v>3</c:v>
                </c:pt>
                <c:pt idx="4028">
                  <c:v>5</c:v>
                </c:pt>
                <c:pt idx="4029">
                  <c:v>1</c:v>
                </c:pt>
                <c:pt idx="4030">
                  <c:v>84</c:v>
                </c:pt>
                <c:pt idx="4031">
                  <c:v>22</c:v>
                </c:pt>
                <c:pt idx="4032">
                  <c:v>48</c:v>
                </c:pt>
                <c:pt idx="4033">
                  <c:v>4</c:v>
                </c:pt>
                <c:pt idx="4034">
                  <c:v>3</c:v>
                </c:pt>
                <c:pt idx="4035">
                  <c:v>72</c:v>
                </c:pt>
                <c:pt idx="4036">
                  <c:v>6</c:v>
                </c:pt>
                <c:pt idx="4037">
                  <c:v>14</c:v>
                </c:pt>
                <c:pt idx="4038">
                  <c:v>0</c:v>
                </c:pt>
                <c:pt idx="4039">
                  <c:v>10</c:v>
                </c:pt>
                <c:pt idx="4040">
                  <c:v>19</c:v>
                </c:pt>
                <c:pt idx="4041">
                  <c:v>12</c:v>
                </c:pt>
                <c:pt idx="4042">
                  <c:v>10</c:v>
                </c:pt>
                <c:pt idx="4043">
                  <c:v>19</c:v>
                </c:pt>
                <c:pt idx="4044">
                  <c:v>40</c:v>
                </c:pt>
                <c:pt idx="4045">
                  <c:v>13</c:v>
                </c:pt>
                <c:pt idx="4046">
                  <c:v>2</c:v>
                </c:pt>
                <c:pt idx="4047">
                  <c:v>2</c:v>
                </c:pt>
                <c:pt idx="4048">
                  <c:v>8</c:v>
                </c:pt>
                <c:pt idx="4049">
                  <c:v>6</c:v>
                </c:pt>
                <c:pt idx="4050">
                  <c:v>54</c:v>
                </c:pt>
                <c:pt idx="4051">
                  <c:v>7</c:v>
                </c:pt>
                <c:pt idx="4052">
                  <c:v>0</c:v>
                </c:pt>
                <c:pt idx="4053">
                  <c:v>0</c:v>
                </c:pt>
                <c:pt idx="4054">
                  <c:v>17</c:v>
                </c:pt>
                <c:pt idx="4055">
                  <c:v>1</c:v>
                </c:pt>
                <c:pt idx="4056">
                  <c:v>6</c:v>
                </c:pt>
                <c:pt idx="4057">
                  <c:v>1</c:v>
                </c:pt>
                <c:pt idx="4058">
                  <c:v>35</c:v>
                </c:pt>
                <c:pt idx="4059">
                  <c:v>1</c:v>
                </c:pt>
                <c:pt idx="4060">
                  <c:v>0</c:v>
                </c:pt>
                <c:pt idx="4061">
                  <c:v>1</c:v>
                </c:pt>
                <c:pt idx="4062">
                  <c:v>5</c:v>
                </c:pt>
                <c:pt idx="4063">
                  <c:v>0</c:v>
                </c:pt>
                <c:pt idx="4064">
                  <c:v>0</c:v>
                </c:pt>
                <c:pt idx="4065">
                  <c:v>2</c:v>
                </c:pt>
                <c:pt idx="4066">
                  <c:v>0</c:v>
                </c:pt>
                <c:pt idx="4067">
                  <c:v>0</c:v>
                </c:pt>
                <c:pt idx="4068">
                  <c:v>3</c:v>
                </c:pt>
                <c:pt idx="4069">
                  <c:v>16</c:v>
                </c:pt>
                <c:pt idx="4070">
                  <c:v>6</c:v>
                </c:pt>
                <c:pt idx="4071">
                  <c:v>3</c:v>
                </c:pt>
                <c:pt idx="4072">
                  <c:v>6</c:v>
                </c:pt>
                <c:pt idx="4073">
                  <c:v>4</c:v>
                </c:pt>
                <c:pt idx="4074">
                  <c:v>0</c:v>
                </c:pt>
                <c:pt idx="4075">
                  <c:v>0</c:v>
                </c:pt>
                <c:pt idx="4076">
                  <c:v>0</c:v>
                </c:pt>
                <c:pt idx="4077">
                  <c:v>3</c:v>
                </c:pt>
                <c:pt idx="4078">
                  <c:v>32</c:v>
                </c:pt>
                <c:pt idx="4079">
                  <c:v>11</c:v>
                </c:pt>
                <c:pt idx="4080">
                  <c:v>0</c:v>
                </c:pt>
                <c:pt idx="4081">
                  <c:v>3</c:v>
                </c:pt>
                <c:pt idx="4082">
                  <c:v>0</c:v>
                </c:pt>
                <c:pt idx="4083">
                  <c:v>3</c:v>
                </c:pt>
                <c:pt idx="4084">
                  <c:v>0</c:v>
                </c:pt>
                <c:pt idx="4085">
                  <c:v>18</c:v>
                </c:pt>
                <c:pt idx="4086">
                  <c:v>0</c:v>
                </c:pt>
                <c:pt idx="4087">
                  <c:v>3</c:v>
                </c:pt>
                <c:pt idx="4088">
                  <c:v>3</c:v>
                </c:pt>
                <c:pt idx="4089">
                  <c:v>13</c:v>
                </c:pt>
                <c:pt idx="4090">
                  <c:v>1</c:v>
                </c:pt>
                <c:pt idx="4091">
                  <c:v>0</c:v>
                </c:pt>
                <c:pt idx="4092">
                  <c:v>3</c:v>
                </c:pt>
                <c:pt idx="4093">
                  <c:v>11</c:v>
                </c:pt>
                <c:pt idx="4094">
                  <c:v>0</c:v>
                </c:pt>
                <c:pt idx="4095">
                  <c:v>0</c:v>
                </c:pt>
                <c:pt idx="4096">
                  <c:v>20</c:v>
                </c:pt>
                <c:pt idx="4097">
                  <c:v>0</c:v>
                </c:pt>
                <c:pt idx="4098">
                  <c:v>3</c:v>
                </c:pt>
                <c:pt idx="4099">
                  <c:v>2</c:v>
                </c:pt>
                <c:pt idx="4100">
                  <c:v>0</c:v>
                </c:pt>
                <c:pt idx="4101">
                  <c:v>2</c:v>
                </c:pt>
                <c:pt idx="4102">
                  <c:v>0</c:v>
                </c:pt>
                <c:pt idx="4103">
                  <c:v>2</c:v>
                </c:pt>
                <c:pt idx="4104">
                  <c:v>3</c:v>
                </c:pt>
                <c:pt idx="4105">
                  <c:v>0</c:v>
                </c:pt>
                <c:pt idx="4106">
                  <c:v>2</c:v>
                </c:pt>
                <c:pt idx="4107">
                  <c:v>0</c:v>
                </c:pt>
                <c:pt idx="4108">
                  <c:v>2</c:v>
                </c:pt>
                <c:pt idx="4109">
                  <c:v>0</c:v>
                </c:pt>
                <c:pt idx="4110">
                  <c:v>16</c:v>
                </c:pt>
                <c:pt idx="4111">
                  <c:v>5</c:v>
                </c:pt>
                <c:pt idx="4112">
                  <c:v>0</c:v>
                </c:pt>
                <c:pt idx="4113">
                  <c:v>0</c:v>
                </c:pt>
                <c:pt idx="4114">
                  <c:v>1</c:v>
                </c:pt>
                <c:pt idx="4115">
                  <c:v>2</c:v>
                </c:pt>
                <c:pt idx="4116">
                  <c:v>0</c:v>
                </c:pt>
                <c:pt idx="4117">
                  <c:v>0</c:v>
                </c:pt>
                <c:pt idx="4118">
                  <c:v>33</c:v>
                </c:pt>
                <c:pt idx="4119">
                  <c:v>19</c:v>
                </c:pt>
                <c:pt idx="4120">
                  <c:v>2</c:v>
                </c:pt>
                <c:pt idx="4121">
                  <c:v>0</c:v>
                </c:pt>
                <c:pt idx="4122">
                  <c:v>1</c:v>
                </c:pt>
                <c:pt idx="4123">
                  <c:v>2</c:v>
                </c:pt>
                <c:pt idx="4124">
                  <c:v>5</c:v>
                </c:pt>
                <c:pt idx="4125">
                  <c:v>0</c:v>
                </c:pt>
                <c:pt idx="4126">
                  <c:v>1</c:v>
                </c:pt>
                <c:pt idx="4127">
                  <c:v>34</c:v>
                </c:pt>
                <c:pt idx="4128">
                  <c:v>23</c:v>
                </c:pt>
                <c:pt idx="4129">
                  <c:v>11</c:v>
                </c:pt>
                <c:pt idx="4130">
                  <c:v>3</c:v>
                </c:pt>
                <c:pt idx="4131">
                  <c:v>5</c:v>
                </c:pt>
                <c:pt idx="4132">
                  <c:v>25</c:v>
                </c:pt>
                <c:pt idx="4133">
                  <c:v>20</c:v>
                </c:pt>
                <c:pt idx="4134">
                  <c:v>18</c:v>
                </c:pt>
                <c:pt idx="4135">
                  <c:v>6</c:v>
                </c:pt>
                <c:pt idx="4136">
                  <c:v>37</c:v>
                </c:pt>
                <c:pt idx="4137">
                  <c:v>3</c:v>
                </c:pt>
                <c:pt idx="4138">
                  <c:v>26</c:v>
                </c:pt>
                <c:pt idx="4139">
                  <c:v>44</c:v>
                </c:pt>
                <c:pt idx="4140">
                  <c:v>24</c:v>
                </c:pt>
                <c:pt idx="4141">
                  <c:v>11</c:v>
                </c:pt>
                <c:pt idx="4142">
                  <c:v>18</c:v>
                </c:pt>
                <c:pt idx="4143">
                  <c:v>15</c:v>
                </c:pt>
                <c:pt idx="4144">
                  <c:v>19</c:v>
                </c:pt>
                <c:pt idx="4145">
                  <c:v>13</c:v>
                </c:pt>
                <c:pt idx="4146">
                  <c:v>50</c:v>
                </c:pt>
                <c:pt idx="4147">
                  <c:v>66</c:v>
                </c:pt>
                <c:pt idx="4148">
                  <c:v>25</c:v>
                </c:pt>
                <c:pt idx="4149">
                  <c:v>5</c:v>
                </c:pt>
                <c:pt idx="4150">
                  <c:v>21</c:v>
                </c:pt>
                <c:pt idx="4151">
                  <c:v>12</c:v>
                </c:pt>
                <c:pt idx="4152">
                  <c:v>8</c:v>
                </c:pt>
                <c:pt idx="4153">
                  <c:v>47</c:v>
                </c:pt>
                <c:pt idx="4154">
                  <c:v>15</c:v>
                </c:pt>
                <c:pt idx="4155">
                  <c:v>9</c:v>
                </c:pt>
                <c:pt idx="4156">
                  <c:v>30</c:v>
                </c:pt>
                <c:pt idx="4157">
                  <c:v>18</c:v>
                </c:pt>
                <c:pt idx="4158">
                  <c:v>43</c:v>
                </c:pt>
                <c:pt idx="4159">
                  <c:v>35</c:v>
                </c:pt>
                <c:pt idx="4160">
                  <c:v>31</c:v>
                </c:pt>
                <c:pt idx="4161">
                  <c:v>6</c:v>
                </c:pt>
                <c:pt idx="4162">
                  <c:v>2</c:v>
                </c:pt>
                <c:pt idx="4163">
                  <c:v>18</c:v>
                </c:pt>
                <c:pt idx="4164">
                  <c:v>19</c:v>
                </c:pt>
                <c:pt idx="4165">
                  <c:v>3</c:v>
                </c:pt>
                <c:pt idx="4166">
                  <c:v>4</c:v>
                </c:pt>
                <c:pt idx="4167">
                  <c:v>9</c:v>
                </c:pt>
                <c:pt idx="4168">
                  <c:v>8</c:v>
                </c:pt>
                <c:pt idx="4169">
                  <c:v>2</c:v>
                </c:pt>
                <c:pt idx="4170">
                  <c:v>19</c:v>
                </c:pt>
                <c:pt idx="4171">
                  <c:v>20</c:v>
                </c:pt>
                <c:pt idx="4172">
                  <c:v>12</c:v>
                </c:pt>
                <c:pt idx="4173">
                  <c:v>2</c:v>
                </c:pt>
                <c:pt idx="4174">
                  <c:v>8</c:v>
                </c:pt>
                <c:pt idx="4175">
                  <c:v>9</c:v>
                </c:pt>
                <c:pt idx="4176">
                  <c:v>5</c:v>
                </c:pt>
                <c:pt idx="4177">
                  <c:v>0</c:v>
                </c:pt>
                <c:pt idx="4178">
                  <c:v>10</c:v>
                </c:pt>
                <c:pt idx="4179">
                  <c:v>3</c:v>
                </c:pt>
                <c:pt idx="4180">
                  <c:v>4</c:v>
                </c:pt>
                <c:pt idx="4181">
                  <c:v>22</c:v>
                </c:pt>
                <c:pt idx="4182">
                  <c:v>22</c:v>
                </c:pt>
                <c:pt idx="4183">
                  <c:v>13</c:v>
                </c:pt>
                <c:pt idx="4184">
                  <c:v>11</c:v>
                </c:pt>
                <c:pt idx="4185">
                  <c:v>7</c:v>
                </c:pt>
                <c:pt idx="4186">
                  <c:v>1</c:v>
                </c:pt>
                <c:pt idx="4187">
                  <c:v>2</c:v>
                </c:pt>
                <c:pt idx="4188">
                  <c:v>5</c:v>
                </c:pt>
                <c:pt idx="4189">
                  <c:v>2</c:v>
                </c:pt>
                <c:pt idx="4190">
                  <c:v>14</c:v>
                </c:pt>
                <c:pt idx="4191">
                  <c:v>5</c:v>
                </c:pt>
                <c:pt idx="4192">
                  <c:v>3</c:v>
                </c:pt>
                <c:pt idx="4193">
                  <c:v>13</c:v>
                </c:pt>
                <c:pt idx="4194">
                  <c:v>3</c:v>
                </c:pt>
                <c:pt idx="4195">
                  <c:v>14</c:v>
                </c:pt>
                <c:pt idx="4196">
                  <c:v>13</c:v>
                </c:pt>
                <c:pt idx="4197">
                  <c:v>67</c:v>
                </c:pt>
                <c:pt idx="4198">
                  <c:v>10</c:v>
                </c:pt>
                <c:pt idx="4199">
                  <c:v>10</c:v>
                </c:pt>
                <c:pt idx="4200">
                  <c:v>40</c:v>
                </c:pt>
                <c:pt idx="4201">
                  <c:v>50</c:v>
                </c:pt>
                <c:pt idx="4202">
                  <c:v>1</c:v>
                </c:pt>
                <c:pt idx="4203">
                  <c:v>13</c:v>
                </c:pt>
                <c:pt idx="4204">
                  <c:v>7</c:v>
                </c:pt>
                <c:pt idx="4205">
                  <c:v>37</c:v>
                </c:pt>
                <c:pt idx="4206">
                  <c:v>22</c:v>
                </c:pt>
                <c:pt idx="4207">
                  <c:v>5</c:v>
                </c:pt>
                <c:pt idx="4208">
                  <c:v>8</c:v>
                </c:pt>
                <c:pt idx="4209">
                  <c:v>10</c:v>
                </c:pt>
                <c:pt idx="4210">
                  <c:v>11</c:v>
                </c:pt>
                <c:pt idx="4211">
                  <c:v>21</c:v>
                </c:pt>
                <c:pt idx="4212">
                  <c:v>34</c:v>
                </c:pt>
                <c:pt idx="4213">
                  <c:v>8</c:v>
                </c:pt>
                <c:pt idx="4214">
                  <c:v>4</c:v>
                </c:pt>
                <c:pt idx="4215">
                  <c:v>0</c:v>
                </c:pt>
                <c:pt idx="4216">
                  <c:v>0</c:v>
                </c:pt>
                <c:pt idx="4217">
                  <c:v>0</c:v>
                </c:pt>
                <c:pt idx="4218">
                  <c:v>0</c:v>
                </c:pt>
                <c:pt idx="4219">
                  <c:v>0</c:v>
                </c:pt>
                <c:pt idx="4220">
                  <c:v>0</c:v>
                </c:pt>
                <c:pt idx="4221">
                  <c:v>0</c:v>
                </c:pt>
                <c:pt idx="4222">
                  <c:v>1</c:v>
                </c:pt>
                <c:pt idx="4223">
                  <c:v>0</c:v>
                </c:pt>
                <c:pt idx="4224">
                  <c:v>0</c:v>
                </c:pt>
                <c:pt idx="4225">
                  <c:v>0</c:v>
                </c:pt>
                <c:pt idx="4226">
                  <c:v>72</c:v>
                </c:pt>
                <c:pt idx="4227">
                  <c:v>35</c:v>
                </c:pt>
                <c:pt idx="4228">
                  <c:v>16</c:v>
                </c:pt>
                <c:pt idx="4229">
                  <c:v>31</c:v>
                </c:pt>
                <c:pt idx="4230">
                  <c:v>31</c:v>
                </c:pt>
                <c:pt idx="4231">
                  <c:v>14</c:v>
                </c:pt>
                <c:pt idx="4232">
                  <c:v>31</c:v>
                </c:pt>
                <c:pt idx="4233">
                  <c:v>17</c:v>
                </c:pt>
                <c:pt idx="4234">
                  <c:v>30</c:v>
                </c:pt>
                <c:pt idx="4235">
                  <c:v>3</c:v>
                </c:pt>
                <c:pt idx="4236">
                  <c:v>27</c:v>
                </c:pt>
                <c:pt idx="4237">
                  <c:v>12</c:v>
                </c:pt>
                <c:pt idx="4238">
                  <c:v>25</c:v>
                </c:pt>
                <c:pt idx="4239">
                  <c:v>10</c:v>
                </c:pt>
                <c:pt idx="4240">
                  <c:v>2</c:v>
                </c:pt>
                <c:pt idx="4241">
                  <c:v>18</c:v>
                </c:pt>
                <c:pt idx="4242">
                  <c:v>0</c:v>
                </c:pt>
                <c:pt idx="4243">
                  <c:v>0</c:v>
                </c:pt>
                <c:pt idx="4244">
                  <c:v>0</c:v>
                </c:pt>
                <c:pt idx="4245">
                  <c:v>1</c:v>
                </c:pt>
                <c:pt idx="4246">
                  <c:v>0</c:v>
                </c:pt>
                <c:pt idx="4247">
                  <c:v>16</c:v>
                </c:pt>
                <c:pt idx="4248">
                  <c:v>0</c:v>
                </c:pt>
                <c:pt idx="4249">
                  <c:v>0</c:v>
                </c:pt>
                <c:pt idx="4250">
                  <c:v>0</c:v>
                </c:pt>
                <c:pt idx="4251">
                  <c:v>7</c:v>
                </c:pt>
                <c:pt idx="4252">
                  <c:v>0</c:v>
                </c:pt>
                <c:pt idx="4253">
                  <c:v>82</c:v>
                </c:pt>
                <c:pt idx="4254">
                  <c:v>12</c:v>
                </c:pt>
                <c:pt idx="4255">
                  <c:v>10</c:v>
                </c:pt>
                <c:pt idx="4256">
                  <c:v>121</c:v>
                </c:pt>
                <c:pt idx="4257">
                  <c:v>20</c:v>
                </c:pt>
                <c:pt idx="4258">
                  <c:v>14</c:v>
                </c:pt>
                <c:pt idx="4259">
                  <c:v>87</c:v>
                </c:pt>
                <c:pt idx="4260">
                  <c:v>0</c:v>
                </c:pt>
                <c:pt idx="4261">
                  <c:v>2</c:v>
                </c:pt>
                <c:pt idx="4262">
                  <c:v>4</c:v>
                </c:pt>
                <c:pt idx="4263">
                  <c:v>14</c:v>
                </c:pt>
                <c:pt idx="4264">
                  <c:v>10</c:v>
                </c:pt>
                <c:pt idx="4265">
                  <c:v>3</c:v>
                </c:pt>
                <c:pt idx="4266">
                  <c:v>6</c:v>
                </c:pt>
                <c:pt idx="4267">
                  <c:v>0</c:v>
                </c:pt>
                <c:pt idx="4268">
                  <c:v>2</c:v>
                </c:pt>
                <c:pt idx="4269">
                  <c:v>0</c:v>
                </c:pt>
                <c:pt idx="4270">
                  <c:v>1</c:v>
                </c:pt>
                <c:pt idx="4271">
                  <c:v>0</c:v>
                </c:pt>
                <c:pt idx="4272">
                  <c:v>33</c:v>
                </c:pt>
                <c:pt idx="4273">
                  <c:v>0</c:v>
                </c:pt>
                <c:pt idx="4274">
                  <c:v>0</c:v>
                </c:pt>
                <c:pt idx="4275">
                  <c:v>0</c:v>
                </c:pt>
                <c:pt idx="4276">
                  <c:v>25</c:v>
                </c:pt>
                <c:pt idx="4277">
                  <c:v>3</c:v>
                </c:pt>
                <c:pt idx="4278">
                  <c:v>5</c:v>
                </c:pt>
                <c:pt idx="4279">
                  <c:v>6</c:v>
                </c:pt>
                <c:pt idx="4280">
                  <c:v>3</c:v>
                </c:pt>
                <c:pt idx="4281">
                  <c:v>0</c:v>
                </c:pt>
                <c:pt idx="4282">
                  <c:v>0</c:v>
                </c:pt>
                <c:pt idx="4283">
                  <c:v>0</c:v>
                </c:pt>
                <c:pt idx="4284">
                  <c:v>0</c:v>
                </c:pt>
                <c:pt idx="4285">
                  <c:v>0</c:v>
                </c:pt>
                <c:pt idx="4286">
                  <c:v>0</c:v>
                </c:pt>
                <c:pt idx="4287">
                  <c:v>0</c:v>
                </c:pt>
                <c:pt idx="4288">
                  <c:v>0</c:v>
                </c:pt>
                <c:pt idx="4289">
                  <c:v>0</c:v>
                </c:pt>
                <c:pt idx="4290">
                  <c:v>0</c:v>
                </c:pt>
                <c:pt idx="4291">
                  <c:v>0</c:v>
                </c:pt>
                <c:pt idx="4292">
                  <c:v>0</c:v>
                </c:pt>
                <c:pt idx="4293">
                  <c:v>3</c:v>
                </c:pt>
                <c:pt idx="4294">
                  <c:v>10</c:v>
                </c:pt>
                <c:pt idx="4295">
                  <c:v>5</c:v>
                </c:pt>
                <c:pt idx="4296">
                  <c:v>1</c:v>
                </c:pt>
                <c:pt idx="4297">
                  <c:v>9</c:v>
                </c:pt>
                <c:pt idx="4298">
                  <c:v>0</c:v>
                </c:pt>
                <c:pt idx="4299">
                  <c:v>0</c:v>
                </c:pt>
                <c:pt idx="4300">
                  <c:v>0</c:v>
                </c:pt>
                <c:pt idx="4301">
                  <c:v>0</c:v>
                </c:pt>
                <c:pt idx="4302">
                  <c:v>3</c:v>
                </c:pt>
                <c:pt idx="4303">
                  <c:v>0</c:v>
                </c:pt>
                <c:pt idx="4304">
                  <c:v>0</c:v>
                </c:pt>
                <c:pt idx="4305">
                  <c:v>0</c:v>
                </c:pt>
                <c:pt idx="4306">
                  <c:v>0</c:v>
                </c:pt>
                <c:pt idx="4307">
                  <c:v>0</c:v>
                </c:pt>
                <c:pt idx="4308">
                  <c:v>0</c:v>
                </c:pt>
                <c:pt idx="4309">
                  <c:v>136</c:v>
                </c:pt>
                <c:pt idx="4310">
                  <c:v>60</c:v>
                </c:pt>
                <c:pt idx="4311">
                  <c:v>9</c:v>
                </c:pt>
                <c:pt idx="4312">
                  <c:v>7</c:v>
                </c:pt>
                <c:pt idx="4313">
                  <c:v>55</c:v>
                </c:pt>
                <c:pt idx="4314">
                  <c:v>3</c:v>
                </c:pt>
                <c:pt idx="4315">
                  <c:v>16</c:v>
                </c:pt>
                <c:pt idx="4316">
                  <c:v>0</c:v>
                </c:pt>
                <c:pt idx="4317">
                  <c:v>0</c:v>
                </c:pt>
                <c:pt idx="4318">
                  <c:v>0</c:v>
                </c:pt>
                <c:pt idx="4319">
                  <c:v>0</c:v>
                </c:pt>
                <c:pt idx="4320">
                  <c:v>7</c:v>
                </c:pt>
                <c:pt idx="4321">
                  <c:v>7</c:v>
                </c:pt>
                <c:pt idx="4322">
                  <c:v>2</c:v>
                </c:pt>
                <c:pt idx="4323">
                  <c:v>0</c:v>
                </c:pt>
                <c:pt idx="4324">
                  <c:v>0</c:v>
                </c:pt>
                <c:pt idx="4325">
                  <c:v>0</c:v>
                </c:pt>
                <c:pt idx="4326">
                  <c:v>0</c:v>
                </c:pt>
                <c:pt idx="4327">
                  <c:v>0</c:v>
                </c:pt>
                <c:pt idx="4328">
                  <c:v>0</c:v>
                </c:pt>
                <c:pt idx="4329">
                  <c:v>0</c:v>
                </c:pt>
                <c:pt idx="4330">
                  <c:v>0</c:v>
                </c:pt>
                <c:pt idx="4331">
                  <c:v>0</c:v>
                </c:pt>
                <c:pt idx="4332">
                  <c:v>0</c:v>
                </c:pt>
                <c:pt idx="4333">
                  <c:v>0</c:v>
                </c:pt>
                <c:pt idx="4334">
                  <c:v>16</c:v>
                </c:pt>
                <c:pt idx="4335">
                  <c:v>23</c:v>
                </c:pt>
                <c:pt idx="4336">
                  <c:v>3</c:v>
                </c:pt>
                <c:pt idx="4337">
                  <c:v>1</c:v>
                </c:pt>
                <c:pt idx="4338">
                  <c:v>4</c:v>
                </c:pt>
                <c:pt idx="4339">
                  <c:v>0</c:v>
                </c:pt>
                <c:pt idx="4340">
                  <c:v>0</c:v>
                </c:pt>
                <c:pt idx="4341">
                  <c:v>0</c:v>
                </c:pt>
                <c:pt idx="4342">
                  <c:v>0</c:v>
                </c:pt>
                <c:pt idx="4343">
                  <c:v>0</c:v>
                </c:pt>
                <c:pt idx="4344">
                  <c:v>1</c:v>
                </c:pt>
                <c:pt idx="4345">
                  <c:v>7</c:v>
                </c:pt>
                <c:pt idx="4346">
                  <c:v>1</c:v>
                </c:pt>
                <c:pt idx="4347">
                  <c:v>2</c:v>
                </c:pt>
                <c:pt idx="4348">
                  <c:v>0</c:v>
                </c:pt>
                <c:pt idx="4349">
                  <c:v>3</c:v>
                </c:pt>
                <c:pt idx="4350">
                  <c:v>0</c:v>
                </c:pt>
                <c:pt idx="4351">
                  <c:v>2</c:v>
                </c:pt>
                <c:pt idx="4352">
                  <c:v>11</c:v>
                </c:pt>
                <c:pt idx="4353">
                  <c:v>1</c:v>
                </c:pt>
                <c:pt idx="4354">
                  <c:v>8</c:v>
                </c:pt>
                <c:pt idx="4355">
                  <c:v>2</c:v>
                </c:pt>
                <c:pt idx="4356">
                  <c:v>0</c:v>
                </c:pt>
                <c:pt idx="4357">
                  <c:v>2</c:v>
                </c:pt>
                <c:pt idx="4358">
                  <c:v>3</c:v>
                </c:pt>
                <c:pt idx="4359">
                  <c:v>1</c:v>
                </c:pt>
                <c:pt idx="4360">
                  <c:v>0</c:v>
                </c:pt>
                <c:pt idx="4361">
                  <c:v>9</c:v>
                </c:pt>
                <c:pt idx="4362">
                  <c:v>0</c:v>
                </c:pt>
                <c:pt idx="4363">
                  <c:v>0</c:v>
                </c:pt>
                <c:pt idx="4364">
                  <c:v>6</c:v>
                </c:pt>
                <c:pt idx="4365">
                  <c:v>0</c:v>
                </c:pt>
                <c:pt idx="4366">
                  <c:v>0</c:v>
                </c:pt>
                <c:pt idx="4367">
                  <c:v>0</c:v>
                </c:pt>
                <c:pt idx="4368">
                  <c:v>0</c:v>
                </c:pt>
                <c:pt idx="4369">
                  <c:v>5</c:v>
                </c:pt>
                <c:pt idx="4370">
                  <c:v>2</c:v>
                </c:pt>
                <c:pt idx="4371">
                  <c:v>0</c:v>
                </c:pt>
                <c:pt idx="4372">
                  <c:v>0</c:v>
                </c:pt>
                <c:pt idx="4373">
                  <c:v>0</c:v>
                </c:pt>
                <c:pt idx="4374">
                  <c:v>0</c:v>
                </c:pt>
                <c:pt idx="4375">
                  <c:v>0</c:v>
                </c:pt>
                <c:pt idx="4376">
                  <c:v>0</c:v>
                </c:pt>
                <c:pt idx="4377">
                  <c:v>0</c:v>
                </c:pt>
                <c:pt idx="4378">
                  <c:v>3</c:v>
                </c:pt>
                <c:pt idx="4379">
                  <c:v>2</c:v>
                </c:pt>
                <c:pt idx="4380">
                  <c:v>8</c:v>
                </c:pt>
                <c:pt idx="4381">
                  <c:v>7</c:v>
                </c:pt>
                <c:pt idx="4382">
                  <c:v>174</c:v>
                </c:pt>
                <c:pt idx="4383">
                  <c:v>221</c:v>
                </c:pt>
                <c:pt idx="4384">
                  <c:v>48</c:v>
                </c:pt>
                <c:pt idx="4385">
                  <c:v>60</c:v>
                </c:pt>
                <c:pt idx="4386">
                  <c:v>35</c:v>
                </c:pt>
                <c:pt idx="4387">
                  <c:v>88</c:v>
                </c:pt>
                <c:pt idx="4388">
                  <c:v>16</c:v>
                </c:pt>
                <c:pt idx="4389">
                  <c:v>22</c:v>
                </c:pt>
                <c:pt idx="4390">
                  <c:v>81</c:v>
                </c:pt>
                <c:pt idx="4391">
                  <c:v>14</c:v>
                </c:pt>
                <c:pt idx="4392">
                  <c:v>7</c:v>
                </c:pt>
                <c:pt idx="4393">
                  <c:v>35</c:v>
                </c:pt>
                <c:pt idx="4394">
                  <c:v>42</c:v>
                </c:pt>
                <c:pt idx="4395">
                  <c:v>89</c:v>
                </c:pt>
                <c:pt idx="4396">
                  <c:v>11</c:v>
                </c:pt>
                <c:pt idx="4397">
                  <c:v>8</c:v>
                </c:pt>
                <c:pt idx="4398">
                  <c:v>48</c:v>
                </c:pt>
                <c:pt idx="4399">
                  <c:v>9</c:v>
                </c:pt>
                <c:pt idx="4400">
                  <c:v>206</c:v>
                </c:pt>
                <c:pt idx="4401">
                  <c:v>13</c:v>
                </c:pt>
                <c:pt idx="4402">
                  <c:v>2</c:v>
                </c:pt>
                <c:pt idx="4403">
                  <c:v>43</c:v>
                </c:pt>
                <c:pt idx="4404">
                  <c:v>280</c:v>
                </c:pt>
                <c:pt idx="4405">
                  <c:v>55</c:v>
                </c:pt>
                <c:pt idx="4406">
                  <c:v>37</c:v>
                </c:pt>
                <c:pt idx="4407">
                  <c:v>22</c:v>
                </c:pt>
                <c:pt idx="4408">
                  <c:v>18</c:v>
                </c:pt>
                <c:pt idx="4409">
                  <c:v>107</c:v>
                </c:pt>
                <c:pt idx="4410">
                  <c:v>63</c:v>
                </c:pt>
                <c:pt idx="4411">
                  <c:v>35</c:v>
                </c:pt>
                <c:pt idx="4412">
                  <c:v>58</c:v>
                </c:pt>
                <c:pt idx="4413">
                  <c:v>31</c:v>
                </c:pt>
                <c:pt idx="4414">
                  <c:v>164</c:v>
                </c:pt>
                <c:pt idx="4415">
                  <c:v>22</c:v>
                </c:pt>
                <c:pt idx="4416">
                  <c:v>36</c:v>
                </c:pt>
                <c:pt idx="4417">
                  <c:v>26</c:v>
                </c:pt>
                <c:pt idx="4418">
                  <c:v>6</c:v>
                </c:pt>
                <c:pt idx="4419">
                  <c:v>7</c:v>
                </c:pt>
                <c:pt idx="4420">
                  <c:v>41</c:v>
                </c:pt>
                <c:pt idx="4421">
                  <c:v>52</c:v>
                </c:pt>
                <c:pt idx="4422">
                  <c:v>136</c:v>
                </c:pt>
                <c:pt idx="4423">
                  <c:v>26</c:v>
                </c:pt>
                <c:pt idx="4424">
                  <c:v>19</c:v>
                </c:pt>
                <c:pt idx="4425">
                  <c:v>31</c:v>
                </c:pt>
                <c:pt idx="4426">
                  <c:v>34</c:v>
                </c:pt>
                <c:pt idx="4427">
                  <c:v>131</c:v>
                </c:pt>
                <c:pt idx="4428">
                  <c:v>11</c:v>
                </c:pt>
                <c:pt idx="4429">
                  <c:v>33</c:v>
                </c:pt>
                <c:pt idx="4430">
                  <c:v>6</c:v>
                </c:pt>
                <c:pt idx="4431">
                  <c:v>20</c:v>
                </c:pt>
                <c:pt idx="4432">
                  <c:v>13</c:v>
                </c:pt>
                <c:pt idx="4433">
                  <c:v>78</c:v>
                </c:pt>
                <c:pt idx="4434">
                  <c:v>4</c:v>
                </c:pt>
                <c:pt idx="4435">
                  <c:v>15</c:v>
                </c:pt>
                <c:pt idx="4436">
                  <c:v>141</c:v>
                </c:pt>
                <c:pt idx="4437">
                  <c:v>4</c:v>
                </c:pt>
                <c:pt idx="4438">
                  <c:v>10</c:v>
                </c:pt>
                <c:pt idx="4439">
                  <c:v>27</c:v>
                </c:pt>
                <c:pt idx="4440">
                  <c:v>42</c:v>
                </c:pt>
                <c:pt idx="4441">
                  <c:v>36</c:v>
                </c:pt>
                <c:pt idx="4442">
                  <c:v>22</c:v>
                </c:pt>
                <c:pt idx="4443">
                  <c:v>70</c:v>
                </c:pt>
                <c:pt idx="4444">
                  <c:v>65</c:v>
                </c:pt>
                <c:pt idx="4445">
                  <c:v>66</c:v>
                </c:pt>
                <c:pt idx="4446">
                  <c:v>6</c:v>
                </c:pt>
                <c:pt idx="4447">
                  <c:v>5</c:v>
                </c:pt>
                <c:pt idx="4448">
                  <c:v>24</c:v>
                </c:pt>
                <c:pt idx="4449">
                  <c:v>4</c:v>
                </c:pt>
                <c:pt idx="4450">
                  <c:v>7</c:v>
                </c:pt>
                <c:pt idx="4451">
                  <c:v>60</c:v>
                </c:pt>
                <c:pt idx="4452">
                  <c:v>120</c:v>
                </c:pt>
                <c:pt idx="4453">
                  <c:v>21</c:v>
                </c:pt>
                <c:pt idx="4454">
                  <c:v>25</c:v>
                </c:pt>
                <c:pt idx="4455">
                  <c:v>21</c:v>
                </c:pt>
                <c:pt idx="4456">
                  <c:v>13</c:v>
                </c:pt>
                <c:pt idx="4457">
                  <c:v>32</c:v>
                </c:pt>
                <c:pt idx="4458">
                  <c:v>56</c:v>
                </c:pt>
                <c:pt idx="4459">
                  <c:v>5</c:v>
                </c:pt>
                <c:pt idx="4460">
                  <c:v>0</c:v>
                </c:pt>
                <c:pt idx="4461">
                  <c:v>21</c:v>
                </c:pt>
                <c:pt idx="4462">
                  <c:v>36</c:v>
                </c:pt>
                <c:pt idx="4463">
                  <c:v>11</c:v>
                </c:pt>
                <c:pt idx="4464">
                  <c:v>3</c:v>
                </c:pt>
                <c:pt idx="4465">
                  <c:v>19</c:v>
                </c:pt>
                <c:pt idx="4466">
                  <c:v>13</c:v>
                </c:pt>
                <c:pt idx="4467">
                  <c:v>29</c:v>
                </c:pt>
                <c:pt idx="4468">
                  <c:v>15</c:v>
                </c:pt>
                <c:pt idx="4469">
                  <c:v>57</c:v>
                </c:pt>
                <c:pt idx="4470">
                  <c:v>27</c:v>
                </c:pt>
                <c:pt idx="4471">
                  <c:v>43</c:v>
                </c:pt>
                <c:pt idx="4472">
                  <c:v>63</c:v>
                </c:pt>
                <c:pt idx="4473">
                  <c:v>3</c:v>
                </c:pt>
                <c:pt idx="4474">
                  <c:v>7</c:v>
                </c:pt>
                <c:pt idx="4475">
                  <c:v>5</c:v>
                </c:pt>
                <c:pt idx="4476">
                  <c:v>7</c:v>
                </c:pt>
                <c:pt idx="4477">
                  <c:v>21</c:v>
                </c:pt>
                <c:pt idx="4478">
                  <c:v>7</c:v>
                </c:pt>
                <c:pt idx="4479">
                  <c:v>46</c:v>
                </c:pt>
                <c:pt idx="4480">
                  <c:v>4</c:v>
                </c:pt>
                <c:pt idx="4481">
                  <c:v>4</c:v>
                </c:pt>
                <c:pt idx="4482">
                  <c:v>10</c:v>
                </c:pt>
                <c:pt idx="4483">
                  <c:v>2</c:v>
                </c:pt>
                <c:pt idx="4484">
                  <c:v>0</c:v>
                </c:pt>
                <c:pt idx="4485">
                  <c:v>4</c:v>
                </c:pt>
                <c:pt idx="4486">
                  <c:v>3</c:v>
                </c:pt>
                <c:pt idx="4487">
                  <c:v>0</c:v>
                </c:pt>
                <c:pt idx="4488">
                  <c:v>0</c:v>
                </c:pt>
                <c:pt idx="4489">
                  <c:v>38</c:v>
                </c:pt>
                <c:pt idx="4490">
                  <c:v>44</c:v>
                </c:pt>
                <c:pt idx="4491">
                  <c:v>43</c:v>
                </c:pt>
                <c:pt idx="4492">
                  <c:v>7</c:v>
                </c:pt>
                <c:pt idx="4493">
                  <c:v>3</c:v>
                </c:pt>
                <c:pt idx="4494">
                  <c:v>4</c:v>
                </c:pt>
                <c:pt idx="4495">
                  <c:v>0</c:v>
                </c:pt>
                <c:pt idx="4496">
                  <c:v>4</c:v>
                </c:pt>
                <c:pt idx="4497">
                  <c:v>7</c:v>
                </c:pt>
                <c:pt idx="4498">
                  <c:v>6</c:v>
                </c:pt>
                <c:pt idx="4499">
                  <c:v>47</c:v>
                </c:pt>
                <c:pt idx="4500">
                  <c:v>26</c:v>
                </c:pt>
                <c:pt idx="4501">
                  <c:v>7</c:v>
                </c:pt>
                <c:pt idx="4502">
                  <c:v>20</c:v>
                </c:pt>
                <c:pt idx="4503">
                  <c:v>26</c:v>
                </c:pt>
                <c:pt idx="4504">
                  <c:v>32</c:v>
                </c:pt>
                <c:pt idx="4505">
                  <c:v>0</c:v>
                </c:pt>
                <c:pt idx="4506">
                  <c:v>0</c:v>
                </c:pt>
                <c:pt idx="4507">
                  <c:v>3</c:v>
                </c:pt>
                <c:pt idx="4508">
                  <c:v>91</c:v>
                </c:pt>
                <c:pt idx="4509">
                  <c:v>27</c:v>
                </c:pt>
                <c:pt idx="4510">
                  <c:v>9</c:v>
                </c:pt>
                <c:pt idx="4511">
                  <c:v>78</c:v>
                </c:pt>
                <c:pt idx="4512">
                  <c:v>17</c:v>
                </c:pt>
                <c:pt idx="4513">
                  <c:v>20</c:v>
                </c:pt>
                <c:pt idx="4514">
                  <c:v>16</c:v>
                </c:pt>
                <c:pt idx="4515">
                  <c:v>7</c:v>
                </c:pt>
                <c:pt idx="4516">
                  <c:v>0</c:v>
                </c:pt>
                <c:pt idx="4517">
                  <c:v>0</c:v>
                </c:pt>
                <c:pt idx="4518">
                  <c:v>7</c:v>
                </c:pt>
                <c:pt idx="4519">
                  <c:v>26</c:v>
                </c:pt>
                <c:pt idx="4520">
                  <c:v>49</c:v>
                </c:pt>
                <c:pt idx="4521">
                  <c:v>8</c:v>
                </c:pt>
                <c:pt idx="4522">
                  <c:v>17</c:v>
                </c:pt>
                <c:pt idx="4523">
                  <c:v>65</c:v>
                </c:pt>
                <c:pt idx="4524">
                  <c:v>52</c:v>
                </c:pt>
                <c:pt idx="4525">
                  <c:v>29</c:v>
                </c:pt>
                <c:pt idx="4526">
                  <c:v>12</c:v>
                </c:pt>
                <c:pt idx="4527">
                  <c:v>3</c:v>
                </c:pt>
                <c:pt idx="4528">
                  <c:v>24</c:v>
                </c:pt>
                <c:pt idx="4529">
                  <c:v>8</c:v>
                </c:pt>
                <c:pt idx="4530">
                  <c:v>26</c:v>
                </c:pt>
                <c:pt idx="4531">
                  <c:v>18</c:v>
                </c:pt>
                <c:pt idx="4532">
                  <c:v>2</c:v>
                </c:pt>
                <c:pt idx="4533">
                  <c:v>0</c:v>
                </c:pt>
                <c:pt idx="4534">
                  <c:v>21</c:v>
                </c:pt>
                <c:pt idx="4535">
                  <c:v>9</c:v>
                </c:pt>
                <c:pt idx="4536">
                  <c:v>7</c:v>
                </c:pt>
                <c:pt idx="4537">
                  <c:v>7</c:v>
                </c:pt>
                <c:pt idx="4538">
                  <c:v>10</c:v>
                </c:pt>
                <c:pt idx="4539">
                  <c:v>17</c:v>
                </c:pt>
                <c:pt idx="4540">
                  <c:v>9</c:v>
                </c:pt>
                <c:pt idx="4541">
                  <c:v>9</c:v>
                </c:pt>
                <c:pt idx="4542">
                  <c:v>1</c:v>
                </c:pt>
                <c:pt idx="4543">
                  <c:v>0</c:v>
                </c:pt>
                <c:pt idx="4544">
                  <c:v>2</c:v>
                </c:pt>
                <c:pt idx="4545">
                  <c:v>4</c:v>
                </c:pt>
                <c:pt idx="4546">
                  <c:v>1</c:v>
                </c:pt>
                <c:pt idx="4547">
                  <c:v>0</c:v>
                </c:pt>
                <c:pt idx="4548">
                  <c:v>0</c:v>
                </c:pt>
                <c:pt idx="4549">
                  <c:v>0</c:v>
                </c:pt>
                <c:pt idx="4550">
                  <c:v>0</c:v>
                </c:pt>
                <c:pt idx="4551">
                  <c:v>0</c:v>
                </c:pt>
                <c:pt idx="4552">
                  <c:v>0</c:v>
                </c:pt>
                <c:pt idx="4553">
                  <c:v>0</c:v>
                </c:pt>
                <c:pt idx="4554">
                  <c:v>0</c:v>
                </c:pt>
                <c:pt idx="4555">
                  <c:v>1</c:v>
                </c:pt>
                <c:pt idx="4556">
                  <c:v>1</c:v>
                </c:pt>
                <c:pt idx="4557">
                  <c:v>1</c:v>
                </c:pt>
                <c:pt idx="4558">
                  <c:v>6</c:v>
                </c:pt>
                <c:pt idx="4559">
                  <c:v>0</c:v>
                </c:pt>
                <c:pt idx="4560">
                  <c:v>6</c:v>
                </c:pt>
                <c:pt idx="4561">
                  <c:v>5</c:v>
                </c:pt>
                <c:pt idx="4562">
                  <c:v>8</c:v>
                </c:pt>
                <c:pt idx="4563">
                  <c:v>4</c:v>
                </c:pt>
                <c:pt idx="4564">
                  <c:v>0</c:v>
                </c:pt>
                <c:pt idx="4565">
                  <c:v>0</c:v>
                </c:pt>
                <c:pt idx="4566">
                  <c:v>2</c:v>
                </c:pt>
                <c:pt idx="4567">
                  <c:v>2</c:v>
                </c:pt>
                <c:pt idx="4568">
                  <c:v>2</c:v>
                </c:pt>
                <c:pt idx="4569">
                  <c:v>4</c:v>
                </c:pt>
                <c:pt idx="4570">
                  <c:v>0</c:v>
                </c:pt>
                <c:pt idx="4571">
                  <c:v>0</c:v>
                </c:pt>
                <c:pt idx="4572">
                  <c:v>0</c:v>
                </c:pt>
                <c:pt idx="4573">
                  <c:v>0</c:v>
                </c:pt>
                <c:pt idx="4574">
                  <c:v>0</c:v>
                </c:pt>
                <c:pt idx="4575">
                  <c:v>2</c:v>
                </c:pt>
                <c:pt idx="4576">
                  <c:v>0</c:v>
                </c:pt>
                <c:pt idx="4577">
                  <c:v>0</c:v>
                </c:pt>
                <c:pt idx="4578">
                  <c:v>7</c:v>
                </c:pt>
                <c:pt idx="4579">
                  <c:v>0</c:v>
                </c:pt>
                <c:pt idx="4580">
                  <c:v>5</c:v>
                </c:pt>
                <c:pt idx="4581">
                  <c:v>18</c:v>
                </c:pt>
                <c:pt idx="4582">
                  <c:v>25</c:v>
                </c:pt>
                <c:pt idx="4583">
                  <c:v>2</c:v>
                </c:pt>
                <c:pt idx="4584">
                  <c:v>0</c:v>
                </c:pt>
                <c:pt idx="4585">
                  <c:v>10</c:v>
                </c:pt>
                <c:pt idx="4586">
                  <c:v>0</c:v>
                </c:pt>
                <c:pt idx="4587">
                  <c:v>0</c:v>
                </c:pt>
                <c:pt idx="4588">
                  <c:v>2</c:v>
                </c:pt>
                <c:pt idx="4589">
                  <c:v>17</c:v>
                </c:pt>
                <c:pt idx="4590">
                  <c:v>11</c:v>
                </c:pt>
                <c:pt idx="4591">
                  <c:v>18</c:v>
                </c:pt>
                <c:pt idx="4592">
                  <c:v>8</c:v>
                </c:pt>
                <c:pt idx="4593">
                  <c:v>3</c:v>
                </c:pt>
                <c:pt idx="4594">
                  <c:v>3</c:v>
                </c:pt>
                <c:pt idx="4595">
                  <c:v>1</c:v>
                </c:pt>
                <c:pt idx="4596">
                  <c:v>0</c:v>
                </c:pt>
                <c:pt idx="4597">
                  <c:v>0</c:v>
                </c:pt>
                <c:pt idx="4598">
                  <c:v>8</c:v>
                </c:pt>
                <c:pt idx="4599">
                  <c:v>2</c:v>
                </c:pt>
                <c:pt idx="4600">
                  <c:v>1</c:v>
                </c:pt>
                <c:pt idx="4601">
                  <c:v>0</c:v>
                </c:pt>
                <c:pt idx="4602">
                  <c:v>12</c:v>
                </c:pt>
                <c:pt idx="4603">
                  <c:v>5</c:v>
                </c:pt>
                <c:pt idx="4604">
                  <c:v>1</c:v>
                </c:pt>
                <c:pt idx="4605">
                  <c:v>0</c:v>
                </c:pt>
                <c:pt idx="4606">
                  <c:v>8</c:v>
                </c:pt>
                <c:pt idx="4607">
                  <c:v>2</c:v>
                </c:pt>
                <c:pt idx="4608">
                  <c:v>4</c:v>
                </c:pt>
                <c:pt idx="4609">
                  <c:v>0</c:v>
                </c:pt>
                <c:pt idx="4610">
                  <c:v>1</c:v>
                </c:pt>
                <c:pt idx="4611">
                  <c:v>1</c:v>
                </c:pt>
                <c:pt idx="4612">
                  <c:v>2</c:v>
                </c:pt>
                <c:pt idx="4613">
                  <c:v>7</c:v>
                </c:pt>
                <c:pt idx="4614">
                  <c:v>0</c:v>
                </c:pt>
                <c:pt idx="4615">
                  <c:v>0</c:v>
                </c:pt>
                <c:pt idx="4616">
                  <c:v>3</c:v>
                </c:pt>
                <c:pt idx="4617">
                  <c:v>3</c:v>
                </c:pt>
                <c:pt idx="4618">
                  <c:v>0</c:v>
                </c:pt>
                <c:pt idx="4619">
                  <c:v>0</c:v>
                </c:pt>
                <c:pt idx="4620">
                  <c:v>0</c:v>
                </c:pt>
                <c:pt idx="4621">
                  <c:v>0</c:v>
                </c:pt>
                <c:pt idx="4622">
                  <c:v>4</c:v>
                </c:pt>
                <c:pt idx="4623">
                  <c:v>3</c:v>
                </c:pt>
                <c:pt idx="4624">
                  <c:v>0</c:v>
                </c:pt>
                <c:pt idx="4625">
                  <c:v>2</c:v>
                </c:pt>
                <c:pt idx="4626">
                  <c:v>3</c:v>
                </c:pt>
                <c:pt idx="4627">
                  <c:v>4</c:v>
                </c:pt>
                <c:pt idx="4628">
                  <c:v>0</c:v>
                </c:pt>
                <c:pt idx="4629">
                  <c:v>0</c:v>
                </c:pt>
                <c:pt idx="4630">
                  <c:v>0</c:v>
                </c:pt>
                <c:pt idx="4631">
                  <c:v>0</c:v>
                </c:pt>
                <c:pt idx="4632">
                  <c:v>0</c:v>
                </c:pt>
                <c:pt idx="4633">
                  <c:v>0</c:v>
                </c:pt>
                <c:pt idx="4634">
                  <c:v>0</c:v>
                </c:pt>
                <c:pt idx="4635">
                  <c:v>0</c:v>
                </c:pt>
                <c:pt idx="4636">
                  <c:v>0</c:v>
                </c:pt>
                <c:pt idx="4637">
                  <c:v>0</c:v>
                </c:pt>
                <c:pt idx="4638">
                  <c:v>0</c:v>
                </c:pt>
                <c:pt idx="4639">
                  <c:v>0</c:v>
                </c:pt>
                <c:pt idx="4640">
                  <c:v>6</c:v>
                </c:pt>
                <c:pt idx="4641">
                  <c:v>0</c:v>
                </c:pt>
                <c:pt idx="4642">
                  <c:v>0</c:v>
                </c:pt>
                <c:pt idx="4643">
                  <c:v>0</c:v>
                </c:pt>
                <c:pt idx="4644">
                  <c:v>1</c:v>
                </c:pt>
                <c:pt idx="4645">
                  <c:v>0</c:v>
                </c:pt>
                <c:pt idx="4646">
                  <c:v>1</c:v>
                </c:pt>
                <c:pt idx="4647">
                  <c:v>0</c:v>
                </c:pt>
                <c:pt idx="4648">
                  <c:v>0</c:v>
                </c:pt>
                <c:pt idx="4649">
                  <c:v>0</c:v>
                </c:pt>
                <c:pt idx="4650">
                  <c:v>0</c:v>
                </c:pt>
                <c:pt idx="4651">
                  <c:v>1</c:v>
                </c:pt>
                <c:pt idx="4652">
                  <c:v>0</c:v>
                </c:pt>
                <c:pt idx="4653">
                  <c:v>0</c:v>
                </c:pt>
                <c:pt idx="4654">
                  <c:v>0</c:v>
                </c:pt>
                <c:pt idx="4655">
                  <c:v>0</c:v>
                </c:pt>
                <c:pt idx="4656">
                  <c:v>0</c:v>
                </c:pt>
                <c:pt idx="4657">
                  <c:v>0</c:v>
                </c:pt>
                <c:pt idx="4658">
                  <c:v>0</c:v>
                </c:pt>
                <c:pt idx="4659">
                  <c:v>0</c:v>
                </c:pt>
                <c:pt idx="4660">
                  <c:v>0</c:v>
                </c:pt>
                <c:pt idx="4661">
                  <c:v>0</c:v>
                </c:pt>
                <c:pt idx="4662">
                  <c:v>0</c:v>
                </c:pt>
                <c:pt idx="4663">
                  <c:v>0</c:v>
                </c:pt>
                <c:pt idx="4664">
                  <c:v>0</c:v>
                </c:pt>
                <c:pt idx="4665">
                  <c:v>0</c:v>
                </c:pt>
                <c:pt idx="4666">
                  <c:v>0</c:v>
                </c:pt>
                <c:pt idx="4667">
                  <c:v>0</c:v>
                </c:pt>
                <c:pt idx="4668">
                  <c:v>0</c:v>
                </c:pt>
                <c:pt idx="4669">
                  <c:v>9</c:v>
                </c:pt>
                <c:pt idx="4670">
                  <c:v>18</c:v>
                </c:pt>
                <c:pt idx="4671">
                  <c:v>39</c:v>
                </c:pt>
                <c:pt idx="4672">
                  <c:v>4</c:v>
                </c:pt>
                <c:pt idx="4673">
                  <c:v>28</c:v>
                </c:pt>
                <c:pt idx="4674">
                  <c:v>15</c:v>
                </c:pt>
                <c:pt idx="4675">
                  <c:v>14</c:v>
                </c:pt>
                <c:pt idx="4676">
                  <c:v>32</c:v>
                </c:pt>
                <c:pt idx="4677">
                  <c:v>4</c:v>
                </c:pt>
                <c:pt idx="4678">
                  <c:v>16</c:v>
                </c:pt>
                <c:pt idx="4679">
                  <c:v>2</c:v>
                </c:pt>
                <c:pt idx="4680">
                  <c:v>9</c:v>
                </c:pt>
                <c:pt idx="4681">
                  <c:v>3</c:v>
                </c:pt>
                <c:pt idx="4682">
                  <c:v>2</c:v>
                </c:pt>
                <c:pt idx="4683">
                  <c:v>12</c:v>
                </c:pt>
                <c:pt idx="4684">
                  <c:v>3</c:v>
                </c:pt>
                <c:pt idx="4685">
                  <c:v>17</c:v>
                </c:pt>
                <c:pt idx="4686">
                  <c:v>26</c:v>
                </c:pt>
                <c:pt idx="4687">
                  <c:v>16</c:v>
                </c:pt>
                <c:pt idx="4688">
                  <c:v>7</c:v>
                </c:pt>
                <c:pt idx="4689">
                  <c:v>19</c:v>
                </c:pt>
                <c:pt idx="4690">
                  <c:v>10</c:v>
                </c:pt>
                <c:pt idx="4691">
                  <c:v>1</c:v>
                </c:pt>
                <c:pt idx="4692">
                  <c:v>18</c:v>
                </c:pt>
                <c:pt idx="4693">
                  <c:v>2</c:v>
                </c:pt>
                <c:pt idx="4694">
                  <c:v>5</c:v>
                </c:pt>
                <c:pt idx="4695">
                  <c:v>4</c:v>
                </c:pt>
                <c:pt idx="4696">
                  <c:v>39</c:v>
                </c:pt>
                <c:pt idx="4697">
                  <c:v>4</c:v>
                </c:pt>
                <c:pt idx="4698">
                  <c:v>15</c:v>
                </c:pt>
                <c:pt idx="4699">
                  <c:v>3</c:v>
                </c:pt>
                <c:pt idx="4700">
                  <c:v>19</c:v>
                </c:pt>
                <c:pt idx="4701">
                  <c:v>6</c:v>
                </c:pt>
                <c:pt idx="4702">
                  <c:v>5</c:v>
                </c:pt>
                <c:pt idx="4703">
                  <c:v>4</c:v>
                </c:pt>
                <c:pt idx="4704">
                  <c:v>12</c:v>
                </c:pt>
                <c:pt idx="4705">
                  <c:v>2</c:v>
                </c:pt>
                <c:pt idx="4706">
                  <c:v>2</c:v>
                </c:pt>
                <c:pt idx="4707">
                  <c:v>1</c:v>
                </c:pt>
                <c:pt idx="4708">
                  <c:v>2</c:v>
                </c:pt>
                <c:pt idx="4709">
                  <c:v>0</c:v>
                </c:pt>
                <c:pt idx="4710">
                  <c:v>0</c:v>
                </c:pt>
                <c:pt idx="4711">
                  <c:v>1</c:v>
                </c:pt>
                <c:pt idx="4712">
                  <c:v>3</c:v>
                </c:pt>
                <c:pt idx="4713">
                  <c:v>2</c:v>
                </c:pt>
                <c:pt idx="4714">
                  <c:v>2</c:v>
                </c:pt>
                <c:pt idx="4715">
                  <c:v>2</c:v>
                </c:pt>
                <c:pt idx="4716">
                  <c:v>4</c:v>
                </c:pt>
                <c:pt idx="4717">
                  <c:v>5</c:v>
                </c:pt>
                <c:pt idx="4718">
                  <c:v>7</c:v>
                </c:pt>
                <c:pt idx="4719">
                  <c:v>4</c:v>
                </c:pt>
                <c:pt idx="4720">
                  <c:v>3</c:v>
                </c:pt>
                <c:pt idx="4721">
                  <c:v>1</c:v>
                </c:pt>
                <c:pt idx="4722">
                  <c:v>6</c:v>
                </c:pt>
                <c:pt idx="4723">
                  <c:v>0</c:v>
                </c:pt>
                <c:pt idx="4724">
                  <c:v>2</c:v>
                </c:pt>
                <c:pt idx="4725">
                  <c:v>0</c:v>
                </c:pt>
                <c:pt idx="4726">
                  <c:v>3</c:v>
                </c:pt>
                <c:pt idx="4727">
                  <c:v>0</c:v>
                </c:pt>
                <c:pt idx="4728">
                  <c:v>5</c:v>
                </c:pt>
                <c:pt idx="4729">
                  <c:v>3</c:v>
                </c:pt>
                <c:pt idx="4730">
                  <c:v>1</c:v>
                </c:pt>
                <c:pt idx="4731">
                  <c:v>0</c:v>
                </c:pt>
                <c:pt idx="4732">
                  <c:v>0</c:v>
                </c:pt>
                <c:pt idx="4733">
                  <c:v>50</c:v>
                </c:pt>
                <c:pt idx="4734">
                  <c:v>17</c:v>
                </c:pt>
                <c:pt idx="4735">
                  <c:v>2</c:v>
                </c:pt>
                <c:pt idx="4736">
                  <c:v>4</c:v>
                </c:pt>
                <c:pt idx="4737">
                  <c:v>0</c:v>
                </c:pt>
                <c:pt idx="4738">
                  <c:v>15</c:v>
                </c:pt>
                <c:pt idx="4739">
                  <c:v>10</c:v>
                </c:pt>
                <c:pt idx="4740">
                  <c:v>9</c:v>
                </c:pt>
                <c:pt idx="4741">
                  <c:v>1</c:v>
                </c:pt>
                <c:pt idx="4742">
                  <c:v>3</c:v>
                </c:pt>
                <c:pt idx="4743">
                  <c:v>5</c:v>
                </c:pt>
                <c:pt idx="4744">
                  <c:v>15</c:v>
                </c:pt>
                <c:pt idx="4745">
                  <c:v>11</c:v>
                </c:pt>
                <c:pt idx="4746">
                  <c:v>4</c:v>
                </c:pt>
                <c:pt idx="4747">
                  <c:v>0</c:v>
                </c:pt>
                <c:pt idx="4748">
                  <c:v>0</c:v>
                </c:pt>
                <c:pt idx="4749">
                  <c:v>0</c:v>
                </c:pt>
                <c:pt idx="4750">
                  <c:v>0</c:v>
                </c:pt>
                <c:pt idx="4751">
                  <c:v>3</c:v>
                </c:pt>
                <c:pt idx="4752">
                  <c:v>1</c:v>
                </c:pt>
                <c:pt idx="4753">
                  <c:v>0</c:v>
                </c:pt>
                <c:pt idx="4754">
                  <c:v>2</c:v>
                </c:pt>
                <c:pt idx="4755">
                  <c:v>4</c:v>
                </c:pt>
                <c:pt idx="4756">
                  <c:v>2</c:v>
                </c:pt>
                <c:pt idx="4757">
                  <c:v>6</c:v>
                </c:pt>
                <c:pt idx="4758">
                  <c:v>4</c:v>
                </c:pt>
                <c:pt idx="4759">
                  <c:v>1</c:v>
                </c:pt>
                <c:pt idx="4760">
                  <c:v>2</c:v>
                </c:pt>
                <c:pt idx="4761">
                  <c:v>1</c:v>
                </c:pt>
                <c:pt idx="4762">
                  <c:v>4</c:v>
                </c:pt>
                <c:pt idx="4763">
                  <c:v>1</c:v>
                </c:pt>
                <c:pt idx="4764">
                  <c:v>0</c:v>
                </c:pt>
                <c:pt idx="4765">
                  <c:v>0</c:v>
                </c:pt>
                <c:pt idx="4766">
                  <c:v>12</c:v>
                </c:pt>
                <c:pt idx="4767">
                  <c:v>1</c:v>
                </c:pt>
                <c:pt idx="4768">
                  <c:v>1</c:v>
                </c:pt>
                <c:pt idx="4769">
                  <c:v>21</c:v>
                </c:pt>
                <c:pt idx="4770">
                  <c:v>7</c:v>
                </c:pt>
                <c:pt idx="4771">
                  <c:v>0</c:v>
                </c:pt>
                <c:pt idx="4772">
                  <c:v>3</c:v>
                </c:pt>
                <c:pt idx="4773">
                  <c:v>0</c:v>
                </c:pt>
                <c:pt idx="4774">
                  <c:v>1</c:v>
                </c:pt>
                <c:pt idx="4775">
                  <c:v>3</c:v>
                </c:pt>
                <c:pt idx="4776">
                  <c:v>9</c:v>
                </c:pt>
                <c:pt idx="4777">
                  <c:v>20</c:v>
                </c:pt>
                <c:pt idx="4778">
                  <c:v>10</c:v>
                </c:pt>
                <c:pt idx="4779">
                  <c:v>0</c:v>
                </c:pt>
                <c:pt idx="4780">
                  <c:v>4</c:v>
                </c:pt>
                <c:pt idx="4781">
                  <c:v>2</c:v>
                </c:pt>
                <c:pt idx="4782">
                  <c:v>38</c:v>
                </c:pt>
                <c:pt idx="4783">
                  <c:v>0</c:v>
                </c:pt>
                <c:pt idx="4784">
                  <c:v>68</c:v>
                </c:pt>
                <c:pt idx="4785">
                  <c:v>18</c:v>
                </c:pt>
                <c:pt idx="4786">
                  <c:v>10</c:v>
                </c:pt>
                <c:pt idx="4787">
                  <c:v>9</c:v>
                </c:pt>
                <c:pt idx="4788">
                  <c:v>17</c:v>
                </c:pt>
                <c:pt idx="4789">
                  <c:v>14</c:v>
                </c:pt>
                <c:pt idx="4790">
                  <c:v>16</c:v>
                </c:pt>
                <c:pt idx="4791">
                  <c:v>24</c:v>
                </c:pt>
                <c:pt idx="4792">
                  <c:v>25</c:v>
                </c:pt>
                <c:pt idx="4793">
                  <c:v>26</c:v>
                </c:pt>
                <c:pt idx="4794">
                  <c:v>6</c:v>
                </c:pt>
                <c:pt idx="4795">
                  <c:v>0</c:v>
                </c:pt>
                <c:pt idx="4796">
                  <c:v>14</c:v>
                </c:pt>
                <c:pt idx="4797">
                  <c:v>19</c:v>
                </c:pt>
                <c:pt idx="4798">
                  <c:v>7</c:v>
                </c:pt>
                <c:pt idx="4799">
                  <c:v>18</c:v>
                </c:pt>
                <c:pt idx="4800">
                  <c:v>35</c:v>
                </c:pt>
                <c:pt idx="4801">
                  <c:v>4</c:v>
                </c:pt>
                <c:pt idx="4802">
                  <c:v>12</c:v>
                </c:pt>
                <c:pt idx="4803">
                  <c:v>8</c:v>
                </c:pt>
                <c:pt idx="4804">
                  <c:v>19</c:v>
                </c:pt>
                <c:pt idx="4805">
                  <c:v>14</c:v>
                </c:pt>
                <c:pt idx="4806">
                  <c:v>18</c:v>
                </c:pt>
                <c:pt idx="4807">
                  <c:v>4</c:v>
                </c:pt>
                <c:pt idx="4808">
                  <c:v>3</c:v>
                </c:pt>
                <c:pt idx="4809">
                  <c:v>21</c:v>
                </c:pt>
                <c:pt idx="4810">
                  <c:v>33</c:v>
                </c:pt>
                <c:pt idx="4811">
                  <c:v>9</c:v>
                </c:pt>
                <c:pt idx="4812">
                  <c:v>10</c:v>
                </c:pt>
                <c:pt idx="4813">
                  <c:v>5</c:v>
                </c:pt>
                <c:pt idx="4814">
                  <c:v>23</c:v>
                </c:pt>
                <c:pt idx="4815">
                  <c:v>15</c:v>
                </c:pt>
                <c:pt idx="4816">
                  <c:v>22</c:v>
                </c:pt>
                <c:pt idx="4817">
                  <c:v>8</c:v>
                </c:pt>
                <c:pt idx="4818">
                  <c:v>26</c:v>
                </c:pt>
                <c:pt idx="4819">
                  <c:v>14</c:v>
                </c:pt>
                <c:pt idx="4820">
                  <c:v>8</c:v>
                </c:pt>
                <c:pt idx="4821">
                  <c:v>2</c:v>
                </c:pt>
                <c:pt idx="4822">
                  <c:v>7</c:v>
                </c:pt>
                <c:pt idx="4823">
                  <c:v>17</c:v>
                </c:pt>
                <c:pt idx="4824">
                  <c:v>10</c:v>
                </c:pt>
                <c:pt idx="4825">
                  <c:v>4</c:v>
                </c:pt>
                <c:pt idx="4826">
                  <c:v>4</c:v>
                </c:pt>
                <c:pt idx="4827">
                  <c:v>0</c:v>
                </c:pt>
                <c:pt idx="4828">
                  <c:v>0</c:v>
                </c:pt>
                <c:pt idx="4829">
                  <c:v>0</c:v>
                </c:pt>
                <c:pt idx="4830">
                  <c:v>0</c:v>
                </c:pt>
                <c:pt idx="4831">
                  <c:v>0</c:v>
                </c:pt>
                <c:pt idx="4832">
                  <c:v>21</c:v>
                </c:pt>
                <c:pt idx="4833">
                  <c:v>8</c:v>
                </c:pt>
                <c:pt idx="4834">
                  <c:v>14</c:v>
                </c:pt>
                <c:pt idx="4835">
                  <c:v>42</c:v>
                </c:pt>
                <c:pt idx="4836">
                  <c:v>21</c:v>
                </c:pt>
                <c:pt idx="4837">
                  <c:v>28</c:v>
                </c:pt>
                <c:pt idx="4838">
                  <c:v>30</c:v>
                </c:pt>
                <c:pt idx="4839">
                  <c:v>3</c:v>
                </c:pt>
                <c:pt idx="4840">
                  <c:v>4</c:v>
                </c:pt>
                <c:pt idx="4841">
                  <c:v>26</c:v>
                </c:pt>
                <c:pt idx="4842">
                  <c:v>7</c:v>
                </c:pt>
                <c:pt idx="4843">
                  <c:v>1</c:v>
                </c:pt>
                <c:pt idx="4844">
                  <c:v>32</c:v>
                </c:pt>
                <c:pt idx="4845">
                  <c:v>4</c:v>
                </c:pt>
                <c:pt idx="4846">
                  <c:v>8</c:v>
                </c:pt>
                <c:pt idx="4847">
                  <c:v>5</c:v>
                </c:pt>
                <c:pt idx="4848">
                  <c:v>3</c:v>
                </c:pt>
                <c:pt idx="4849">
                  <c:v>6</c:v>
                </c:pt>
                <c:pt idx="4850">
                  <c:v>3</c:v>
                </c:pt>
                <c:pt idx="4851">
                  <c:v>0</c:v>
                </c:pt>
                <c:pt idx="4852">
                  <c:v>7</c:v>
                </c:pt>
                <c:pt idx="4853">
                  <c:v>32</c:v>
                </c:pt>
                <c:pt idx="4854">
                  <c:v>13</c:v>
                </c:pt>
                <c:pt idx="4855">
                  <c:v>34</c:v>
                </c:pt>
                <c:pt idx="4856">
                  <c:v>12</c:v>
                </c:pt>
                <c:pt idx="4857">
                  <c:v>11</c:v>
                </c:pt>
                <c:pt idx="4858">
                  <c:v>11</c:v>
                </c:pt>
                <c:pt idx="4859">
                  <c:v>6</c:v>
                </c:pt>
                <c:pt idx="4860">
                  <c:v>4</c:v>
                </c:pt>
                <c:pt idx="4861">
                  <c:v>3</c:v>
                </c:pt>
                <c:pt idx="4862">
                  <c:v>0</c:v>
                </c:pt>
                <c:pt idx="4863">
                  <c:v>9</c:v>
                </c:pt>
                <c:pt idx="4864">
                  <c:v>53</c:v>
                </c:pt>
                <c:pt idx="4865">
                  <c:v>9</c:v>
                </c:pt>
                <c:pt idx="4866">
                  <c:v>21</c:v>
                </c:pt>
                <c:pt idx="4867">
                  <c:v>24</c:v>
                </c:pt>
                <c:pt idx="4868">
                  <c:v>18</c:v>
                </c:pt>
                <c:pt idx="4869">
                  <c:v>19</c:v>
                </c:pt>
                <c:pt idx="4870">
                  <c:v>8</c:v>
                </c:pt>
                <c:pt idx="4871">
                  <c:v>6</c:v>
                </c:pt>
                <c:pt idx="4872">
                  <c:v>25</c:v>
                </c:pt>
                <c:pt idx="4873">
                  <c:v>27</c:v>
                </c:pt>
                <c:pt idx="4874">
                  <c:v>3</c:v>
                </c:pt>
                <c:pt idx="4875">
                  <c:v>12</c:v>
                </c:pt>
                <c:pt idx="4876">
                  <c:v>5</c:v>
                </c:pt>
                <c:pt idx="4877">
                  <c:v>2</c:v>
                </c:pt>
                <c:pt idx="4878">
                  <c:v>10</c:v>
                </c:pt>
                <c:pt idx="4879">
                  <c:v>2</c:v>
                </c:pt>
                <c:pt idx="4880">
                  <c:v>3</c:v>
                </c:pt>
                <c:pt idx="4881">
                  <c:v>19</c:v>
                </c:pt>
                <c:pt idx="4882">
                  <c:v>9</c:v>
                </c:pt>
                <c:pt idx="4883">
                  <c:v>1</c:v>
                </c:pt>
                <c:pt idx="4884">
                  <c:v>3</c:v>
                </c:pt>
                <c:pt idx="4885">
                  <c:v>11</c:v>
                </c:pt>
                <c:pt idx="4886">
                  <c:v>2</c:v>
                </c:pt>
                <c:pt idx="4887">
                  <c:v>0</c:v>
                </c:pt>
                <c:pt idx="4888">
                  <c:v>6</c:v>
                </c:pt>
                <c:pt idx="4889">
                  <c:v>2</c:v>
                </c:pt>
                <c:pt idx="4890">
                  <c:v>0</c:v>
                </c:pt>
                <c:pt idx="4891">
                  <c:v>0</c:v>
                </c:pt>
                <c:pt idx="4892">
                  <c:v>5</c:v>
                </c:pt>
                <c:pt idx="4893">
                  <c:v>33</c:v>
                </c:pt>
                <c:pt idx="4894">
                  <c:v>10</c:v>
                </c:pt>
                <c:pt idx="4895">
                  <c:v>15</c:v>
                </c:pt>
                <c:pt idx="4896">
                  <c:v>33</c:v>
                </c:pt>
                <c:pt idx="4897">
                  <c:v>28</c:v>
                </c:pt>
                <c:pt idx="4898">
                  <c:v>1</c:v>
                </c:pt>
                <c:pt idx="4899">
                  <c:v>5</c:v>
                </c:pt>
                <c:pt idx="4900">
                  <c:v>13</c:v>
                </c:pt>
                <c:pt idx="4901">
                  <c:v>3</c:v>
                </c:pt>
                <c:pt idx="4902">
                  <c:v>3</c:v>
                </c:pt>
                <c:pt idx="4903">
                  <c:v>10</c:v>
                </c:pt>
                <c:pt idx="4904">
                  <c:v>16</c:v>
                </c:pt>
                <c:pt idx="4905">
                  <c:v>5</c:v>
                </c:pt>
                <c:pt idx="4906">
                  <c:v>8</c:v>
                </c:pt>
                <c:pt idx="4907">
                  <c:v>6</c:v>
                </c:pt>
                <c:pt idx="4908">
                  <c:v>5</c:v>
                </c:pt>
                <c:pt idx="4909">
                  <c:v>7</c:v>
                </c:pt>
                <c:pt idx="4910">
                  <c:v>0</c:v>
                </c:pt>
                <c:pt idx="4911">
                  <c:v>0</c:v>
                </c:pt>
                <c:pt idx="4912">
                  <c:v>3</c:v>
                </c:pt>
                <c:pt idx="4913">
                  <c:v>0</c:v>
                </c:pt>
                <c:pt idx="4914">
                  <c:v>2</c:v>
                </c:pt>
                <c:pt idx="4915">
                  <c:v>1</c:v>
                </c:pt>
                <c:pt idx="4916">
                  <c:v>1</c:v>
                </c:pt>
                <c:pt idx="4917">
                  <c:v>2</c:v>
                </c:pt>
                <c:pt idx="4918">
                  <c:v>2</c:v>
                </c:pt>
                <c:pt idx="4919">
                  <c:v>1</c:v>
                </c:pt>
                <c:pt idx="4920">
                  <c:v>2</c:v>
                </c:pt>
                <c:pt idx="4921">
                  <c:v>3</c:v>
                </c:pt>
                <c:pt idx="4922">
                  <c:v>0</c:v>
                </c:pt>
                <c:pt idx="4923">
                  <c:v>0</c:v>
                </c:pt>
                <c:pt idx="4924">
                  <c:v>1</c:v>
                </c:pt>
                <c:pt idx="4925">
                  <c:v>0</c:v>
                </c:pt>
                <c:pt idx="4926">
                  <c:v>0</c:v>
                </c:pt>
                <c:pt idx="4927">
                  <c:v>0</c:v>
                </c:pt>
                <c:pt idx="4928">
                  <c:v>14</c:v>
                </c:pt>
                <c:pt idx="4929">
                  <c:v>13</c:v>
                </c:pt>
                <c:pt idx="4930">
                  <c:v>0</c:v>
                </c:pt>
                <c:pt idx="4931">
                  <c:v>7</c:v>
                </c:pt>
                <c:pt idx="4932">
                  <c:v>0</c:v>
                </c:pt>
                <c:pt idx="4933">
                  <c:v>0</c:v>
                </c:pt>
                <c:pt idx="4934">
                  <c:v>1</c:v>
                </c:pt>
                <c:pt idx="4935">
                  <c:v>0</c:v>
                </c:pt>
                <c:pt idx="4936">
                  <c:v>0</c:v>
                </c:pt>
                <c:pt idx="4937">
                  <c:v>0</c:v>
                </c:pt>
                <c:pt idx="4938">
                  <c:v>0</c:v>
                </c:pt>
                <c:pt idx="4939">
                  <c:v>0</c:v>
                </c:pt>
                <c:pt idx="4940">
                  <c:v>38</c:v>
                </c:pt>
                <c:pt idx="4941">
                  <c:v>13</c:v>
                </c:pt>
                <c:pt idx="4942">
                  <c:v>1</c:v>
                </c:pt>
                <c:pt idx="4943">
                  <c:v>5</c:v>
                </c:pt>
                <c:pt idx="4944">
                  <c:v>5</c:v>
                </c:pt>
                <c:pt idx="4945">
                  <c:v>32</c:v>
                </c:pt>
                <c:pt idx="4946">
                  <c:v>5</c:v>
                </c:pt>
                <c:pt idx="4947">
                  <c:v>4</c:v>
                </c:pt>
                <c:pt idx="4948">
                  <c:v>12</c:v>
                </c:pt>
                <c:pt idx="4949">
                  <c:v>4</c:v>
                </c:pt>
                <c:pt idx="4950">
                  <c:v>5</c:v>
                </c:pt>
                <c:pt idx="4951">
                  <c:v>10</c:v>
                </c:pt>
                <c:pt idx="4952">
                  <c:v>3</c:v>
                </c:pt>
                <c:pt idx="4953">
                  <c:v>2</c:v>
                </c:pt>
                <c:pt idx="4954">
                  <c:v>8</c:v>
                </c:pt>
                <c:pt idx="4955">
                  <c:v>0</c:v>
                </c:pt>
                <c:pt idx="4956">
                  <c:v>1</c:v>
                </c:pt>
                <c:pt idx="4957">
                  <c:v>0</c:v>
                </c:pt>
                <c:pt idx="4958">
                  <c:v>4</c:v>
                </c:pt>
                <c:pt idx="4959">
                  <c:v>0</c:v>
                </c:pt>
                <c:pt idx="4960">
                  <c:v>0</c:v>
                </c:pt>
                <c:pt idx="4961">
                  <c:v>0</c:v>
                </c:pt>
                <c:pt idx="4962">
                  <c:v>1</c:v>
                </c:pt>
                <c:pt idx="4963">
                  <c:v>0</c:v>
                </c:pt>
                <c:pt idx="4964">
                  <c:v>0</c:v>
                </c:pt>
                <c:pt idx="4965">
                  <c:v>0</c:v>
                </c:pt>
                <c:pt idx="4966">
                  <c:v>0</c:v>
                </c:pt>
                <c:pt idx="4967">
                  <c:v>0</c:v>
                </c:pt>
                <c:pt idx="4968">
                  <c:v>0</c:v>
                </c:pt>
                <c:pt idx="4969">
                  <c:v>0</c:v>
                </c:pt>
                <c:pt idx="4970">
                  <c:v>1</c:v>
                </c:pt>
                <c:pt idx="4971">
                  <c:v>10</c:v>
                </c:pt>
                <c:pt idx="4972">
                  <c:v>7</c:v>
                </c:pt>
                <c:pt idx="4973">
                  <c:v>0</c:v>
                </c:pt>
                <c:pt idx="4974">
                  <c:v>3</c:v>
                </c:pt>
                <c:pt idx="4975">
                  <c:v>8</c:v>
                </c:pt>
                <c:pt idx="4976">
                  <c:v>3</c:v>
                </c:pt>
                <c:pt idx="4977">
                  <c:v>4</c:v>
                </c:pt>
                <c:pt idx="4978">
                  <c:v>2</c:v>
                </c:pt>
                <c:pt idx="4979">
                  <c:v>4</c:v>
                </c:pt>
                <c:pt idx="4980">
                  <c:v>1</c:v>
                </c:pt>
                <c:pt idx="4981">
                  <c:v>0</c:v>
                </c:pt>
                <c:pt idx="4982">
                  <c:v>0</c:v>
                </c:pt>
                <c:pt idx="4983">
                  <c:v>0</c:v>
                </c:pt>
                <c:pt idx="4984">
                  <c:v>2</c:v>
                </c:pt>
                <c:pt idx="4985">
                  <c:v>7</c:v>
                </c:pt>
                <c:pt idx="4986">
                  <c:v>1</c:v>
                </c:pt>
                <c:pt idx="4987">
                  <c:v>4</c:v>
                </c:pt>
                <c:pt idx="4988">
                  <c:v>12</c:v>
                </c:pt>
                <c:pt idx="4989">
                  <c:v>0</c:v>
                </c:pt>
                <c:pt idx="4990">
                  <c:v>8</c:v>
                </c:pt>
                <c:pt idx="4991">
                  <c:v>0</c:v>
                </c:pt>
                <c:pt idx="4992">
                  <c:v>1</c:v>
                </c:pt>
                <c:pt idx="4993">
                  <c:v>2</c:v>
                </c:pt>
                <c:pt idx="4994">
                  <c:v>0</c:v>
                </c:pt>
                <c:pt idx="4995">
                  <c:v>4</c:v>
                </c:pt>
                <c:pt idx="4996">
                  <c:v>5</c:v>
                </c:pt>
                <c:pt idx="4997">
                  <c:v>0</c:v>
                </c:pt>
                <c:pt idx="4998">
                  <c:v>0</c:v>
                </c:pt>
                <c:pt idx="4999">
                  <c:v>3</c:v>
                </c:pt>
                <c:pt idx="5000">
                  <c:v>0</c:v>
                </c:pt>
                <c:pt idx="5001">
                  <c:v>1</c:v>
                </c:pt>
                <c:pt idx="5002">
                  <c:v>0</c:v>
                </c:pt>
                <c:pt idx="5003">
                  <c:v>0</c:v>
                </c:pt>
                <c:pt idx="5004">
                  <c:v>0</c:v>
                </c:pt>
                <c:pt idx="5005">
                  <c:v>0</c:v>
                </c:pt>
                <c:pt idx="5006">
                  <c:v>0</c:v>
                </c:pt>
                <c:pt idx="5007">
                  <c:v>0</c:v>
                </c:pt>
                <c:pt idx="5008">
                  <c:v>0</c:v>
                </c:pt>
                <c:pt idx="5009">
                  <c:v>0</c:v>
                </c:pt>
                <c:pt idx="5010">
                  <c:v>0</c:v>
                </c:pt>
                <c:pt idx="5011">
                  <c:v>34</c:v>
                </c:pt>
                <c:pt idx="5012">
                  <c:v>23</c:v>
                </c:pt>
                <c:pt idx="5013">
                  <c:v>7</c:v>
                </c:pt>
                <c:pt idx="5014">
                  <c:v>0</c:v>
                </c:pt>
                <c:pt idx="5015">
                  <c:v>1</c:v>
                </c:pt>
                <c:pt idx="5016">
                  <c:v>10</c:v>
                </c:pt>
                <c:pt idx="5017">
                  <c:v>3</c:v>
                </c:pt>
                <c:pt idx="5018">
                  <c:v>39</c:v>
                </c:pt>
                <c:pt idx="5019">
                  <c:v>14</c:v>
                </c:pt>
                <c:pt idx="5020">
                  <c:v>1</c:v>
                </c:pt>
                <c:pt idx="5021">
                  <c:v>1</c:v>
                </c:pt>
                <c:pt idx="5022">
                  <c:v>42</c:v>
                </c:pt>
                <c:pt idx="5023">
                  <c:v>11</c:v>
                </c:pt>
                <c:pt idx="5024">
                  <c:v>7</c:v>
                </c:pt>
                <c:pt idx="5025">
                  <c:v>3</c:v>
                </c:pt>
                <c:pt idx="5026">
                  <c:v>0</c:v>
                </c:pt>
                <c:pt idx="5027">
                  <c:v>0</c:v>
                </c:pt>
                <c:pt idx="5028">
                  <c:v>15</c:v>
                </c:pt>
                <c:pt idx="5029">
                  <c:v>8</c:v>
                </c:pt>
                <c:pt idx="5030">
                  <c:v>0</c:v>
                </c:pt>
                <c:pt idx="5031">
                  <c:v>0</c:v>
                </c:pt>
                <c:pt idx="5032">
                  <c:v>3</c:v>
                </c:pt>
                <c:pt idx="5033">
                  <c:v>1</c:v>
                </c:pt>
                <c:pt idx="5034">
                  <c:v>0</c:v>
                </c:pt>
                <c:pt idx="5035">
                  <c:v>0</c:v>
                </c:pt>
                <c:pt idx="5036">
                  <c:v>5</c:v>
                </c:pt>
                <c:pt idx="5037">
                  <c:v>7</c:v>
                </c:pt>
                <c:pt idx="5038">
                  <c:v>5</c:v>
                </c:pt>
                <c:pt idx="5039">
                  <c:v>4</c:v>
                </c:pt>
                <c:pt idx="5040">
                  <c:v>1183</c:v>
                </c:pt>
                <c:pt idx="5041">
                  <c:v>661</c:v>
                </c:pt>
                <c:pt idx="5042">
                  <c:v>1154</c:v>
                </c:pt>
                <c:pt idx="5043">
                  <c:v>1779</c:v>
                </c:pt>
                <c:pt idx="5044">
                  <c:v>355</c:v>
                </c:pt>
                <c:pt idx="5045">
                  <c:v>821</c:v>
                </c:pt>
                <c:pt idx="5046">
                  <c:v>892</c:v>
                </c:pt>
                <c:pt idx="5047">
                  <c:v>1122</c:v>
                </c:pt>
                <c:pt idx="5048">
                  <c:v>931</c:v>
                </c:pt>
                <c:pt idx="5049">
                  <c:v>215</c:v>
                </c:pt>
                <c:pt idx="5050">
                  <c:v>700</c:v>
                </c:pt>
                <c:pt idx="5051">
                  <c:v>854</c:v>
                </c:pt>
                <c:pt idx="5052">
                  <c:v>457</c:v>
                </c:pt>
                <c:pt idx="5053">
                  <c:v>950</c:v>
                </c:pt>
                <c:pt idx="5054">
                  <c:v>2132</c:v>
                </c:pt>
                <c:pt idx="5055">
                  <c:v>308</c:v>
                </c:pt>
                <c:pt idx="5056">
                  <c:v>269</c:v>
                </c:pt>
                <c:pt idx="5057">
                  <c:v>445</c:v>
                </c:pt>
                <c:pt idx="5058">
                  <c:v>241</c:v>
                </c:pt>
                <c:pt idx="5059">
                  <c:v>170</c:v>
                </c:pt>
                <c:pt idx="5060">
                  <c:v>145</c:v>
                </c:pt>
                <c:pt idx="5061">
                  <c:v>847</c:v>
                </c:pt>
                <c:pt idx="5062">
                  <c:v>1051</c:v>
                </c:pt>
                <c:pt idx="5063">
                  <c:v>369</c:v>
                </c:pt>
                <c:pt idx="5064">
                  <c:v>706</c:v>
                </c:pt>
                <c:pt idx="5065">
                  <c:v>732</c:v>
                </c:pt>
                <c:pt idx="5066">
                  <c:v>327</c:v>
                </c:pt>
                <c:pt idx="5067">
                  <c:v>479</c:v>
                </c:pt>
                <c:pt idx="5068">
                  <c:v>414</c:v>
                </c:pt>
                <c:pt idx="5069">
                  <c:v>522</c:v>
                </c:pt>
                <c:pt idx="5070">
                  <c:v>2687</c:v>
                </c:pt>
                <c:pt idx="5071">
                  <c:v>683</c:v>
                </c:pt>
                <c:pt idx="5072">
                  <c:v>679</c:v>
                </c:pt>
                <c:pt idx="5073">
                  <c:v>1652</c:v>
                </c:pt>
                <c:pt idx="5074">
                  <c:v>1301</c:v>
                </c:pt>
                <c:pt idx="5075">
                  <c:v>97</c:v>
                </c:pt>
                <c:pt idx="5076">
                  <c:v>2866</c:v>
                </c:pt>
                <c:pt idx="5077">
                  <c:v>209</c:v>
                </c:pt>
                <c:pt idx="5078">
                  <c:v>1417</c:v>
                </c:pt>
                <c:pt idx="5079">
                  <c:v>786</c:v>
                </c:pt>
                <c:pt idx="5080">
                  <c:v>66</c:v>
                </c:pt>
                <c:pt idx="5081">
                  <c:v>210</c:v>
                </c:pt>
                <c:pt idx="5082">
                  <c:v>404</c:v>
                </c:pt>
                <c:pt idx="5083">
                  <c:v>398</c:v>
                </c:pt>
                <c:pt idx="5084">
                  <c:v>220</c:v>
                </c:pt>
                <c:pt idx="5085">
                  <c:v>114</c:v>
                </c:pt>
                <c:pt idx="5086">
                  <c:v>303</c:v>
                </c:pt>
                <c:pt idx="5087">
                  <c:v>27</c:v>
                </c:pt>
                <c:pt idx="5088">
                  <c:v>177</c:v>
                </c:pt>
                <c:pt idx="5089">
                  <c:v>187</c:v>
                </c:pt>
                <c:pt idx="5090">
                  <c:v>816</c:v>
                </c:pt>
                <c:pt idx="5091">
                  <c:v>236</c:v>
                </c:pt>
                <c:pt idx="5092">
                  <c:v>189</c:v>
                </c:pt>
                <c:pt idx="5093">
                  <c:v>129</c:v>
                </c:pt>
                <c:pt idx="5094">
                  <c:v>490</c:v>
                </c:pt>
                <c:pt idx="5095">
                  <c:v>1139</c:v>
                </c:pt>
                <c:pt idx="5096">
                  <c:v>204</c:v>
                </c:pt>
                <c:pt idx="5097">
                  <c:v>344</c:v>
                </c:pt>
                <c:pt idx="5098">
                  <c:v>297</c:v>
                </c:pt>
                <c:pt idx="5099">
                  <c:v>391</c:v>
                </c:pt>
                <c:pt idx="5100">
                  <c:v>124</c:v>
                </c:pt>
                <c:pt idx="5101">
                  <c:v>492</c:v>
                </c:pt>
                <c:pt idx="5102">
                  <c:v>841</c:v>
                </c:pt>
                <c:pt idx="5103">
                  <c:v>332</c:v>
                </c:pt>
                <c:pt idx="5104">
                  <c:v>446</c:v>
                </c:pt>
                <c:pt idx="5105">
                  <c:v>188</c:v>
                </c:pt>
                <c:pt idx="5106">
                  <c:v>664</c:v>
                </c:pt>
                <c:pt idx="5107">
                  <c:v>226</c:v>
                </c:pt>
                <c:pt idx="5108">
                  <c:v>271</c:v>
                </c:pt>
                <c:pt idx="5109">
                  <c:v>101</c:v>
                </c:pt>
                <c:pt idx="5110">
                  <c:v>107</c:v>
                </c:pt>
                <c:pt idx="5111">
                  <c:v>1492</c:v>
                </c:pt>
                <c:pt idx="5112">
                  <c:v>878</c:v>
                </c:pt>
                <c:pt idx="5113">
                  <c:v>409</c:v>
                </c:pt>
                <c:pt idx="5114">
                  <c:v>55</c:v>
                </c:pt>
                <c:pt idx="5115">
                  <c:v>735</c:v>
                </c:pt>
                <c:pt idx="5116">
                  <c:v>600</c:v>
                </c:pt>
                <c:pt idx="5117">
                  <c:v>414</c:v>
                </c:pt>
                <c:pt idx="5118">
                  <c:v>462</c:v>
                </c:pt>
                <c:pt idx="5119">
                  <c:v>1070</c:v>
                </c:pt>
                <c:pt idx="5120">
                  <c:v>192</c:v>
                </c:pt>
                <c:pt idx="5121">
                  <c:v>368</c:v>
                </c:pt>
                <c:pt idx="5122">
                  <c:v>40</c:v>
                </c:pt>
                <c:pt idx="5123">
                  <c:v>881</c:v>
                </c:pt>
                <c:pt idx="5124">
                  <c:v>460</c:v>
                </c:pt>
                <c:pt idx="5125">
                  <c:v>159</c:v>
                </c:pt>
                <c:pt idx="5126">
                  <c:v>424</c:v>
                </c:pt>
                <c:pt idx="5127">
                  <c:v>1862</c:v>
                </c:pt>
                <c:pt idx="5128">
                  <c:v>391</c:v>
                </c:pt>
                <c:pt idx="5129">
                  <c:v>354</c:v>
                </c:pt>
                <c:pt idx="5130">
                  <c:v>150</c:v>
                </c:pt>
                <c:pt idx="5131">
                  <c:v>320</c:v>
                </c:pt>
                <c:pt idx="5132">
                  <c:v>154</c:v>
                </c:pt>
                <c:pt idx="5133">
                  <c:v>124</c:v>
                </c:pt>
                <c:pt idx="5134">
                  <c:v>244</c:v>
                </c:pt>
                <c:pt idx="5135">
                  <c:v>145</c:v>
                </c:pt>
                <c:pt idx="5136">
                  <c:v>181</c:v>
                </c:pt>
                <c:pt idx="5137">
                  <c:v>28</c:v>
                </c:pt>
                <c:pt idx="5138">
                  <c:v>102</c:v>
                </c:pt>
                <c:pt idx="5139">
                  <c:v>63</c:v>
                </c:pt>
                <c:pt idx="5140">
                  <c:v>86</c:v>
                </c:pt>
                <c:pt idx="5141">
                  <c:v>99</c:v>
                </c:pt>
                <c:pt idx="5142">
                  <c:v>60</c:v>
                </c:pt>
                <c:pt idx="5143">
                  <c:v>34</c:v>
                </c:pt>
                <c:pt idx="5144">
                  <c:v>13</c:v>
                </c:pt>
                <c:pt idx="5145">
                  <c:v>94</c:v>
                </c:pt>
                <c:pt idx="5146">
                  <c:v>345</c:v>
                </c:pt>
                <c:pt idx="5147">
                  <c:v>527</c:v>
                </c:pt>
                <c:pt idx="5148">
                  <c:v>2854</c:v>
                </c:pt>
                <c:pt idx="5149">
                  <c:v>35</c:v>
                </c:pt>
                <c:pt idx="5150">
                  <c:v>62</c:v>
                </c:pt>
                <c:pt idx="5151">
                  <c:v>20</c:v>
                </c:pt>
                <c:pt idx="5152">
                  <c:v>16</c:v>
                </c:pt>
                <c:pt idx="5153">
                  <c:v>1641</c:v>
                </c:pt>
                <c:pt idx="5154">
                  <c:v>1216</c:v>
                </c:pt>
                <c:pt idx="5155">
                  <c:v>505</c:v>
                </c:pt>
                <c:pt idx="5156">
                  <c:v>1005</c:v>
                </c:pt>
                <c:pt idx="5157">
                  <c:v>1152</c:v>
                </c:pt>
                <c:pt idx="5158">
                  <c:v>1023</c:v>
                </c:pt>
                <c:pt idx="5159">
                  <c:v>809</c:v>
                </c:pt>
                <c:pt idx="5160">
                  <c:v>554</c:v>
                </c:pt>
                <c:pt idx="5161">
                  <c:v>155</c:v>
                </c:pt>
                <c:pt idx="5162">
                  <c:v>325</c:v>
                </c:pt>
                <c:pt idx="5163">
                  <c:v>167</c:v>
                </c:pt>
                <c:pt idx="5164">
                  <c:v>278</c:v>
                </c:pt>
                <c:pt idx="5165">
                  <c:v>86</c:v>
                </c:pt>
                <c:pt idx="5166">
                  <c:v>132</c:v>
                </c:pt>
                <c:pt idx="5167">
                  <c:v>171</c:v>
                </c:pt>
                <c:pt idx="5168">
                  <c:v>88</c:v>
                </c:pt>
                <c:pt idx="5169">
                  <c:v>149</c:v>
                </c:pt>
                <c:pt idx="5170">
                  <c:v>130</c:v>
                </c:pt>
                <c:pt idx="5171">
                  <c:v>68</c:v>
                </c:pt>
                <c:pt idx="5172">
                  <c:v>128</c:v>
                </c:pt>
                <c:pt idx="5173">
                  <c:v>70</c:v>
                </c:pt>
                <c:pt idx="5174">
                  <c:v>28</c:v>
                </c:pt>
                <c:pt idx="5175">
                  <c:v>42</c:v>
                </c:pt>
                <c:pt idx="5176">
                  <c:v>75</c:v>
                </c:pt>
                <c:pt idx="5177">
                  <c:v>37</c:v>
                </c:pt>
                <c:pt idx="5178">
                  <c:v>30</c:v>
                </c:pt>
                <c:pt idx="5179">
                  <c:v>15</c:v>
                </c:pt>
                <c:pt idx="5180">
                  <c:v>993</c:v>
                </c:pt>
                <c:pt idx="5181">
                  <c:v>11</c:v>
                </c:pt>
                <c:pt idx="5182">
                  <c:v>9</c:v>
                </c:pt>
                <c:pt idx="5183">
                  <c:v>2</c:v>
                </c:pt>
                <c:pt idx="5184">
                  <c:v>0</c:v>
                </c:pt>
                <c:pt idx="5185">
                  <c:v>0</c:v>
                </c:pt>
                <c:pt idx="5186">
                  <c:v>1</c:v>
                </c:pt>
                <c:pt idx="5187">
                  <c:v>0</c:v>
                </c:pt>
                <c:pt idx="5188">
                  <c:v>0</c:v>
                </c:pt>
                <c:pt idx="5189">
                  <c:v>1</c:v>
                </c:pt>
                <c:pt idx="5190">
                  <c:v>0</c:v>
                </c:pt>
                <c:pt idx="5191">
                  <c:v>0</c:v>
                </c:pt>
                <c:pt idx="5192">
                  <c:v>0</c:v>
                </c:pt>
                <c:pt idx="5193">
                  <c:v>2</c:v>
                </c:pt>
                <c:pt idx="5194">
                  <c:v>3</c:v>
                </c:pt>
                <c:pt idx="5195">
                  <c:v>0</c:v>
                </c:pt>
                <c:pt idx="5196">
                  <c:v>0</c:v>
                </c:pt>
                <c:pt idx="5197">
                  <c:v>3</c:v>
                </c:pt>
                <c:pt idx="5198">
                  <c:v>0</c:v>
                </c:pt>
                <c:pt idx="5199">
                  <c:v>0</c:v>
                </c:pt>
                <c:pt idx="5200">
                  <c:v>0</c:v>
                </c:pt>
                <c:pt idx="5201">
                  <c:v>0</c:v>
                </c:pt>
                <c:pt idx="5202">
                  <c:v>0</c:v>
                </c:pt>
                <c:pt idx="5203">
                  <c:v>0</c:v>
                </c:pt>
                <c:pt idx="5204">
                  <c:v>0</c:v>
                </c:pt>
                <c:pt idx="5205">
                  <c:v>0</c:v>
                </c:pt>
                <c:pt idx="5206">
                  <c:v>10</c:v>
                </c:pt>
                <c:pt idx="5207">
                  <c:v>0</c:v>
                </c:pt>
                <c:pt idx="5208">
                  <c:v>0</c:v>
                </c:pt>
                <c:pt idx="5209">
                  <c:v>0</c:v>
                </c:pt>
                <c:pt idx="5210">
                  <c:v>0</c:v>
                </c:pt>
                <c:pt idx="5211">
                  <c:v>2</c:v>
                </c:pt>
                <c:pt idx="5212">
                  <c:v>7</c:v>
                </c:pt>
                <c:pt idx="5213">
                  <c:v>2</c:v>
                </c:pt>
                <c:pt idx="5214">
                  <c:v>5</c:v>
                </c:pt>
                <c:pt idx="5215">
                  <c:v>1</c:v>
                </c:pt>
                <c:pt idx="5216">
                  <c:v>1</c:v>
                </c:pt>
                <c:pt idx="5217">
                  <c:v>192</c:v>
                </c:pt>
                <c:pt idx="5218">
                  <c:v>318</c:v>
                </c:pt>
                <c:pt idx="5219">
                  <c:v>205</c:v>
                </c:pt>
                <c:pt idx="5220">
                  <c:v>204</c:v>
                </c:pt>
                <c:pt idx="5221">
                  <c:v>120</c:v>
                </c:pt>
                <c:pt idx="5222">
                  <c:v>136</c:v>
                </c:pt>
                <c:pt idx="5223">
                  <c:v>220</c:v>
                </c:pt>
                <c:pt idx="5224">
                  <c:v>73</c:v>
                </c:pt>
                <c:pt idx="5225">
                  <c:v>102</c:v>
                </c:pt>
                <c:pt idx="5226">
                  <c:v>40</c:v>
                </c:pt>
                <c:pt idx="5227">
                  <c:v>119</c:v>
                </c:pt>
                <c:pt idx="5228">
                  <c:v>195</c:v>
                </c:pt>
                <c:pt idx="5229">
                  <c:v>40</c:v>
                </c:pt>
                <c:pt idx="5230">
                  <c:v>75</c:v>
                </c:pt>
                <c:pt idx="5231">
                  <c:v>35</c:v>
                </c:pt>
                <c:pt idx="5232">
                  <c:v>191</c:v>
                </c:pt>
                <c:pt idx="5233">
                  <c:v>80</c:v>
                </c:pt>
                <c:pt idx="5234">
                  <c:v>66</c:v>
                </c:pt>
                <c:pt idx="5235">
                  <c:v>35</c:v>
                </c:pt>
                <c:pt idx="5236">
                  <c:v>72</c:v>
                </c:pt>
                <c:pt idx="5237">
                  <c:v>18</c:v>
                </c:pt>
                <c:pt idx="5238">
                  <c:v>74</c:v>
                </c:pt>
                <c:pt idx="5239">
                  <c:v>33</c:v>
                </c:pt>
                <c:pt idx="5240">
                  <c:v>111</c:v>
                </c:pt>
                <c:pt idx="5241">
                  <c:v>161</c:v>
                </c:pt>
                <c:pt idx="5242">
                  <c:v>99</c:v>
                </c:pt>
                <c:pt idx="5243">
                  <c:v>40</c:v>
                </c:pt>
                <c:pt idx="5244">
                  <c:v>51</c:v>
                </c:pt>
                <c:pt idx="5245">
                  <c:v>35</c:v>
                </c:pt>
                <c:pt idx="5246">
                  <c:v>41</c:v>
                </c:pt>
                <c:pt idx="5247">
                  <c:v>85</c:v>
                </c:pt>
                <c:pt idx="5248">
                  <c:v>27</c:v>
                </c:pt>
                <c:pt idx="5249">
                  <c:v>62</c:v>
                </c:pt>
                <c:pt idx="5250">
                  <c:v>30</c:v>
                </c:pt>
                <c:pt idx="5251">
                  <c:v>58</c:v>
                </c:pt>
                <c:pt idx="5252">
                  <c:v>18</c:v>
                </c:pt>
                <c:pt idx="5253">
                  <c:v>103</c:v>
                </c:pt>
                <c:pt idx="5254">
                  <c:v>6</c:v>
                </c:pt>
                <c:pt idx="5255">
                  <c:v>34</c:v>
                </c:pt>
                <c:pt idx="5256">
                  <c:v>29</c:v>
                </c:pt>
                <c:pt idx="5257">
                  <c:v>11</c:v>
                </c:pt>
                <c:pt idx="5258">
                  <c:v>40</c:v>
                </c:pt>
                <c:pt idx="5259">
                  <c:v>31</c:v>
                </c:pt>
                <c:pt idx="5260">
                  <c:v>62</c:v>
                </c:pt>
                <c:pt idx="5261">
                  <c:v>26</c:v>
                </c:pt>
                <c:pt idx="5262">
                  <c:v>25</c:v>
                </c:pt>
                <c:pt idx="5263">
                  <c:v>21</c:v>
                </c:pt>
                <c:pt idx="5264">
                  <c:v>39</c:v>
                </c:pt>
                <c:pt idx="5265">
                  <c:v>42</c:v>
                </c:pt>
                <c:pt idx="5266">
                  <c:v>50</c:v>
                </c:pt>
                <c:pt idx="5267">
                  <c:v>39</c:v>
                </c:pt>
                <c:pt idx="5268">
                  <c:v>45</c:v>
                </c:pt>
                <c:pt idx="5269">
                  <c:v>31</c:v>
                </c:pt>
                <c:pt idx="5270">
                  <c:v>18</c:v>
                </c:pt>
                <c:pt idx="5271">
                  <c:v>38</c:v>
                </c:pt>
                <c:pt idx="5272">
                  <c:v>14</c:v>
                </c:pt>
                <c:pt idx="5273">
                  <c:v>18</c:v>
                </c:pt>
                <c:pt idx="5274">
                  <c:v>6</c:v>
                </c:pt>
                <c:pt idx="5275">
                  <c:v>21</c:v>
                </c:pt>
                <c:pt idx="5276">
                  <c:v>39</c:v>
                </c:pt>
                <c:pt idx="5277">
                  <c:v>10</c:v>
                </c:pt>
                <c:pt idx="5278">
                  <c:v>6</c:v>
                </c:pt>
                <c:pt idx="5279">
                  <c:v>182</c:v>
                </c:pt>
                <c:pt idx="5280">
                  <c:v>541</c:v>
                </c:pt>
                <c:pt idx="5281">
                  <c:v>1332</c:v>
                </c:pt>
                <c:pt idx="5282">
                  <c:v>1513</c:v>
                </c:pt>
                <c:pt idx="5283">
                  <c:v>168</c:v>
                </c:pt>
                <c:pt idx="5284">
                  <c:v>288</c:v>
                </c:pt>
                <c:pt idx="5285">
                  <c:v>1002</c:v>
                </c:pt>
                <c:pt idx="5286">
                  <c:v>767</c:v>
                </c:pt>
                <c:pt idx="5287">
                  <c:v>162</c:v>
                </c:pt>
                <c:pt idx="5288">
                  <c:v>472</c:v>
                </c:pt>
                <c:pt idx="5289">
                  <c:v>391</c:v>
                </c:pt>
                <c:pt idx="5290">
                  <c:v>151</c:v>
                </c:pt>
                <c:pt idx="5291">
                  <c:v>656</c:v>
                </c:pt>
                <c:pt idx="5292">
                  <c:v>257</c:v>
                </c:pt>
                <c:pt idx="5293">
                  <c:v>207</c:v>
                </c:pt>
                <c:pt idx="5294">
                  <c:v>197</c:v>
                </c:pt>
                <c:pt idx="5295">
                  <c:v>584</c:v>
                </c:pt>
                <c:pt idx="5296">
                  <c:v>859</c:v>
                </c:pt>
                <c:pt idx="5297">
                  <c:v>1729</c:v>
                </c:pt>
                <c:pt idx="5298">
                  <c:v>432</c:v>
                </c:pt>
                <c:pt idx="5299">
                  <c:v>1217</c:v>
                </c:pt>
                <c:pt idx="5300">
                  <c:v>1129</c:v>
                </c:pt>
                <c:pt idx="5301">
                  <c:v>619</c:v>
                </c:pt>
                <c:pt idx="5302">
                  <c:v>1268</c:v>
                </c:pt>
                <c:pt idx="5303">
                  <c:v>1363</c:v>
                </c:pt>
                <c:pt idx="5304">
                  <c:v>356</c:v>
                </c:pt>
                <c:pt idx="5305">
                  <c:v>1577</c:v>
                </c:pt>
                <c:pt idx="5306">
                  <c:v>1821</c:v>
                </c:pt>
                <c:pt idx="5307">
                  <c:v>148</c:v>
                </c:pt>
                <c:pt idx="5308">
                  <c:v>207</c:v>
                </c:pt>
                <c:pt idx="5309">
                  <c:v>565</c:v>
                </c:pt>
                <c:pt idx="5310">
                  <c:v>7</c:v>
                </c:pt>
                <c:pt idx="5311">
                  <c:v>18</c:v>
                </c:pt>
                <c:pt idx="5312">
                  <c:v>81</c:v>
                </c:pt>
                <c:pt idx="5313">
                  <c:v>247</c:v>
                </c:pt>
                <c:pt idx="5314">
                  <c:v>100</c:v>
                </c:pt>
                <c:pt idx="5315">
                  <c:v>18</c:v>
                </c:pt>
                <c:pt idx="5316">
                  <c:v>27</c:v>
                </c:pt>
                <c:pt idx="5317">
                  <c:v>92</c:v>
                </c:pt>
                <c:pt idx="5318">
                  <c:v>105</c:v>
                </c:pt>
                <c:pt idx="5319">
                  <c:v>45</c:v>
                </c:pt>
                <c:pt idx="5320">
                  <c:v>21</c:v>
                </c:pt>
                <c:pt idx="5321">
                  <c:v>49</c:v>
                </c:pt>
                <c:pt idx="5322">
                  <c:v>53</c:v>
                </c:pt>
                <c:pt idx="5323">
                  <c:v>30</c:v>
                </c:pt>
                <c:pt idx="5324">
                  <c:v>115</c:v>
                </c:pt>
                <c:pt idx="5325">
                  <c:v>61</c:v>
                </c:pt>
                <c:pt idx="5326">
                  <c:v>50</c:v>
                </c:pt>
                <c:pt idx="5327">
                  <c:v>32</c:v>
                </c:pt>
                <c:pt idx="5328">
                  <c:v>73</c:v>
                </c:pt>
                <c:pt idx="5329">
                  <c:v>37</c:v>
                </c:pt>
                <c:pt idx="5330">
                  <c:v>64</c:v>
                </c:pt>
                <c:pt idx="5331">
                  <c:v>68</c:v>
                </c:pt>
                <c:pt idx="5332">
                  <c:v>33</c:v>
                </c:pt>
                <c:pt idx="5333">
                  <c:v>28</c:v>
                </c:pt>
                <c:pt idx="5334">
                  <c:v>44</c:v>
                </c:pt>
                <c:pt idx="5335">
                  <c:v>0</c:v>
                </c:pt>
                <c:pt idx="5336">
                  <c:v>0</c:v>
                </c:pt>
                <c:pt idx="5337">
                  <c:v>130</c:v>
                </c:pt>
                <c:pt idx="5338">
                  <c:v>158</c:v>
                </c:pt>
                <c:pt idx="5339">
                  <c:v>34</c:v>
                </c:pt>
                <c:pt idx="5340">
                  <c:v>21</c:v>
                </c:pt>
                <c:pt idx="5341">
                  <c:v>92</c:v>
                </c:pt>
                <c:pt idx="5342">
                  <c:v>113</c:v>
                </c:pt>
                <c:pt idx="5343">
                  <c:v>43</c:v>
                </c:pt>
                <c:pt idx="5344">
                  <c:v>27</c:v>
                </c:pt>
                <c:pt idx="5345">
                  <c:v>59</c:v>
                </c:pt>
                <c:pt idx="5346">
                  <c:v>16</c:v>
                </c:pt>
                <c:pt idx="5347">
                  <c:v>27</c:v>
                </c:pt>
                <c:pt idx="5348">
                  <c:v>94</c:v>
                </c:pt>
                <c:pt idx="5349">
                  <c:v>60</c:v>
                </c:pt>
                <c:pt idx="5350">
                  <c:v>26</c:v>
                </c:pt>
                <c:pt idx="5351">
                  <c:v>22</c:v>
                </c:pt>
                <c:pt idx="5352">
                  <c:v>53</c:v>
                </c:pt>
                <c:pt idx="5353">
                  <c:v>44</c:v>
                </c:pt>
                <c:pt idx="5354">
                  <c:v>29</c:v>
                </c:pt>
                <c:pt idx="5355">
                  <c:v>19</c:v>
                </c:pt>
                <c:pt idx="5356">
                  <c:v>33</c:v>
                </c:pt>
                <c:pt idx="5357">
                  <c:v>23</c:v>
                </c:pt>
                <c:pt idx="5358">
                  <c:v>11</c:v>
                </c:pt>
                <c:pt idx="5359">
                  <c:v>26</c:v>
                </c:pt>
                <c:pt idx="5360">
                  <c:v>13</c:v>
                </c:pt>
                <c:pt idx="5361">
                  <c:v>9</c:v>
                </c:pt>
                <c:pt idx="5362">
                  <c:v>206</c:v>
                </c:pt>
                <c:pt idx="5363">
                  <c:v>227</c:v>
                </c:pt>
                <c:pt idx="5364">
                  <c:v>156</c:v>
                </c:pt>
                <c:pt idx="5365">
                  <c:v>181</c:v>
                </c:pt>
                <c:pt idx="5366">
                  <c:v>82</c:v>
                </c:pt>
                <c:pt idx="5367">
                  <c:v>46</c:v>
                </c:pt>
                <c:pt idx="5368">
                  <c:v>59</c:v>
                </c:pt>
                <c:pt idx="5369">
                  <c:v>38</c:v>
                </c:pt>
                <c:pt idx="5370">
                  <c:v>56</c:v>
                </c:pt>
                <c:pt idx="5371">
                  <c:v>52</c:v>
                </c:pt>
                <c:pt idx="5372">
                  <c:v>34</c:v>
                </c:pt>
                <c:pt idx="5373">
                  <c:v>113</c:v>
                </c:pt>
                <c:pt idx="5374">
                  <c:v>133</c:v>
                </c:pt>
                <c:pt idx="5375">
                  <c:v>12</c:v>
                </c:pt>
                <c:pt idx="5376">
                  <c:v>49</c:v>
                </c:pt>
                <c:pt idx="5377">
                  <c:v>31</c:v>
                </c:pt>
                <c:pt idx="5378">
                  <c:v>68</c:v>
                </c:pt>
                <c:pt idx="5379">
                  <c:v>39</c:v>
                </c:pt>
                <c:pt idx="5380">
                  <c:v>82</c:v>
                </c:pt>
                <c:pt idx="5381">
                  <c:v>56</c:v>
                </c:pt>
                <c:pt idx="5382">
                  <c:v>40</c:v>
                </c:pt>
                <c:pt idx="5383">
                  <c:v>68</c:v>
                </c:pt>
                <c:pt idx="5384">
                  <c:v>45</c:v>
                </c:pt>
                <c:pt idx="5385">
                  <c:v>41</c:v>
                </c:pt>
                <c:pt idx="5386">
                  <c:v>32</c:v>
                </c:pt>
                <c:pt idx="5387">
                  <c:v>37</c:v>
                </c:pt>
                <c:pt idx="5388">
                  <c:v>30</c:v>
                </c:pt>
                <c:pt idx="5389">
                  <c:v>43</c:v>
                </c:pt>
                <c:pt idx="5390">
                  <c:v>31</c:v>
                </c:pt>
                <c:pt idx="5391">
                  <c:v>3</c:v>
                </c:pt>
                <c:pt idx="5392">
                  <c:v>10</c:v>
                </c:pt>
                <c:pt idx="5393">
                  <c:v>68</c:v>
                </c:pt>
                <c:pt idx="5394">
                  <c:v>30</c:v>
                </c:pt>
                <c:pt idx="5395">
                  <c:v>23</c:v>
                </c:pt>
                <c:pt idx="5396">
                  <c:v>7</c:v>
                </c:pt>
                <c:pt idx="5397">
                  <c:v>20</c:v>
                </c:pt>
                <c:pt idx="5398">
                  <c:v>51</c:v>
                </c:pt>
                <c:pt idx="5399">
                  <c:v>37</c:v>
                </c:pt>
                <c:pt idx="5400">
                  <c:v>15</c:v>
                </c:pt>
                <c:pt idx="5401">
                  <c:v>40</c:v>
                </c:pt>
                <c:pt idx="5402">
                  <c:v>11</c:v>
                </c:pt>
                <c:pt idx="5403">
                  <c:v>11</c:v>
                </c:pt>
                <c:pt idx="5404">
                  <c:v>16</c:v>
                </c:pt>
                <c:pt idx="5405">
                  <c:v>2</c:v>
                </c:pt>
                <c:pt idx="5406">
                  <c:v>258</c:v>
                </c:pt>
                <c:pt idx="5407">
                  <c:v>204</c:v>
                </c:pt>
                <c:pt idx="5408">
                  <c:v>31</c:v>
                </c:pt>
                <c:pt idx="5409">
                  <c:v>94</c:v>
                </c:pt>
                <c:pt idx="5410">
                  <c:v>138</c:v>
                </c:pt>
                <c:pt idx="5411">
                  <c:v>422</c:v>
                </c:pt>
                <c:pt idx="5412">
                  <c:v>320</c:v>
                </c:pt>
                <c:pt idx="5413">
                  <c:v>928</c:v>
                </c:pt>
                <c:pt idx="5414">
                  <c:v>390</c:v>
                </c:pt>
                <c:pt idx="5415">
                  <c:v>964</c:v>
                </c:pt>
                <c:pt idx="5416">
                  <c:v>933</c:v>
                </c:pt>
                <c:pt idx="5417">
                  <c:v>601</c:v>
                </c:pt>
                <c:pt idx="5418">
                  <c:v>199</c:v>
                </c:pt>
                <c:pt idx="5419">
                  <c:v>520</c:v>
                </c:pt>
                <c:pt idx="5420">
                  <c:v>453</c:v>
                </c:pt>
                <c:pt idx="5421">
                  <c:v>1342</c:v>
                </c:pt>
                <c:pt idx="5422">
                  <c:v>302</c:v>
                </c:pt>
                <c:pt idx="5423">
                  <c:v>1316</c:v>
                </c:pt>
                <c:pt idx="5424">
                  <c:v>216</c:v>
                </c:pt>
                <c:pt idx="5425">
                  <c:v>741</c:v>
                </c:pt>
                <c:pt idx="5426">
                  <c:v>338</c:v>
                </c:pt>
                <c:pt idx="5427">
                  <c:v>278</c:v>
                </c:pt>
                <c:pt idx="5428">
                  <c:v>447</c:v>
                </c:pt>
                <c:pt idx="5429">
                  <c:v>457</c:v>
                </c:pt>
                <c:pt idx="5430">
                  <c:v>326</c:v>
                </c:pt>
                <c:pt idx="5431">
                  <c:v>286</c:v>
                </c:pt>
                <c:pt idx="5432">
                  <c:v>323</c:v>
                </c:pt>
                <c:pt idx="5433">
                  <c:v>246</c:v>
                </c:pt>
                <c:pt idx="5434">
                  <c:v>217</c:v>
                </c:pt>
                <c:pt idx="5435">
                  <c:v>603</c:v>
                </c:pt>
                <c:pt idx="5436">
                  <c:v>247</c:v>
                </c:pt>
                <c:pt idx="5437">
                  <c:v>139</c:v>
                </c:pt>
                <c:pt idx="5438">
                  <c:v>215</c:v>
                </c:pt>
                <c:pt idx="5439">
                  <c:v>143</c:v>
                </c:pt>
                <c:pt idx="5440">
                  <c:v>217</c:v>
                </c:pt>
                <c:pt idx="5441">
                  <c:v>115</c:v>
                </c:pt>
                <c:pt idx="5442">
                  <c:v>149</c:v>
                </c:pt>
                <c:pt idx="5443">
                  <c:v>302</c:v>
                </c:pt>
                <c:pt idx="5444">
                  <c:v>51</c:v>
                </c:pt>
                <c:pt idx="5445">
                  <c:v>48</c:v>
                </c:pt>
                <c:pt idx="5446">
                  <c:v>16</c:v>
                </c:pt>
                <c:pt idx="5447">
                  <c:v>3</c:v>
                </c:pt>
                <c:pt idx="5448">
                  <c:v>36</c:v>
                </c:pt>
                <c:pt idx="5449">
                  <c:v>180</c:v>
                </c:pt>
                <c:pt idx="5450">
                  <c:v>350</c:v>
                </c:pt>
                <c:pt idx="5451">
                  <c:v>95</c:v>
                </c:pt>
                <c:pt idx="5452">
                  <c:v>87</c:v>
                </c:pt>
                <c:pt idx="5453">
                  <c:v>577</c:v>
                </c:pt>
                <c:pt idx="5454">
                  <c:v>31</c:v>
                </c:pt>
                <c:pt idx="5455">
                  <c:v>575</c:v>
                </c:pt>
                <c:pt idx="5456">
                  <c:v>60</c:v>
                </c:pt>
                <c:pt idx="5457">
                  <c:v>251</c:v>
                </c:pt>
                <c:pt idx="5458">
                  <c:v>154</c:v>
                </c:pt>
                <c:pt idx="5459">
                  <c:v>441</c:v>
                </c:pt>
                <c:pt idx="5460">
                  <c:v>88</c:v>
                </c:pt>
                <c:pt idx="5461">
                  <c:v>509</c:v>
                </c:pt>
                <c:pt idx="5462">
                  <c:v>665</c:v>
                </c:pt>
                <c:pt idx="5463">
                  <c:v>22</c:v>
                </c:pt>
                <c:pt idx="5464">
                  <c:v>116</c:v>
                </c:pt>
                <c:pt idx="5465">
                  <c:v>529</c:v>
                </c:pt>
                <c:pt idx="5466">
                  <c:v>611</c:v>
                </c:pt>
                <c:pt idx="5467">
                  <c:v>58</c:v>
                </c:pt>
                <c:pt idx="5468">
                  <c:v>195</c:v>
                </c:pt>
                <c:pt idx="5469">
                  <c:v>155</c:v>
                </c:pt>
                <c:pt idx="5470">
                  <c:v>58</c:v>
                </c:pt>
                <c:pt idx="5471">
                  <c:v>63</c:v>
                </c:pt>
                <c:pt idx="5472">
                  <c:v>269</c:v>
                </c:pt>
                <c:pt idx="5473">
                  <c:v>128</c:v>
                </c:pt>
                <c:pt idx="5474">
                  <c:v>37</c:v>
                </c:pt>
                <c:pt idx="5475">
                  <c:v>17</c:v>
                </c:pt>
                <c:pt idx="5476">
                  <c:v>859</c:v>
                </c:pt>
                <c:pt idx="5477">
                  <c:v>216</c:v>
                </c:pt>
                <c:pt idx="5478">
                  <c:v>352</c:v>
                </c:pt>
                <c:pt idx="5479">
                  <c:v>283</c:v>
                </c:pt>
                <c:pt idx="5480">
                  <c:v>144</c:v>
                </c:pt>
                <c:pt idx="5481">
                  <c:v>312</c:v>
                </c:pt>
                <c:pt idx="5482">
                  <c:v>462</c:v>
                </c:pt>
                <c:pt idx="5483">
                  <c:v>135</c:v>
                </c:pt>
                <c:pt idx="5484">
                  <c:v>224</c:v>
                </c:pt>
                <c:pt idx="5485">
                  <c:v>398</c:v>
                </c:pt>
                <c:pt idx="5486">
                  <c:v>365</c:v>
                </c:pt>
                <c:pt idx="5487">
                  <c:v>1010</c:v>
                </c:pt>
                <c:pt idx="5488">
                  <c:v>484</c:v>
                </c:pt>
                <c:pt idx="5489">
                  <c:v>513</c:v>
                </c:pt>
                <c:pt idx="5490">
                  <c:v>89</c:v>
                </c:pt>
                <c:pt idx="5491">
                  <c:v>568</c:v>
                </c:pt>
                <c:pt idx="5492">
                  <c:v>1564</c:v>
                </c:pt>
                <c:pt idx="5493">
                  <c:v>91</c:v>
                </c:pt>
                <c:pt idx="5494">
                  <c:v>110</c:v>
                </c:pt>
                <c:pt idx="5495">
                  <c:v>40</c:v>
                </c:pt>
                <c:pt idx="5496">
                  <c:v>66</c:v>
                </c:pt>
                <c:pt idx="5497">
                  <c:v>309</c:v>
                </c:pt>
                <c:pt idx="5498">
                  <c:v>135</c:v>
                </c:pt>
                <c:pt idx="5499">
                  <c:v>409</c:v>
                </c:pt>
                <c:pt idx="5500">
                  <c:v>1010</c:v>
                </c:pt>
                <c:pt idx="5501">
                  <c:v>95</c:v>
                </c:pt>
                <c:pt idx="5502">
                  <c:v>114</c:v>
                </c:pt>
                <c:pt idx="5503">
                  <c:v>106</c:v>
                </c:pt>
                <c:pt idx="5504">
                  <c:v>115</c:v>
                </c:pt>
                <c:pt idx="5505">
                  <c:v>68</c:v>
                </c:pt>
                <c:pt idx="5506">
                  <c:v>363</c:v>
                </c:pt>
                <c:pt idx="5507">
                  <c:v>58</c:v>
                </c:pt>
                <c:pt idx="5508">
                  <c:v>117</c:v>
                </c:pt>
                <c:pt idx="5509">
                  <c:v>241</c:v>
                </c:pt>
                <c:pt idx="5510">
                  <c:v>266</c:v>
                </c:pt>
                <c:pt idx="5511">
                  <c:v>49</c:v>
                </c:pt>
                <c:pt idx="5512">
                  <c:v>463</c:v>
                </c:pt>
                <c:pt idx="5513">
                  <c:v>522</c:v>
                </c:pt>
                <c:pt idx="5514">
                  <c:v>310</c:v>
                </c:pt>
                <c:pt idx="5515">
                  <c:v>322</c:v>
                </c:pt>
                <c:pt idx="5516">
                  <c:v>176</c:v>
                </c:pt>
                <c:pt idx="5517">
                  <c:v>158</c:v>
                </c:pt>
                <c:pt idx="5518">
                  <c:v>557</c:v>
                </c:pt>
                <c:pt idx="5519">
                  <c:v>125</c:v>
                </c:pt>
                <c:pt idx="5520">
                  <c:v>303</c:v>
                </c:pt>
                <c:pt idx="5521">
                  <c:v>337</c:v>
                </c:pt>
                <c:pt idx="5522">
                  <c:v>184</c:v>
                </c:pt>
                <c:pt idx="5523">
                  <c:v>248</c:v>
                </c:pt>
                <c:pt idx="5524">
                  <c:v>65</c:v>
                </c:pt>
                <c:pt idx="5525">
                  <c:v>227</c:v>
                </c:pt>
                <c:pt idx="5526">
                  <c:v>123</c:v>
                </c:pt>
                <c:pt idx="5527">
                  <c:v>26</c:v>
                </c:pt>
                <c:pt idx="5528">
                  <c:v>246</c:v>
                </c:pt>
                <c:pt idx="5529">
                  <c:v>223</c:v>
                </c:pt>
                <c:pt idx="5530">
                  <c:v>192</c:v>
                </c:pt>
                <c:pt idx="5531">
                  <c:v>122</c:v>
                </c:pt>
                <c:pt idx="5532">
                  <c:v>35</c:v>
                </c:pt>
                <c:pt idx="5533">
                  <c:v>2327</c:v>
                </c:pt>
                <c:pt idx="5534">
                  <c:v>1661</c:v>
                </c:pt>
                <c:pt idx="5535">
                  <c:v>1348</c:v>
                </c:pt>
                <c:pt idx="5536">
                  <c:v>992</c:v>
                </c:pt>
                <c:pt idx="5537">
                  <c:v>801</c:v>
                </c:pt>
                <c:pt idx="5538">
                  <c:v>184</c:v>
                </c:pt>
                <c:pt idx="5539">
                  <c:v>559</c:v>
                </c:pt>
                <c:pt idx="5540">
                  <c:v>573</c:v>
                </c:pt>
                <c:pt idx="5541">
                  <c:v>845</c:v>
                </c:pt>
                <c:pt idx="5542">
                  <c:v>766</c:v>
                </c:pt>
                <c:pt idx="5543">
                  <c:v>162</c:v>
                </c:pt>
                <c:pt idx="5544">
                  <c:v>189</c:v>
                </c:pt>
                <c:pt idx="5545">
                  <c:v>249</c:v>
                </c:pt>
                <c:pt idx="5546">
                  <c:v>200</c:v>
                </c:pt>
                <c:pt idx="5547">
                  <c:v>150</c:v>
                </c:pt>
                <c:pt idx="5548">
                  <c:v>170</c:v>
                </c:pt>
                <c:pt idx="5549">
                  <c:v>263</c:v>
                </c:pt>
                <c:pt idx="5550">
                  <c:v>263</c:v>
                </c:pt>
                <c:pt idx="5551">
                  <c:v>81</c:v>
                </c:pt>
                <c:pt idx="5552">
                  <c:v>601</c:v>
                </c:pt>
                <c:pt idx="5553">
                  <c:v>258</c:v>
                </c:pt>
                <c:pt idx="5554">
                  <c:v>245</c:v>
                </c:pt>
                <c:pt idx="5555">
                  <c:v>373</c:v>
                </c:pt>
                <c:pt idx="5556">
                  <c:v>381</c:v>
                </c:pt>
                <c:pt idx="5557">
                  <c:v>408</c:v>
                </c:pt>
                <c:pt idx="5558">
                  <c:v>177</c:v>
                </c:pt>
                <c:pt idx="5559">
                  <c:v>355</c:v>
                </c:pt>
                <c:pt idx="5560">
                  <c:v>371</c:v>
                </c:pt>
                <c:pt idx="5561">
                  <c:v>116</c:v>
                </c:pt>
                <c:pt idx="5562">
                  <c:v>176</c:v>
                </c:pt>
                <c:pt idx="5563">
                  <c:v>117</c:v>
                </c:pt>
                <c:pt idx="5564">
                  <c:v>215</c:v>
                </c:pt>
                <c:pt idx="5565">
                  <c:v>146</c:v>
                </c:pt>
                <c:pt idx="5566">
                  <c:v>126</c:v>
                </c:pt>
                <c:pt idx="5567">
                  <c:v>157</c:v>
                </c:pt>
                <c:pt idx="5568">
                  <c:v>56</c:v>
                </c:pt>
                <c:pt idx="5569">
                  <c:v>226</c:v>
                </c:pt>
                <c:pt idx="5570">
                  <c:v>184</c:v>
                </c:pt>
                <c:pt idx="5571">
                  <c:v>130</c:v>
                </c:pt>
                <c:pt idx="5572">
                  <c:v>140</c:v>
                </c:pt>
                <c:pt idx="5573">
                  <c:v>179</c:v>
                </c:pt>
                <c:pt idx="5574">
                  <c:v>47</c:v>
                </c:pt>
                <c:pt idx="5575">
                  <c:v>63</c:v>
                </c:pt>
                <c:pt idx="5576">
                  <c:v>176</c:v>
                </c:pt>
                <c:pt idx="5577">
                  <c:v>240</c:v>
                </c:pt>
                <c:pt idx="5578">
                  <c:v>127</c:v>
                </c:pt>
                <c:pt idx="5579">
                  <c:v>156</c:v>
                </c:pt>
                <c:pt idx="5580">
                  <c:v>255</c:v>
                </c:pt>
                <c:pt idx="5581">
                  <c:v>127</c:v>
                </c:pt>
                <c:pt idx="5582">
                  <c:v>76</c:v>
                </c:pt>
                <c:pt idx="5583">
                  <c:v>143</c:v>
                </c:pt>
                <c:pt idx="5584">
                  <c:v>95</c:v>
                </c:pt>
                <c:pt idx="5585">
                  <c:v>231</c:v>
                </c:pt>
                <c:pt idx="5586">
                  <c:v>100</c:v>
                </c:pt>
                <c:pt idx="5587">
                  <c:v>90</c:v>
                </c:pt>
                <c:pt idx="5588">
                  <c:v>135</c:v>
                </c:pt>
                <c:pt idx="5589">
                  <c:v>148</c:v>
                </c:pt>
                <c:pt idx="5590">
                  <c:v>80</c:v>
                </c:pt>
                <c:pt idx="5591">
                  <c:v>75</c:v>
                </c:pt>
                <c:pt idx="5592">
                  <c:v>76</c:v>
                </c:pt>
                <c:pt idx="5593">
                  <c:v>95</c:v>
                </c:pt>
                <c:pt idx="5594">
                  <c:v>50</c:v>
                </c:pt>
                <c:pt idx="5595">
                  <c:v>99</c:v>
                </c:pt>
                <c:pt idx="5596">
                  <c:v>88</c:v>
                </c:pt>
                <c:pt idx="5597">
                  <c:v>61</c:v>
                </c:pt>
                <c:pt idx="5598">
                  <c:v>180</c:v>
                </c:pt>
                <c:pt idx="5599">
                  <c:v>58</c:v>
                </c:pt>
                <c:pt idx="5600">
                  <c:v>71</c:v>
                </c:pt>
                <c:pt idx="5601">
                  <c:v>70</c:v>
                </c:pt>
                <c:pt idx="5602">
                  <c:v>184</c:v>
                </c:pt>
                <c:pt idx="5603">
                  <c:v>25</c:v>
                </c:pt>
                <c:pt idx="5604">
                  <c:v>105</c:v>
                </c:pt>
                <c:pt idx="5605">
                  <c:v>431</c:v>
                </c:pt>
                <c:pt idx="5606">
                  <c:v>478</c:v>
                </c:pt>
                <c:pt idx="5607">
                  <c:v>76</c:v>
                </c:pt>
                <c:pt idx="5608">
                  <c:v>47</c:v>
                </c:pt>
                <c:pt idx="5609">
                  <c:v>48</c:v>
                </c:pt>
                <c:pt idx="5610">
                  <c:v>73</c:v>
                </c:pt>
                <c:pt idx="5611">
                  <c:v>129</c:v>
                </c:pt>
                <c:pt idx="5612">
                  <c:v>296</c:v>
                </c:pt>
                <c:pt idx="5613">
                  <c:v>37</c:v>
                </c:pt>
                <c:pt idx="5614">
                  <c:v>51</c:v>
                </c:pt>
                <c:pt idx="5615">
                  <c:v>61</c:v>
                </c:pt>
                <c:pt idx="5616">
                  <c:v>109</c:v>
                </c:pt>
                <c:pt idx="5617">
                  <c:v>182</c:v>
                </c:pt>
                <c:pt idx="5618">
                  <c:v>115</c:v>
                </c:pt>
                <c:pt idx="5619">
                  <c:v>115</c:v>
                </c:pt>
                <c:pt idx="5620">
                  <c:v>181</c:v>
                </c:pt>
                <c:pt idx="5621">
                  <c:v>61</c:v>
                </c:pt>
                <c:pt idx="5622">
                  <c:v>60</c:v>
                </c:pt>
                <c:pt idx="5623">
                  <c:v>81</c:v>
                </c:pt>
                <c:pt idx="5624">
                  <c:v>99</c:v>
                </c:pt>
                <c:pt idx="5625">
                  <c:v>55</c:v>
                </c:pt>
                <c:pt idx="5626">
                  <c:v>64</c:v>
                </c:pt>
                <c:pt idx="5627">
                  <c:v>63</c:v>
                </c:pt>
                <c:pt idx="5628">
                  <c:v>96</c:v>
                </c:pt>
                <c:pt idx="5629">
                  <c:v>77</c:v>
                </c:pt>
                <c:pt idx="5630">
                  <c:v>492</c:v>
                </c:pt>
                <c:pt idx="5631">
                  <c:v>344</c:v>
                </c:pt>
                <c:pt idx="5632">
                  <c:v>3083</c:v>
                </c:pt>
                <c:pt idx="5633">
                  <c:v>1247</c:v>
                </c:pt>
                <c:pt idx="5634">
                  <c:v>793</c:v>
                </c:pt>
                <c:pt idx="5635">
                  <c:v>943</c:v>
                </c:pt>
                <c:pt idx="5636">
                  <c:v>499</c:v>
                </c:pt>
                <c:pt idx="5637">
                  <c:v>517</c:v>
                </c:pt>
                <c:pt idx="5638">
                  <c:v>653</c:v>
                </c:pt>
                <c:pt idx="5639">
                  <c:v>265</c:v>
                </c:pt>
                <c:pt idx="5640">
                  <c:v>613</c:v>
                </c:pt>
                <c:pt idx="5641">
                  <c:v>322</c:v>
                </c:pt>
                <c:pt idx="5642">
                  <c:v>313</c:v>
                </c:pt>
                <c:pt idx="5643">
                  <c:v>1285</c:v>
                </c:pt>
                <c:pt idx="5644">
                  <c:v>284</c:v>
                </c:pt>
                <c:pt idx="5645">
                  <c:v>809</c:v>
                </c:pt>
                <c:pt idx="5646">
                  <c:v>274</c:v>
                </c:pt>
                <c:pt idx="5647">
                  <c:v>497</c:v>
                </c:pt>
                <c:pt idx="5648">
                  <c:v>810</c:v>
                </c:pt>
                <c:pt idx="5649">
                  <c:v>341</c:v>
                </c:pt>
                <c:pt idx="5650">
                  <c:v>234</c:v>
                </c:pt>
                <c:pt idx="5651">
                  <c:v>499</c:v>
                </c:pt>
                <c:pt idx="5652">
                  <c:v>299</c:v>
                </c:pt>
                <c:pt idx="5653">
                  <c:v>318</c:v>
                </c:pt>
                <c:pt idx="5654">
                  <c:v>777</c:v>
                </c:pt>
                <c:pt idx="5655">
                  <c:v>394</c:v>
                </c:pt>
                <c:pt idx="5656">
                  <c:v>426</c:v>
                </c:pt>
                <c:pt idx="5657">
                  <c:v>286</c:v>
                </c:pt>
                <c:pt idx="5658">
                  <c:v>587</c:v>
                </c:pt>
                <c:pt idx="5659">
                  <c:v>527</c:v>
                </c:pt>
                <c:pt idx="5660">
                  <c:v>413</c:v>
                </c:pt>
                <c:pt idx="5661">
                  <c:v>399</c:v>
                </c:pt>
                <c:pt idx="5662">
                  <c:v>355</c:v>
                </c:pt>
                <c:pt idx="5663">
                  <c:v>728</c:v>
                </c:pt>
                <c:pt idx="5664">
                  <c:v>574</c:v>
                </c:pt>
                <c:pt idx="5665">
                  <c:v>364</c:v>
                </c:pt>
                <c:pt idx="5666">
                  <c:v>706</c:v>
                </c:pt>
                <c:pt idx="5667">
                  <c:v>439</c:v>
                </c:pt>
                <c:pt idx="5668">
                  <c:v>783</c:v>
                </c:pt>
                <c:pt idx="5669">
                  <c:v>547</c:v>
                </c:pt>
                <c:pt idx="5670">
                  <c:v>471</c:v>
                </c:pt>
                <c:pt idx="5671">
                  <c:v>204</c:v>
                </c:pt>
                <c:pt idx="5672">
                  <c:v>184</c:v>
                </c:pt>
                <c:pt idx="5673">
                  <c:v>116</c:v>
                </c:pt>
                <c:pt idx="5674">
                  <c:v>213</c:v>
                </c:pt>
                <c:pt idx="5675">
                  <c:v>176</c:v>
                </c:pt>
                <c:pt idx="5676">
                  <c:v>647</c:v>
                </c:pt>
                <c:pt idx="5677">
                  <c:v>272</c:v>
                </c:pt>
                <c:pt idx="5678">
                  <c:v>223</c:v>
                </c:pt>
                <c:pt idx="5679">
                  <c:v>628</c:v>
                </c:pt>
                <c:pt idx="5680">
                  <c:v>470</c:v>
                </c:pt>
                <c:pt idx="5681">
                  <c:v>335</c:v>
                </c:pt>
                <c:pt idx="5682">
                  <c:v>401</c:v>
                </c:pt>
                <c:pt idx="5683">
                  <c:v>117</c:v>
                </c:pt>
                <c:pt idx="5684">
                  <c:v>228</c:v>
                </c:pt>
                <c:pt idx="5685">
                  <c:v>357</c:v>
                </c:pt>
                <c:pt idx="5686">
                  <c:v>434</c:v>
                </c:pt>
                <c:pt idx="5687">
                  <c:v>259</c:v>
                </c:pt>
                <c:pt idx="5688">
                  <c:v>770</c:v>
                </c:pt>
                <c:pt idx="5689">
                  <c:v>273</c:v>
                </c:pt>
                <c:pt idx="5690">
                  <c:v>288</c:v>
                </c:pt>
                <c:pt idx="5691">
                  <c:v>243</c:v>
                </c:pt>
                <c:pt idx="5692">
                  <c:v>315</c:v>
                </c:pt>
                <c:pt idx="5693">
                  <c:v>222</c:v>
                </c:pt>
                <c:pt idx="5694">
                  <c:v>494</c:v>
                </c:pt>
                <c:pt idx="5695">
                  <c:v>231</c:v>
                </c:pt>
                <c:pt idx="5696">
                  <c:v>147</c:v>
                </c:pt>
                <c:pt idx="5697">
                  <c:v>401</c:v>
                </c:pt>
                <c:pt idx="5698">
                  <c:v>183</c:v>
                </c:pt>
                <c:pt idx="5699">
                  <c:v>199</c:v>
                </c:pt>
                <c:pt idx="5700">
                  <c:v>357</c:v>
                </c:pt>
                <c:pt idx="5701">
                  <c:v>235</c:v>
                </c:pt>
                <c:pt idx="5702">
                  <c:v>378</c:v>
                </c:pt>
                <c:pt idx="5703">
                  <c:v>372</c:v>
                </c:pt>
                <c:pt idx="5704">
                  <c:v>127</c:v>
                </c:pt>
                <c:pt idx="5705">
                  <c:v>199</c:v>
                </c:pt>
                <c:pt idx="5706">
                  <c:v>112</c:v>
                </c:pt>
                <c:pt idx="5707">
                  <c:v>482</c:v>
                </c:pt>
                <c:pt idx="5708">
                  <c:v>166</c:v>
                </c:pt>
                <c:pt idx="5709">
                  <c:v>219</c:v>
                </c:pt>
                <c:pt idx="5710">
                  <c:v>308</c:v>
                </c:pt>
                <c:pt idx="5711">
                  <c:v>586</c:v>
                </c:pt>
                <c:pt idx="5712">
                  <c:v>999</c:v>
                </c:pt>
                <c:pt idx="5713">
                  <c:v>173</c:v>
                </c:pt>
                <c:pt idx="5714">
                  <c:v>983</c:v>
                </c:pt>
                <c:pt idx="5715">
                  <c:v>513</c:v>
                </c:pt>
                <c:pt idx="5716">
                  <c:v>2379</c:v>
                </c:pt>
                <c:pt idx="5717">
                  <c:v>933</c:v>
                </c:pt>
                <c:pt idx="5718">
                  <c:v>219</c:v>
                </c:pt>
                <c:pt idx="5719">
                  <c:v>1549</c:v>
                </c:pt>
                <c:pt idx="5720">
                  <c:v>552</c:v>
                </c:pt>
                <c:pt idx="5721">
                  <c:v>2461</c:v>
                </c:pt>
                <c:pt idx="5722">
                  <c:v>718</c:v>
                </c:pt>
                <c:pt idx="5723">
                  <c:v>1481</c:v>
                </c:pt>
                <c:pt idx="5724">
                  <c:v>593</c:v>
                </c:pt>
                <c:pt idx="5725">
                  <c:v>1788</c:v>
                </c:pt>
                <c:pt idx="5726">
                  <c:v>386</c:v>
                </c:pt>
                <c:pt idx="5727">
                  <c:v>1234</c:v>
                </c:pt>
                <c:pt idx="5728">
                  <c:v>656</c:v>
                </c:pt>
                <c:pt idx="5729">
                  <c:v>801</c:v>
                </c:pt>
                <c:pt idx="5730">
                  <c:v>1367</c:v>
                </c:pt>
                <c:pt idx="5731">
                  <c:v>1255</c:v>
                </c:pt>
                <c:pt idx="5732">
                  <c:v>285</c:v>
                </c:pt>
                <c:pt idx="5733">
                  <c:v>723</c:v>
                </c:pt>
                <c:pt idx="5734">
                  <c:v>1046</c:v>
                </c:pt>
                <c:pt idx="5735">
                  <c:v>1316</c:v>
                </c:pt>
                <c:pt idx="5736">
                  <c:v>533</c:v>
                </c:pt>
                <c:pt idx="5737">
                  <c:v>490</c:v>
                </c:pt>
                <c:pt idx="5738">
                  <c:v>852</c:v>
                </c:pt>
                <c:pt idx="5739">
                  <c:v>886</c:v>
                </c:pt>
                <c:pt idx="5740">
                  <c:v>871</c:v>
                </c:pt>
                <c:pt idx="5741">
                  <c:v>635</c:v>
                </c:pt>
                <c:pt idx="5742">
                  <c:v>858</c:v>
                </c:pt>
                <c:pt idx="5743">
                  <c:v>301</c:v>
                </c:pt>
                <c:pt idx="5744">
                  <c:v>625</c:v>
                </c:pt>
                <c:pt idx="5745">
                  <c:v>607</c:v>
                </c:pt>
                <c:pt idx="5746">
                  <c:v>361</c:v>
                </c:pt>
                <c:pt idx="5747">
                  <c:v>462</c:v>
                </c:pt>
                <c:pt idx="5748">
                  <c:v>849</c:v>
                </c:pt>
                <c:pt idx="5749">
                  <c:v>595</c:v>
                </c:pt>
                <c:pt idx="5750">
                  <c:v>290</c:v>
                </c:pt>
                <c:pt idx="5751">
                  <c:v>205</c:v>
                </c:pt>
                <c:pt idx="5752">
                  <c:v>706</c:v>
                </c:pt>
                <c:pt idx="5753">
                  <c:v>331</c:v>
                </c:pt>
                <c:pt idx="5754">
                  <c:v>1904</c:v>
                </c:pt>
                <c:pt idx="5755">
                  <c:v>1195</c:v>
                </c:pt>
                <c:pt idx="5756">
                  <c:v>617</c:v>
                </c:pt>
                <c:pt idx="5757">
                  <c:v>823</c:v>
                </c:pt>
                <c:pt idx="5758">
                  <c:v>235</c:v>
                </c:pt>
                <c:pt idx="5759">
                  <c:v>328</c:v>
                </c:pt>
                <c:pt idx="5760">
                  <c:v>812</c:v>
                </c:pt>
                <c:pt idx="5761">
                  <c:v>998</c:v>
                </c:pt>
                <c:pt idx="5762">
                  <c:v>469</c:v>
                </c:pt>
                <c:pt idx="5763">
                  <c:v>215</c:v>
                </c:pt>
                <c:pt idx="5764">
                  <c:v>249</c:v>
                </c:pt>
                <c:pt idx="5765">
                  <c:v>264</c:v>
                </c:pt>
                <c:pt idx="5766">
                  <c:v>882</c:v>
                </c:pt>
                <c:pt idx="5767">
                  <c:v>304</c:v>
                </c:pt>
                <c:pt idx="5768">
                  <c:v>184</c:v>
                </c:pt>
                <c:pt idx="5769">
                  <c:v>491</c:v>
                </c:pt>
                <c:pt idx="5770">
                  <c:v>125</c:v>
                </c:pt>
                <c:pt idx="5771">
                  <c:v>692</c:v>
                </c:pt>
                <c:pt idx="5772">
                  <c:v>468</c:v>
                </c:pt>
                <c:pt idx="5773">
                  <c:v>155</c:v>
                </c:pt>
                <c:pt idx="5774">
                  <c:v>354</c:v>
                </c:pt>
                <c:pt idx="5775">
                  <c:v>274</c:v>
                </c:pt>
                <c:pt idx="5776">
                  <c:v>332</c:v>
                </c:pt>
                <c:pt idx="5777">
                  <c:v>179</c:v>
                </c:pt>
                <c:pt idx="5778">
                  <c:v>130</c:v>
                </c:pt>
                <c:pt idx="5779">
                  <c:v>134</c:v>
                </c:pt>
                <c:pt idx="5780">
                  <c:v>15</c:v>
                </c:pt>
                <c:pt idx="5781">
                  <c:v>122</c:v>
                </c:pt>
                <c:pt idx="5782">
                  <c:v>484</c:v>
                </c:pt>
                <c:pt idx="5783">
                  <c:v>30</c:v>
                </c:pt>
                <c:pt idx="5784">
                  <c:v>41</c:v>
                </c:pt>
                <c:pt idx="5785">
                  <c:v>62</c:v>
                </c:pt>
                <c:pt idx="5786">
                  <c:v>50</c:v>
                </c:pt>
                <c:pt idx="5787">
                  <c:v>78</c:v>
                </c:pt>
                <c:pt idx="5788">
                  <c:v>75</c:v>
                </c:pt>
                <c:pt idx="5789">
                  <c:v>35</c:v>
                </c:pt>
                <c:pt idx="5790">
                  <c:v>50</c:v>
                </c:pt>
                <c:pt idx="5791">
                  <c:v>24</c:v>
                </c:pt>
                <c:pt idx="5792">
                  <c:v>30</c:v>
                </c:pt>
                <c:pt idx="5793">
                  <c:v>71</c:v>
                </c:pt>
                <c:pt idx="5794">
                  <c:v>52</c:v>
                </c:pt>
                <c:pt idx="5795">
                  <c:v>34</c:v>
                </c:pt>
                <c:pt idx="5796">
                  <c:v>51</c:v>
                </c:pt>
                <c:pt idx="5797">
                  <c:v>26</c:v>
                </c:pt>
                <c:pt idx="5798">
                  <c:v>12</c:v>
                </c:pt>
                <c:pt idx="5799">
                  <c:v>14</c:v>
                </c:pt>
                <c:pt idx="5800">
                  <c:v>23</c:v>
                </c:pt>
                <c:pt idx="5801">
                  <c:v>15</c:v>
                </c:pt>
                <c:pt idx="5802">
                  <c:v>44</c:v>
                </c:pt>
                <c:pt idx="5803">
                  <c:v>17</c:v>
                </c:pt>
                <c:pt idx="5804">
                  <c:v>33</c:v>
                </c:pt>
                <c:pt idx="5805">
                  <c:v>14</c:v>
                </c:pt>
                <c:pt idx="5806">
                  <c:v>40</c:v>
                </c:pt>
                <c:pt idx="5807">
                  <c:v>24</c:v>
                </c:pt>
                <c:pt idx="5808">
                  <c:v>3</c:v>
                </c:pt>
                <c:pt idx="5809">
                  <c:v>6</c:v>
                </c:pt>
                <c:pt idx="5810">
                  <c:v>7</c:v>
                </c:pt>
                <c:pt idx="5811">
                  <c:v>42</c:v>
                </c:pt>
                <c:pt idx="5812">
                  <c:v>8</c:v>
                </c:pt>
                <c:pt idx="5813">
                  <c:v>6</c:v>
                </c:pt>
                <c:pt idx="5814">
                  <c:v>2</c:v>
                </c:pt>
                <c:pt idx="5815">
                  <c:v>2</c:v>
                </c:pt>
                <c:pt idx="5816">
                  <c:v>13</c:v>
                </c:pt>
                <c:pt idx="5817">
                  <c:v>13</c:v>
                </c:pt>
                <c:pt idx="5818">
                  <c:v>2</c:v>
                </c:pt>
                <c:pt idx="5819">
                  <c:v>313</c:v>
                </c:pt>
                <c:pt idx="5820">
                  <c:v>1298</c:v>
                </c:pt>
                <c:pt idx="5821">
                  <c:v>1142</c:v>
                </c:pt>
                <c:pt idx="5822">
                  <c:v>1683</c:v>
                </c:pt>
                <c:pt idx="5823">
                  <c:v>447</c:v>
                </c:pt>
                <c:pt idx="5824">
                  <c:v>854</c:v>
                </c:pt>
                <c:pt idx="5825">
                  <c:v>191</c:v>
                </c:pt>
                <c:pt idx="5826">
                  <c:v>980</c:v>
                </c:pt>
                <c:pt idx="5827">
                  <c:v>924</c:v>
                </c:pt>
                <c:pt idx="5828">
                  <c:v>1222</c:v>
                </c:pt>
                <c:pt idx="5829">
                  <c:v>760</c:v>
                </c:pt>
                <c:pt idx="5830">
                  <c:v>1852</c:v>
                </c:pt>
                <c:pt idx="5831">
                  <c:v>989</c:v>
                </c:pt>
                <c:pt idx="5832">
                  <c:v>1097</c:v>
                </c:pt>
                <c:pt idx="5833">
                  <c:v>1462</c:v>
                </c:pt>
                <c:pt idx="5834">
                  <c:v>1283</c:v>
                </c:pt>
                <c:pt idx="5835">
                  <c:v>1249</c:v>
                </c:pt>
                <c:pt idx="5836">
                  <c:v>1312</c:v>
                </c:pt>
                <c:pt idx="5837">
                  <c:v>159</c:v>
                </c:pt>
                <c:pt idx="5838">
                  <c:v>339</c:v>
                </c:pt>
                <c:pt idx="5839">
                  <c:v>1706</c:v>
                </c:pt>
                <c:pt idx="5840">
                  <c:v>723</c:v>
                </c:pt>
                <c:pt idx="5841">
                  <c:v>1433</c:v>
                </c:pt>
                <c:pt idx="5842">
                  <c:v>515</c:v>
                </c:pt>
                <c:pt idx="5843">
                  <c:v>984</c:v>
                </c:pt>
                <c:pt idx="5844">
                  <c:v>934</c:v>
                </c:pt>
                <c:pt idx="5845">
                  <c:v>1753</c:v>
                </c:pt>
                <c:pt idx="5846">
                  <c:v>1489</c:v>
                </c:pt>
                <c:pt idx="5847">
                  <c:v>1207</c:v>
                </c:pt>
                <c:pt idx="5848">
                  <c:v>1677</c:v>
                </c:pt>
                <c:pt idx="5849">
                  <c:v>1053</c:v>
                </c:pt>
                <c:pt idx="5850">
                  <c:v>1317</c:v>
                </c:pt>
                <c:pt idx="5851">
                  <c:v>977</c:v>
                </c:pt>
                <c:pt idx="5852">
                  <c:v>1484</c:v>
                </c:pt>
                <c:pt idx="5853">
                  <c:v>208</c:v>
                </c:pt>
                <c:pt idx="5854">
                  <c:v>1160</c:v>
                </c:pt>
                <c:pt idx="5855">
                  <c:v>1055</c:v>
                </c:pt>
                <c:pt idx="5856">
                  <c:v>1056</c:v>
                </c:pt>
                <c:pt idx="5857">
                  <c:v>816</c:v>
                </c:pt>
                <c:pt idx="5858">
                  <c:v>1090</c:v>
                </c:pt>
                <c:pt idx="5859">
                  <c:v>1077</c:v>
                </c:pt>
                <c:pt idx="5860">
                  <c:v>1368</c:v>
                </c:pt>
                <c:pt idx="5861">
                  <c:v>1798</c:v>
                </c:pt>
                <c:pt idx="5862">
                  <c:v>1386</c:v>
                </c:pt>
                <c:pt idx="5863">
                  <c:v>1002</c:v>
                </c:pt>
                <c:pt idx="5864">
                  <c:v>484</c:v>
                </c:pt>
                <c:pt idx="5865">
                  <c:v>905</c:v>
                </c:pt>
                <c:pt idx="5866">
                  <c:v>1070</c:v>
                </c:pt>
                <c:pt idx="5867">
                  <c:v>827</c:v>
                </c:pt>
                <c:pt idx="5868">
                  <c:v>765</c:v>
                </c:pt>
                <c:pt idx="5869">
                  <c:v>471</c:v>
                </c:pt>
                <c:pt idx="5870">
                  <c:v>488</c:v>
                </c:pt>
                <c:pt idx="5871">
                  <c:v>129</c:v>
                </c:pt>
                <c:pt idx="5872">
                  <c:v>111</c:v>
                </c:pt>
                <c:pt idx="5873">
                  <c:v>107</c:v>
                </c:pt>
                <c:pt idx="5874">
                  <c:v>16</c:v>
                </c:pt>
                <c:pt idx="5875">
                  <c:v>127</c:v>
                </c:pt>
                <c:pt idx="5876">
                  <c:v>49</c:v>
                </c:pt>
                <c:pt idx="5877">
                  <c:v>50</c:v>
                </c:pt>
                <c:pt idx="5878">
                  <c:v>2</c:v>
                </c:pt>
                <c:pt idx="5879">
                  <c:v>41</c:v>
                </c:pt>
                <c:pt idx="5880">
                  <c:v>25</c:v>
                </c:pt>
                <c:pt idx="5881">
                  <c:v>82</c:v>
                </c:pt>
                <c:pt idx="5882">
                  <c:v>116</c:v>
                </c:pt>
                <c:pt idx="5883">
                  <c:v>118</c:v>
                </c:pt>
                <c:pt idx="5884">
                  <c:v>7</c:v>
                </c:pt>
                <c:pt idx="5885">
                  <c:v>19</c:v>
                </c:pt>
                <c:pt idx="5886">
                  <c:v>2</c:v>
                </c:pt>
                <c:pt idx="5887">
                  <c:v>10</c:v>
                </c:pt>
                <c:pt idx="5888">
                  <c:v>34</c:v>
                </c:pt>
                <c:pt idx="5889">
                  <c:v>26</c:v>
                </c:pt>
                <c:pt idx="5890">
                  <c:v>24</c:v>
                </c:pt>
                <c:pt idx="5891">
                  <c:v>30</c:v>
                </c:pt>
                <c:pt idx="5892">
                  <c:v>31</c:v>
                </c:pt>
                <c:pt idx="5893">
                  <c:v>34</c:v>
                </c:pt>
                <c:pt idx="5894">
                  <c:v>15</c:v>
                </c:pt>
                <c:pt idx="5895">
                  <c:v>12</c:v>
                </c:pt>
                <c:pt idx="5896">
                  <c:v>2</c:v>
                </c:pt>
                <c:pt idx="5897">
                  <c:v>33</c:v>
                </c:pt>
                <c:pt idx="5898">
                  <c:v>1</c:v>
                </c:pt>
                <c:pt idx="5899">
                  <c:v>18</c:v>
                </c:pt>
                <c:pt idx="5900">
                  <c:v>5</c:v>
                </c:pt>
                <c:pt idx="5901">
                  <c:v>4</c:v>
                </c:pt>
                <c:pt idx="5902">
                  <c:v>38</c:v>
                </c:pt>
                <c:pt idx="5903">
                  <c:v>23</c:v>
                </c:pt>
                <c:pt idx="5904">
                  <c:v>13</c:v>
                </c:pt>
                <c:pt idx="5905">
                  <c:v>22</c:v>
                </c:pt>
                <c:pt idx="5906">
                  <c:v>103</c:v>
                </c:pt>
                <c:pt idx="5907">
                  <c:v>3</c:v>
                </c:pt>
                <c:pt idx="5908">
                  <c:v>22</c:v>
                </c:pt>
                <c:pt idx="5909">
                  <c:v>8</c:v>
                </c:pt>
                <c:pt idx="5910">
                  <c:v>3</c:v>
                </c:pt>
                <c:pt idx="5911">
                  <c:v>9</c:v>
                </c:pt>
                <c:pt idx="5912">
                  <c:v>7</c:v>
                </c:pt>
                <c:pt idx="5913">
                  <c:v>1</c:v>
                </c:pt>
                <c:pt idx="5914">
                  <c:v>2</c:v>
                </c:pt>
                <c:pt idx="5915">
                  <c:v>24</c:v>
                </c:pt>
                <c:pt idx="5916">
                  <c:v>20</c:v>
                </c:pt>
                <c:pt idx="5917">
                  <c:v>2</c:v>
                </c:pt>
                <c:pt idx="5918">
                  <c:v>3</c:v>
                </c:pt>
                <c:pt idx="5919">
                  <c:v>0</c:v>
                </c:pt>
                <c:pt idx="5920">
                  <c:v>12</c:v>
                </c:pt>
                <c:pt idx="5921">
                  <c:v>4</c:v>
                </c:pt>
                <c:pt idx="5922">
                  <c:v>4</c:v>
                </c:pt>
                <c:pt idx="5923">
                  <c:v>28</c:v>
                </c:pt>
                <c:pt idx="5924">
                  <c:v>12</c:v>
                </c:pt>
                <c:pt idx="5925">
                  <c:v>11</c:v>
                </c:pt>
                <c:pt idx="5926">
                  <c:v>5</c:v>
                </c:pt>
                <c:pt idx="5927">
                  <c:v>50</c:v>
                </c:pt>
                <c:pt idx="5928">
                  <c:v>4</c:v>
                </c:pt>
                <c:pt idx="5929">
                  <c:v>11</c:v>
                </c:pt>
                <c:pt idx="5930">
                  <c:v>2</c:v>
                </c:pt>
                <c:pt idx="5931">
                  <c:v>4</c:v>
                </c:pt>
                <c:pt idx="5932">
                  <c:v>6</c:v>
                </c:pt>
                <c:pt idx="5933">
                  <c:v>10</c:v>
                </c:pt>
                <c:pt idx="5934">
                  <c:v>7</c:v>
                </c:pt>
                <c:pt idx="5935">
                  <c:v>4</c:v>
                </c:pt>
                <c:pt idx="5936">
                  <c:v>2</c:v>
                </c:pt>
                <c:pt idx="5937">
                  <c:v>1</c:v>
                </c:pt>
                <c:pt idx="5938">
                  <c:v>2</c:v>
                </c:pt>
                <c:pt idx="5939">
                  <c:v>1</c:v>
                </c:pt>
                <c:pt idx="5940">
                  <c:v>1</c:v>
                </c:pt>
                <c:pt idx="5941">
                  <c:v>0</c:v>
                </c:pt>
                <c:pt idx="5942">
                  <c:v>11</c:v>
                </c:pt>
                <c:pt idx="5943">
                  <c:v>1</c:v>
                </c:pt>
                <c:pt idx="5944">
                  <c:v>0</c:v>
                </c:pt>
                <c:pt idx="5945">
                  <c:v>10</c:v>
                </c:pt>
                <c:pt idx="5946">
                  <c:v>1</c:v>
                </c:pt>
                <c:pt idx="5947">
                  <c:v>0</c:v>
                </c:pt>
                <c:pt idx="5948">
                  <c:v>3</c:v>
                </c:pt>
                <c:pt idx="5949">
                  <c:v>1</c:v>
                </c:pt>
                <c:pt idx="5950">
                  <c:v>1</c:v>
                </c:pt>
                <c:pt idx="5951">
                  <c:v>2</c:v>
                </c:pt>
                <c:pt idx="5952">
                  <c:v>0</c:v>
                </c:pt>
                <c:pt idx="5953">
                  <c:v>0</c:v>
                </c:pt>
                <c:pt idx="5954">
                  <c:v>3</c:v>
                </c:pt>
                <c:pt idx="5955">
                  <c:v>2</c:v>
                </c:pt>
                <c:pt idx="5956">
                  <c:v>3</c:v>
                </c:pt>
                <c:pt idx="5957">
                  <c:v>3</c:v>
                </c:pt>
                <c:pt idx="5958">
                  <c:v>1</c:v>
                </c:pt>
                <c:pt idx="5959">
                  <c:v>0</c:v>
                </c:pt>
                <c:pt idx="5960">
                  <c:v>0</c:v>
                </c:pt>
                <c:pt idx="5961">
                  <c:v>10</c:v>
                </c:pt>
                <c:pt idx="5962">
                  <c:v>1</c:v>
                </c:pt>
                <c:pt idx="5963">
                  <c:v>0</c:v>
                </c:pt>
                <c:pt idx="5964">
                  <c:v>1</c:v>
                </c:pt>
                <c:pt idx="5965">
                  <c:v>2</c:v>
                </c:pt>
                <c:pt idx="5966">
                  <c:v>2</c:v>
                </c:pt>
                <c:pt idx="5967">
                  <c:v>0</c:v>
                </c:pt>
                <c:pt idx="5968">
                  <c:v>3</c:v>
                </c:pt>
                <c:pt idx="5969">
                  <c:v>0</c:v>
                </c:pt>
                <c:pt idx="5970">
                  <c:v>214</c:v>
                </c:pt>
                <c:pt idx="5971">
                  <c:v>99</c:v>
                </c:pt>
                <c:pt idx="5972">
                  <c:v>322</c:v>
                </c:pt>
                <c:pt idx="5973">
                  <c:v>36</c:v>
                </c:pt>
                <c:pt idx="5974">
                  <c:v>306</c:v>
                </c:pt>
                <c:pt idx="5975">
                  <c:v>225</c:v>
                </c:pt>
                <c:pt idx="5976">
                  <c:v>125</c:v>
                </c:pt>
                <c:pt idx="5977">
                  <c:v>163</c:v>
                </c:pt>
                <c:pt idx="5978">
                  <c:v>87</c:v>
                </c:pt>
                <c:pt idx="5979">
                  <c:v>181</c:v>
                </c:pt>
                <c:pt idx="5980">
                  <c:v>114</c:v>
                </c:pt>
                <c:pt idx="5981">
                  <c:v>165</c:v>
                </c:pt>
                <c:pt idx="5982">
                  <c:v>60</c:v>
                </c:pt>
                <c:pt idx="5983">
                  <c:v>190</c:v>
                </c:pt>
                <c:pt idx="5984">
                  <c:v>195</c:v>
                </c:pt>
                <c:pt idx="5985">
                  <c:v>181</c:v>
                </c:pt>
                <c:pt idx="5986">
                  <c:v>160</c:v>
                </c:pt>
                <c:pt idx="5987">
                  <c:v>100</c:v>
                </c:pt>
                <c:pt idx="5988">
                  <c:v>138</c:v>
                </c:pt>
                <c:pt idx="5989">
                  <c:v>199</c:v>
                </c:pt>
                <c:pt idx="5990">
                  <c:v>64</c:v>
                </c:pt>
                <c:pt idx="5991">
                  <c:v>50</c:v>
                </c:pt>
                <c:pt idx="5992">
                  <c:v>89</c:v>
                </c:pt>
                <c:pt idx="5993">
                  <c:v>120</c:v>
                </c:pt>
                <c:pt idx="5994">
                  <c:v>152</c:v>
                </c:pt>
                <c:pt idx="5995">
                  <c:v>150</c:v>
                </c:pt>
                <c:pt idx="5996">
                  <c:v>93</c:v>
                </c:pt>
                <c:pt idx="5997">
                  <c:v>119</c:v>
                </c:pt>
                <c:pt idx="5998">
                  <c:v>57</c:v>
                </c:pt>
                <c:pt idx="5999">
                  <c:v>129</c:v>
                </c:pt>
                <c:pt idx="6000">
                  <c:v>138</c:v>
                </c:pt>
                <c:pt idx="6001">
                  <c:v>74</c:v>
                </c:pt>
                <c:pt idx="6002">
                  <c:v>133</c:v>
                </c:pt>
                <c:pt idx="6003">
                  <c:v>280</c:v>
                </c:pt>
                <c:pt idx="6004">
                  <c:v>106</c:v>
                </c:pt>
                <c:pt idx="6005">
                  <c:v>53</c:v>
                </c:pt>
                <c:pt idx="6006">
                  <c:v>52</c:v>
                </c:pt>
                <c:pt idx="6007">
                  <c:v>44</c:v>
                </c:pt>
                <c:pt idx="6008">
                  <c:v>106</c:v>
                </c:pt>
                <c:pt idx="6009">
                  <c:v>127</c:v>
                </c:pt>
                <c:pt idx="6010">
                  <c:v>35</c:v>
                </c:pt>
                <c:pt idx="6011">
                  <c:v>89</c:v>
                </c:pt>
                <c:pt idx="6012">
                  <c:v>115</c:v>
                </c:pt>
                <c:pt idx="6013">
                  <c:v>61</c:v>
                </c:pt>
                <c:pt idx="6014">
                  <c:v>58</c:v>
                </c:pt>
                <c:pt idx="6015">
                  <c:v>62</c:v>
                </c:pt>
                <c:pt idx="6016">
                  <c:v>78</c:v>
                </c:pt>
                <c:pt idx="6017">
                  <c:v>106</c:v>
                </c:pt>
                <c:pt idx="6018">
                  <c:v>10</c:v>
                </c:pt>
                <c:pt idx="6019">
                  <c:v>168</c:v>
                </c:pt>
                <c:pt idx="6020">
                  <c:v>41</c:v>
                </c:pt>
                <c:pt idx="6021">
                  <c:v>74</c:v>
                </c:pt>
                <c:pt idx="6022">
                  <c:v>62</c:v>
                </c:pt>
                <c:pt idx="6023">
                  <c:v>101</c:v>
                </c:pt>
                <c:pt idx="6024">
                  <c:v>59</c:v>
                </c:pt>
                <c:pt idx="6025">
                  <c:v>82</c:v>
                </c:pt>
                <c:pt idx="6026">
                  <c:v>66</c:v>
                </c:pt>
                <c:pt idx="6027">
                  <c:v>90</c:v>
                </c:pt>
                <c:pt idx="6028">
                  <c:v>85</c:v>
                </c:pt>
                <c:pt idx="6029">
                  <c:v>38</c:v>
                </c:pt>
                <c:pt idx="6030">
                  <c:v>57</c:v>
                </c:pt>
                <c:pt idx="6031">
                  <c:v>118</c:v>
                </c:pt>
                <c:pt idx="6032">
                  <c:v>20</c:v>
                </c:pt>
                <c:pt idx="6033">
                  <c:v>64</c:v>
                </c:pt>
                <c:pt idx="6034">
                  <c:v>47</c:v>
                </c:pt>
                <c:pt idx="6035">
                  <c:v>159</c:v>
                </c:pt>
                <c:pt idx="6036">
                  <c:v>65</c:v>
                </c:pt>
                <c:pt idx="6037">
                  <c:v>50</c:v>
                </c:pt>
                <c:pt idx="6038">
                  <c:v>47</c:v>
                </c:pt>
                <c:pt idx="6039">
                  <c:v>44</c:v>
                </c:pt>
                <c:pt idx="6040">
                  <c:v>15</c:v>
                </c:pt>
                <c:pt idx="6041">
                  <c:v>25</c:v>
                </c:pt>
                <c:pt idx="6042">
                  <c:v>35</c:v>
                </c:pt>
                <c:pt idx="6043">
                  <c:v>59</c:v>
                </c:pt>
                <c:pt idx="6044">
                  <c:v>32</c:v>
                </c:pt>
                <c:pt idx="6045">
                  <c:v>83</c:v>
                </c:pt>
                <c:pt idx="6046">
                  <c:v>63</c:v>
                </c:pt>
                <c:pt idx="6047">
                  <c:v>119</c:v>
                </c:pt>
                <c:pt idx="6048">
                  <c:v>89</c:v>
                </c:pt>
                <c:pt idx="6049">
                  <c:v>20</c:v>
                </c:pt>
                <c:pt idx="6050">
                  <c:v>40</c:v>
                </c:pt>
                <c:pt idx="6051">
                  <c:v>152</c:v>
                </c:pt>
                <c:pt idx="6052">
                  <c:v>63</c:v>
                </c:pt>
                <c:pt idx="6053">
                  <c:v>63</c:v>
                </c:pt>
                <c:pt idx="6054">
                  <c:v>67</c:v>
                </c:pt>
                <c:pt idx="6055">
                  <c:v>40</c:v>
                </c:pt>
                <c:pt idx="6056">
                  <c:v>40</c:v>
                </c:pt>
                <c:pt idx="6057">
                  <c:v>35</c:v>
                </c:pt>
                <c:pt idx="6058">
                  <c:v>74</c:v>
                </c:pt>
                <c:pt idx="6059">
                  <c:v>50</c:v>
                </c:pt>
                <c:pt idx="6060">
                  <c:v>8</c:v>
                </c:pt>
                <c:pt idx="6061">
                  <c:v>17</c:v>
                </c:pt>
                <c:pt idx="6062">
                  <c:v>32</c:v>
                </c:pt>
                <c:pt idx="6063">
                  <c:v>11</c:v>
                </c:pt>
                <c:pt idx="6064">
                  <c:v>61</c:v>
                </c:pt>
                <c:pt idx="6065">
                  <c:v>59</c:v>
                </c:pt>
                <c:pt idx="6066">
                  <c:v>69</c:v>
                </c:pt>
                <c:pt idx="6067">
                  <c:v>1011</c:v>
                </c:pt>
                <c:pt idx="6068">
                  <c:v>531</c:v>
                </c:pt>
                <c:pt idx="6069">
                  <c:v>542</c:v>
                </c:pt>
                <c:pt idx="6070">
                  <c:v>575</c:v>
                </c:pt>
                <c:pt idx="6071">
                  <c:v>1043</c:v>
                </c:pt>
                <c:pt idx="6072">
                  <c:v>2219</c:v>
                </c:pt>
                <c:pt idx="6073">
                  <c:v>470</c:v>
                </c:pt>
                <c:pt idx="6074">
                  <c:v>592</c:v>
                </c:pt>
                <c:pt idx="6075">
                  <c:v>1630</c:v>
                </c:pt>
                <c:pt idx="6076">
                  <c:v>904</c:v>
                </c:pt>
                <c:pt idx="6077">
                  <c:v>799</c:v>
                </c:pt>
                <c:pt idx="6078">
                  <c:v>940</c:v>
                </c:pt>
                <c:pt idx="6079">
                  <c:v>623</c:v>
                </c:pt>
                <c:pt idx="6080">
                  <c:v>1032</c:v>
                </c:pt>
                <c:pt idx="6081">
                  <c:v>450</c:v>
                </c:pt>
                <c:pt idx="6082">
                  <c:v>689</c:v>
                </c:pt>
                <c:pt idx="6083">
                  <c:v>869</c:v>
                </c:pt>
                <c:pt idx="6084">
                  <c:v>1168</c:v>
                </c:pt>
                <c:pt idx="6085">
                  <c:v>844</c:v>
                </c:pt>
                <c:pt idx="6086">
                  <c:v>820</c:v>
                </c:pt>
                <c:pt idx="6087">
                  <c:v>317</c:v>
                </c:pt>
                <c:pt idx="6088">
                  <c:v>750</c:v>
                </c:pt>
                <c:pt idx="6089">
                  <c:v>232</c:v>
                </c:pt>
                <c:pt idx="6090">
                  <c:v>226</c:v>
                </c:pt>
                <c:pt idx="6091">
                  <c:v>535</c:v>
                </c:pt>
                <c:pt idx="6092">
                  <c:v>199</c:v>
                </c:pt>
                <c:pt idx="6093">
                  <c:v>813</c:v>
                </c:pt>
                <c:pt idx="6094">
                  <c:v>934</c:v>
                </c:pt>
                <c:pt idx="6095">
                  <c:v>763</c:v>
                </c:pt>
                <c:pt idx="6096">
                  <c:v>926</c:v>
                </c:pt>
                <c:pt idx="6097">
                  <c:v>226</c:v>
                </c:pt>
                <c:pt idx="6098">
                  <c:v>785</c:v>
                </c:pt>
                <c:pt idx="6099">
                  <c:v>365</c:v>
                </c:pt>
                <c:pt idx="6100">
                  <c:v>86</c:v>
                </c:pt>
                <c:pt idx="6101">
                  <c:v>416</c:v>
                </c:pt>
                <c:pt idx="6102">
                  <c:v>371</c:v>
                </c:pt>
                <c:pt idx="6103">
                  <c:v>187</c:v>
                </c:pt>
                <c:pt idx="6104">
                  <c:v>519</c:v>
                </c:pt>
                <c:pt idx="6105">
                  <c:v>233</c:v>
                </c:pt>
                <c:pt idx="6106">
                  <c:v>230</c:v>
                </c:pt>
                <c:pt idx="6107">
                  <c:v>381</c:v>
                </c:pt>
                <c:pt idx="6108">
                  <c:v>99</c:v>
                </c:pt>
                <c:pt idx="6109">
                  <c:v>250</c:v>
                </c:pt>
                <c:pt idx="6110">
                  <c:v>95</c:v>
                </c:pt>
                <c:pt idx="6111">
                  <c:v>392</c:v>
                </c:pt>
                <c:pt idx="6112">
                  <c:v>341</c:v>
                </c:pt>
                <c:pt idx="6113">
                  <c:v>169</c:v>
                </c:pt>
                <c:pt idx="6114">
                  <c:v>459</c:v>
                </c:pt>
                <c:pt idx="6115">
                  <c:v>270</c:v>
                </c:pt>
                <c:pt idx="6116">
                  <c:v>329</c:v>
                </c:pt>
                <c:pt idx="6117">
                  <c:v>196</c:v>
                </c:pt>
                <c:pt idx="6118">
                  <c:v>219</c:v>
                </c:pt>
                <c:pt idx="6119">
                  <c:v>226</c:v>
                </c:pt>
                <c:pt idx="6120">
                  <c:v>85</c:v>
                </c:pt>
                <c:pt idx="6121">
                  <c:v>221</c:v>
                </c:pt>
                <c:pt idx="6122">
                  <c:v>183</c:v>
                </c:pt>
                <c:pt idx="6123">
                  <c:v>583</c:v>
                </c:pt>
                <c:pt idx="6124">
                  <c:v>109</c:v>
                </c:pt>
                <c:pt idx="6125">
                  <c:v>89</c:v>
                </c:pt>
                <c:pt idx="6126">
                  <c:v>53</c:v>
                </c:pt>
                <c:pt idx="6127">
                  <c:v>67</c:v>
                </c:pt>
                <c:pt idx="6128">
                  <c:v>121</c:v>
                </c:pt>
                <c:pt idx="6129">
                  <c:v>144</c:v>
                </c:pt>
                <c:pt idx="6130">
                  <c:v>249</c:v>
                </c:pt>
                <c:pt idx="6131">
                  <c:v>411</c:v>
                </c:pt>
                <c:pt idx="6132">
                  <c:v>139</c:v>
                </c:pt>
                <c:pt idx="6133">
                  <c:v>236</c:v>
                </c:pt>
                <c:pt idx="6134">
                  <c:v>52</c:v>
                </c:pt>
                <c:pt idx="6135">
                  <c:v>579</c:v>
                </c:pt>
                <c:pt idx="6136">
                  <c:v>239</c:v>
                </c:pt>
                <c:pt idx="6137">
                  <c:v>69</c:v>
                </c:pt>
                <c:pt idx="6138">
                  <c:v>285</c:v>
                </c:pt>
                <c:pt idx="6139">
                  <c:v>196</c:v>
                </c:pt>
                <c:pt idx="6140">
                  <c:v>166</c:v>
                </c:pt>
                <c:pt idx="6141">
                  <c:v>101</c:v>
                </c:pt>
                <c:pt idx="6142">
                  <c:v>38</c:v>
                </c:pt>
                <c:pt idx="6143">
                  <c:v>174</c:v>
                </c:pt>
                <c:pt idx="6144">
                  <c:v>70</c:v>
                </c:pt>
                <c:pt idx="6145">
                  <c:v>82</c:v>
                </c:pt>
                <c:pt idx="6146">
                  <c:v>126</c:v>
                </c:pt>
                <c:pt idx="6147">
                  <c:v>152</c:v>
                </c:pt>
                <c:pt idx="6148">
                  <c:v>123</c:v>
                </c:pt>
                <c:pt idx="6149">
                  <c:v>160</c:v>
                </c:pt>
                <c:pt idx="6150">
                  <c:v>247</c:v>
                </c:pt>
                <c:pt idx="6151">
                  <c:v>103</c:v>
                </c:pt>
                <c:pt idx="6152">
                  <c:v>83</c:v>
                </c:pt>
                <c:pt idx="6153">
                  <c:v>106</c:v>
                </c:pt>
                <c:pt idx="6154">
                  <c:v>115</c:v>
                </c:pt>
                <c:pt idx="6155">
                  <c:v>70</c:v>
                </c:pt>
                <c:pt idx="6156">
                  <c:v>116</c:v>
                </c:pt>
                <c:pt idx="6157">
                  <c:v>81</c:v>
                </c:pt>
                <c:pt idx="6158">
                  <c:v>50</c:v>
                </c:pt>
                <c:pt idx="6159">
                  <c:v>60</c:v>
                </c:pt>
                <c:pt idx="6160">
                  <c:v>152</c:v>
                </c:pt>
                <c:pt idx="6161">
                  <c:v>83</c:v>
                </c:pt>
                <c:pt idx="6162">
                  <c:v>83</c:v>
                </c:pt>
                <c:pt idx="6163">
                  <c:v>77</c:v>
                </c:pt>
                <c:pt idx="6164">
                  <c:v>65</c:v>
                </c:pt>
                <c:pt idx="6165">
                  <c:v>72</c:v>
                </c:pt>
                <c:pt idx="6166">
                  <c:v>103</c:v>
                </c:pt>
                <c:pt idx="6167">
                  <c:v>58</c:v>
                </c:pt>
                <c:pt idx="6168">
                  <c:v>64</c:v>
                </c:pt>
                <c:pt idx="6169">
                  <c:v>69</c:v>
                </c:pt>
                <c:pt idx="6170">
                  <c:v>66</c:v>
                </c:pt>
                <c:pt idx="6171">
                  <c:v>53</c:v>
                </c:pt>
                <c:pt idx="6172">
                  <c:v>111</c:v>
                </c:pt>
                <c:pt idx="6173">
                  <c:v>19</c:v>
                </c:pt>
                <c:pt idx="6174">
                  <c:v>60</c:v>
                </c:pt>
                <c:pt idx="6175">
                  <c:v>54</c:v>
                </c:pt>
                <c:pt idx="6176">
                  <c:v>91</c:v>
                </c:pt>
                <c:pt idx="6177">
                  <c:v>72</c:v>
                </c:pt>
                <c:pt idx="6178">
                  <c:v>62</c:v>
                </c:pt>
                <c:pt idx="6179">
                  <c:v>60</c:v>
                </c:pt>
                <c:pt idx="6180">
                  <c:v>85</c:v>
                </c:pt>
                <c:pt idx="6181">
                  <c:v>41</c:v>
                </c:pt>
                <c:pt idx="6182">
                  <c:v>78</c:v>
                </c:pt>
                <c:pt idx="6183">
                  <c:v>75</c:v>
                </c:pt>
                <c:pt idx="6184">
                  <c:v>165</c:v>
                </c:pt>
                <c:pt idx="6185">
                  <c:v>71</c:v>
                </c:pt>
                <c:pt idx="6186">
                  <c:v>37</c:v>
                </c:pt>
                <c:pt idx="6187">
                  <c:v>92</c:v>
                </c:pt>
                <c:pt idx="6188">
                  <c:v>61</c:v>
                </c:pt>
                <c:pt idx="6189">
                  <c:v>38</c:v>
                </c:pt>
                <c:pt idx="6190">
                  <c:v>61</c:v>
                </c:pt>
                <c:pt idx="6191">
                  <c:v>54</c:v>
                </c:pt>
                <c:pt idx="6192">
                  <c:v>53</c:v>
                </c:pt>
                <c:pt idx="6193">
                  <c:v>9</c:v>
                </c:pt>
                <c:pt idx="6194">
                  <c:v>44</c:v>
                </c:pt>
                <c:pt idx="6195">
                  <c:v>127</c:v>
                </c:pt>
                <c:pt idx="6196">
                  <c:v>15</c:v>
                </c:pt>
                <c:pt idx="6197">
                  <c:v>28</c:v>
                </c:pt>
                <c:pt idx="6198">
                  <c:v>52</c:v>
                </c:pt>
                <c:pt idx="6199">
                  <c:v>32</c:v>
                </c:pt>
                <c:pt idx="6200">
                  <c:v>36</c:v>
                </c:pt>
                <c:pt idx="6201">
                  <c:v>52</c:v>
                </c:pt>
                <c:pt idx="6202">
                  <c:v>20</c:v>
                </c:pt>
                <c:pt idx="6203">
                  <c:v>55</c:v>
                </c:pt>
                <c:pt idx="6204">
                  <c:v>34</c:v>
                </c:pt>
                <c:pt idx="6205">
                  <c:v>60</c:v>
                </c:pt>
                <c:pt idx="6206">
                  <c:v>73</c:v>
                </c:pt>
                <c:pt idx="6207">
                  <c:v>90</c:v>
                </c:pt>
                <c:pt idx="6208">
                  <c:v>28</c:v>
                </c:pt>
                <c:pt idx="6209">
                  <c:v>29</c:v>
                </c:pt>
                <c:pt idx="6210">
                  <c:v>63</c:v>
                </c:pt>
                <c:pt idx="6211">
                  <c:v>35</c:v>
                </c:pt>
                <c:pt idx="6212">
                  <c:v>57</c:v>
                </c:pt>
                <c:pt idx="6213">
                  <c:v>11</c:v>
                </c:pt>
                <c:pt idx="6214">
                  <c:v>42</c:v>
                </c:pt>
                <c:pt idx="6215">
                  <c:v>56</c:v>
                </c:pt>
                <c:pt idx="6216">
                  <c:v>34</c:v>
                </c:pt>
                <c:pt idx="6217">
                  <c:v>9</c:v>
                </c:pt>
                <c:pt idx="6218">
                  <c:v>56</c:v>
                </c:pt>
                <c:pt idx="6219">
                  <c:v>62</c:v>
                </c:pt>
                <c:pt idx="6220">
                  <c:v>17</c:v>
                </c:pt>
                <c:pt idx="6221">
                  <c:v>16</c:v>
                </c:pt>
                <c:pt idx="6222">
                  <c:v>55</c:v>
                </c:pt>
                <c:pt idx="6223">
                  <c:v>28</c:v>
                </c:pt>
                <c:pt idx="6224">
                  <c:v>62</c:v>
                </c:pt>
                <c:pt idx="6225">
                  <c:v>57</c:v>
                </c:pt>
                <c:pt idx="6226">
                  <c:v>37</c:v>
                </c:pt>
                <c:pt idx="6227">
                  <c:v>12</c:v>
                </c:pt>
                <c:pt idx="6228">
                  <c:v>58</c:v>
                </c:pt>
                <c:pt idx="6229">
                  <c:v>46</c:v>
                </c:pt>
                <c:pt idx="6230">
                  <c:v>122</c:v>
                </c:pt>
                <c:pt idx="6231">
                  <c:v>12</c:v>
                </c:pt>
                <c:pt idx="6232">
                  <c:v>23</c:v>
                </c:pt>
                <c:pt idx="6233">
                  <c:v>18</c:v>
                </c:pt>
                <c:pt idx="6234">
                  <c:v>34</c:v>
                </c:pt>
                <c:pt idx="6235">
                  <c:v>17</c:v>
                </c:pt>
                <c:pt idx="6236">
                  <c:v>12</c:v>
                </c:pt>
                <c:pt idx="6237">
                  <c:v>3</c:v>
                </c:pt>
                <c:pt idx="6238">
                  <c:v>15</c:v>
                </c:pt>
                <c:pt idx="6239">
                  <c:v>40</c:v>
                </c:pt>
                <c:pt idx="6240">
                  <c:v>3</c:v>
                </c:pt>
                <c:pt idx="6241">
                  <c:v>40</c:v>
                </c:pt>
                <c:pt idx="6242">
                  <c:v>2</c:v>
                </c:pt>
                <c:pt idx="6243">
                  <c:v>11</c:v>
                </c:pt>
                <c:pt idx="6244">
                  <c:v>1</c:v>
                </c:pt>
                <c:pt idx="6245">
                  <c:v>4</c:v>
                </c:pt>
                <c:pt idx="6246">
                  <c:v>0</c:v>
                </c:pt>
                <c:pt idx="6247">
                  <c:v>0</c:v>
                </c:pt>
                <c:pt idx="6248">
                  <c:v>1</c:v>
                </c:pt>
                <c:pt idx="6249">
                  <c:v>1</c:v>
                </c:pt>
                <c:pt idx="6250">
                  <c:v>503</c:v>
                </c:pt>
                <c:pt idx="6251">
                  <c:v>620</c:v>
                </c:pt>
                <c:pt idx="6252">
                  <c:v>813</c:v>
                </c:pt>
                <c:pt idx="6253">
                  <c:v>719</c:v>
                </c:pt>
                <c:pt idx="6254">
                  <c:v>290</c:v>
                </c:pt>
                <c:pt idx="6255">
                  <c:v>30</c:v>
                </c:pt>
                <c:pt idx="6256">
                  <c:v>51</c:v>
                </c:pt>
                <c:pt idx="6257">
                  <c:v>55</c:v>
                </c:pt>
                <c:pt idx="6258">
                  <c:v>71</c:v>
                </c:pt>
                <c:pt idx="6259">
                  <c:v>22</c:v>
                </c:pt>
                <c:pt idx="6260">
                  <c:v>38</c:v>
                </c:pt>
                <c:pt idx="6261">
                  <c:v>43</c:v>
                </c:pt>
                <c:pt idx="6262">
                  <c:v>48</c:v>
                </c:pt>
                <c:pt idx="6263">
                  <c:v>6</c:v>
                </c:pt>
                <c:pt idx="6264">
                  <c:v>13</c:v>
                </c:pt>
                <c:pt idx="6265">
                  <c:v>9</c:v>
                </c:pt>
                <c:pt idx="6266">
                  <c:v>6</c:v>
                </c:pt>
                <c:pt idx="6267">
                  <c:v>19</c:v>
                </c:pt>
                <c:pt idx="6268">
                  <c:v>13</c:v>
                </c:pt>
                <c:pt idx="6269">
                  <c:v>7</c:v>
                </c:pt>
                <c:pt idx="6270">
                  <c:v>4</c:v>
                </c:pt>
                <c:pt idx="6271">
                  <c:v>7</c:v>
                </c:pt>
                <c:pt idx="6272">
                  <c:v>7</c:v>
                </c:pt>
                <c:pt idx="6273">
                  <c:v>2</c:v>
                </c:pt>
                <c:pt idx="6274">
                  <c:v>9</c:v>
                </c:pt>
                <c:pt idx="6275">
                  <c:v>8</c:v>
                </c:pt>
                <c:pt idx="6276">
                  <c:v>9</c:v>
                </c:pt>
                <c:pt idx="6277">
                  <c:v>3</c:v>
                </c:pt>
                <c:pt idx="6278">
                  <c:v>5</c:v>
                </c:pt>
                <c:pt idx="6279">
                  <c:v>3</c:v>
                </c:pt>
                <c:pt idx="6280">
                  <c:v>4</c:v>
                </c:pt>
                <c:pt idx="6281">
                  <c:v>3</c:v>
                </c:pt>
                <c:pt idx="6282">
                  <c:v>16</c:v>
                </c:pt>
                <c:pt idx="6283">
                  <c:v>13</c:v>
                </c:pt>
                <c:pt idx="6284">
                  <c:v>3</c:v>
                </c:pt>
                <c:pt idx="6285">
                  <c:v>4</c:v>
                </c:pt>
                <c:pt idx="6286">
                  <c:v>0</c:v>
                </c:pt>
                <c:pt idx="6287">
                  <c:v>12</c:v>
                </c:pt>
                <c:pt idx="6288">
                  <c:v>2</c:v>
                </c:pt>
                <c:pt idx="6289">
                  <c:v>9</c:v>
                </c:pt>
                <c:pt idx="6290">
                  <c:v>2</c:v>
                </c:pt>
                <c:pt idx="6291">
                  <c:v>1</c:v>
                </c:pt>
                <c:pt idx="6292">
                  <c:v>3</c:v>
                </c:pt>
                <c:pt idx="6293">
                  <c:v>6</c:v>
                </c:pt>
                <c:pt idx="6294">
                  <c:v>9</c:v>
                </c:pt>
                <c:pt idx="6295">
                  <c:v>2</c:v>
                </c:pt>
                <c:pt idx="6296">
                  <c:v>2</c:v>
                </c:pt>
                <c:pt idx="6297">
                  <c:v>4</c:v>
                </c:pt>
                <c:pt idx="6298">
                  <c:v>0</c:v>
                </c:pt>
                <c:pt idx="6299">
                  <c:v>1</c:v>
                </c:pt>
                <c:pt idx="6300">
                  <c:v>3</c:v>
                </c:pt>
                <c:pt idx="6301">
                  <c:v>4</c:v>
                </c:pt>
                <c:pt idx="6302">
                  <c:v>2</c:v>
                </c:pt>
                <c:pt idx="6303">
                  <c:v>1</c:v>
                </c:pt>
                <c:pt idx="6304">
                  <c:v>1</c:v>
                </c:pt>
                <c:pt idx="6305">
                  <c:v>2</c:v>
                </c:pt>
                <c:pt idx="6306">
                  <c:v>3</c:v>
                </c:pt>
                <c:pt idx="6307">
                  <c:v>0</c:v>
                </c:pt>
                <c:pt idx="6308">
                  <c:v>2</c:v>
                </c:pt>
                <c:pt idx="6309">
                  <c:v>2</c:v>
                </c:pt>
                <c:pt idx="6310">
                  <c:v>0</c:v>
                </c:pt>
                <c:pt idx="6311">
                  <c:v>0</c:v>
                </c:pt>
                <c:pt idx="6312">
                  <c:v>3</c:v>
                </c:pt>
                <c:pt idx="6313">
                  <c:v>1</c:v>
                </c:pt>
                <c:pt idx="6314">
                  <c:v>1</c:v>
                </c:pt>
                <c:pt idx="6315">
                  <c:v>1</c:v>
                </c:pt>
                <c:pt idx="6316">
                  <c:v>0</c:v>
                </c:pt>
                <c:pt idx="6317">
                  <c:v>1</c:v>
                </c:pt>
                <c:pt idx="6318">
                  <c:v>8</c:v>
                </c:pt>
                <c:pt idx="6319">
                  <c:v>1</c:v>
                </c:pt>
                <c:pt idx="6320">
                  <c:v>2</c:v>
                </c:pt>
                <c:pt idx="6321">
                  <c:v>2</c:v>
                </c:pt>
                <c:pt idx="6322">
                  <c:v>0</c:v>
                </c:pt>
                <c:pt idx="6323">
                  <c:v>3</c:v>
                </c:pt>
                <c:pt idx="6324">
                  <c:v>1</c:v>
                </c:pt>
                <c:pt idx="6325">
                  <c:v>1</c:v>
                </c:pt>
                <c:pt idx="6326">
                  <c:v>0</c:v>
                </c:pt>
                <c:pt idx="6327">
                  <c:v>0</c:v>
                </c:pt>
                <c:pt idx="6328">
                  <c:v>0</c:v>
                </c:pt>
                <c:pt idx="6329">
                  <c:v>0</c:v>
                </c:pt>
                <c:pt idx="6330">
                  <c:v>0</c:v>
                </c:pt>
                <c:pt idx="6331">
                  <c:v>1</c:v>
                </c:pt>
                <c:pt idx="6332">
                  <c:v>0</c:v>
                </c:pt>
                <c:pt idx="6333">
                  <c:v>1</c:v>
                </c:pt>
                <c:pt idx="6334">
                  <c:v>0</c:v>
                </c:pt>
                <c:pt idx="6335">
                  <c:v>0</c:v>
                </c:pt>
                <c:pt idx="6336">
                  <c:v>0</c:v>
                </c:pt>
                <c:pt idx="6337">
                  <c:v>0</c:v>
                </c:pt>
                <c:pt idx="6338">
                  <c:v>0</c:v>
                </c:pt>
                <c:pt idx="6339">
                  <c:v>0</c:v>
                </c:pt>
                <c:pt idx="6340">
                  <c:v>0</c:v>
                </c:pt>
                <c:pt idx="6341">
                  <c:v>0</c:v>
                </c:pt>
                <c:pt idx="6342">
                  <c:v>3</c:v>
                </c:pt>
                <c:pt idx="6343">
                  <c:v>1</c:v>
                </c:pt>
                <c:pt idx="6344">
                  <c:v>0</c:v>
                </c:pt>
                <c:pt idx="6345">
                  <c:v>0</c:v>
                </c:pt>
                <c:pt idx="6346">
                  <c:v>0</c:v>
                </c:pt>
                <c:pt idx="6347">
                  <c:v>3</c:v>
                </c:pt>
                <c:pt idx="6348">
                  <c:v>0</c:v>
                </c:pt>
                <c:pt idx="6349">
                  <c:v>0</c:v>
                </c:pt>
                <c:pt idx="6350">
                  <c:v>0</c:v>
                </c:pt>
                <c:pt idx="6351">
                  <c:v>0</c:v>
                </c:pt>
                <c:pt idx="6352">
                  <c:v>0</c:v>
                </c:pt>
                <c:pt idx="6353">
                  <c:v>0</c:v>
                </c:pt>
                <c:pt idx="6354">
                  <c:v>0</c:v>
                </c:pt>
                <c:pt idx="6355">
                  <c:v>0</c:v>
                </c:pt>
                <c:pt idx="6356">
                  <c:v>17</c:v>
                </c:pt>
                <c:pt idx="6357">
                  <c:v>0</c:v>
                </c:pt>
                <c:pt idx="6358">
                  <c:v>187</c:v>
                </c:pt>
                <c:pt idx="6359">
                  <c:v>368</c:v>
                </c:pt>
                <c:pt idx="6360">
                  <c:v>183</c:v>
                </c:pt>
                <c:pt idx="6361">
                  <c:v>39</c:v>
                </c:pt>
                <c:pt idx="6362">
                  <c:v>193</c:v>
                </c:pt>
                <c:pt idx="6363">
                  <c:v>206</c:v>
                </c:pt>
                <c:pt idx="6364">
                  <c:v>421</c:v>
                </c:pt>
                <c:pt idx="6365">
                  <c:v>337</c:v>
                </c:pt>
                <c:pt idx="6366">
                  <c:v>157</c:v>
                </c:pt>
                <c:pt idx="6367">
                  <c:v>175</c:v>
                </c:pt>
                <c:pt idx="6368">
                  <c:v>176</c:v>
                </c:pt>
                <c:pt idx="6369">
                  <c:v>176</c:v>
                </c:pt>
                <c:pt idx="6370">
                  <c:v>144</c:v>
                </c:pt>
                <c:pt idx="6371">
                  <c:v>93</c:v>
                </c:pt>
                <c:pt idx="6372">
                  <c:v>154</c:v>
                </c:pt>
                <c:pt idx="6373">
                  <c:v>211</c:v>
                </c:pt>
                <c:pt idx="6374">
                  <c:v>143</c:v>
                </c:pt>
                <c:pt idx="6375">
                  <c:v>162</c:v>
                </c:pt>
                <c:pt idx="6376">
                  <c:v>100</c:v>
                </c:pt>
                <c:pt idx="6377">
                  <c:v>36</c:v>
                </c:pt>
                <c:pt idx="6378">
                  <c:v>147</c:v>
                </c:pt>
                <c:pt idx="6379">
                  <c:v>194</c:v>
                </c:pt>
                <c:pt idx="6380">
                  <c:v>174</c:v>
                </c:pt>
                <c:pt idx="6381">
                  <c:v>210</c:v>
                </c:pt>
                <c:pt idx="6382">
                  <c:v>173</c:v>
                </c:pt>
                <c:pt idx="6383">
                  <c:v>99</c:v>
                </c:pt>
                <c:pt idx="6384">
                  <c:v>91</c:v>
                </c:pt>
                <c:pt idx="6385">
                  <c:v>145</c:v>
                </c:pt>
                <c:pt idx="6386">
                  <c:v>36</c:v>
                </c:pt>
                <c:pt idx="6387">
                  <c:v>169</c:v>
                </c:pt>
                <c:pt idx="6388">
                  <c:v>119</c:v>
                </c:pt>
                <c:pt idx="6389">
                  <c:v>93</c:v>
                </c:pt>
                <c:pt idx="6390">
                  <c:v>36</c:v>
                </c:pt>
                <c:pt idx="6391">
                  <c:v>148</c:v>
                </c:pt>
                <c:pt idx="6392">
                  <c:v>97</c:v>
                </c:pt>
                <c:pt idx="6393">
                  <c:v>32</c:v>
                </c:pt>
                <c:pt idx="6394">
                  <c:v>156</c:v>
                </c:pt>
                <c:pt idx="6395">
                  <c:v>148</c:v>
                </c:pt>
                <c:pt idx="6396">
                  <c:v>84</c:v>
                </c:pt>
                <c:pt idx="6397">
                  <c:v>42</c:v>
                </c:pt>
                <c:pt idx="6398">
                  <c:v>83</c:v>
                </c:pt>
                <c:pt idx="6399">
                  <c:v>130</c:v>
                </c:pt>
                <c:pt idx="6400">
                  <c:v>20</c:v>
                </c:pt>
                <c:pt idx="6401">
                  <c:v>102</c:v>
                </c:pt>
                <c:pt idx="6402">
                  <c:v>31</c:v>
                </c:pt>
                <c:pt idx="6403">
                  <c:v>69</c:v>
                </c:pt>
                <c:pt idx="6404">
                  <c:v>100</c:v>
                </c:pt>
                <c:pt idx="6405">
                  <c:v>15</c:v>
                </c:pt>
                <c:pt idx="6406">
                  <c:v>18</c:v>
                </c:pt>
                <c:pt idx="6407">
                  <c:v>11</c:v>
                </c:pt>
                <c:pt idx="6408">
                  <c:v>87</c:v>
                </c:pt>
                <c:pt idx="6409">
                  <c:v>18</c:v>
                </c:pt>
                <c:pt idx="6410">
                  <c:v>48</c:v>
                </c:pt>
                <c:pt idx="6411">
                  <c:v>53</c:v>
                </c:pt>
                <c:pt idx="6412">
                  <c:v>114</c:v>
                </c:pt>
                <c:pt idx="6413">
                  <c:v>95</c:v>
                </c:pt>
                <c:pt idx="6414">
                  <c:v>41</c:v>
                </c:pt>
                <c:pt idx="6415">
                  <c:v>49</c:v>
                </c:pt>
                <c:pt idx="6416">
                  <c:v>74</c:v>
                </c:pt>
                <c:pt idx="6417">
                  <c:v>96</c:v>
                </c:pt>
                <c:pt idx="6418">
                  <c:v>62</c:v>
                </c:pt>
                <c:pt idx="6419">
                  <c:v>110</c:v>
                </c:pt>
                <c:pt idx="6420">
                  <c:v>90</c:v>
                </c:pt>
                <c:pt idx="6421">
                  <c:v>52</c:v>
                </c:pt>
                <c:pt idx="6422">
                  <c:v>96</c:v>
                </c:pt>
                <c:pt idx="6423">
                  <c:v>46</c:v>
                </c:pt>
                <c:pt idx="6424">
                  <c:v>95</c:v>
                </c:pt>
                <c:pt idx="6425">
                  <c:v>96</c:v>
                </c:pt>
                <c:pt idx="6426">
                  <c:v>66</c:v>
                </c:pt>
                <c:pt idx="6427">
                  <c:v>53</c:v>
                </c:pt>
                <c:pt idx="6428">
                  <c:v>93</c:v>
                </c:pt>
                <c:pt idx="6429">
                  <c:v>27</c:v>
                </c:pt>
                <c:pt idx="6430">
                  <c:v>52</c:v>
                </c:pt>
                <c:pt idx="6431">
                  <c:v>110</c:v>
                </c:pt>
                <c:pt idx="6432">
                  <c:v>98</c:v>
                </c:pt>
                <c:pt idx="6433">
                  <c:v>79</c:v>
                </c:pt>
                <c:pt idx="6434">
                  <c:v>68</c:v>
                </c:pt>
                <c:pt idx="6435">
                  <c:v>16</c:v>
                </c:pt>
                <c:pt idx="6436">
                  <c:v>69</c:v>
                </c:pt>
                <c:pt idx="6437">
                  <c:v>113</c:v>
                </c:pt>
                <c:pt idx="6438">
                  <c:v>42</c:v>
                </c:pt>
                <c:pt idx="6439">
                  <c:v>19</c:v>
                </c:pt>
                <c:pt idx="6440">
                  <c:v>57</c:v>
                </c:pt>
                <c:pt idx="6441">
                  <c:v>103</c:v>
                </c:pt>
                <c:pt idx="6442">
                  <c:v>37</c:v>
                </c:pt>
                <c:pt idx="6443">
                  <c:v>65</c:v>
                </c:pt>
                <c:pt idx="6444">
                  <c:v>16</c:v>
                </c:pt>
                <c:pt idx="6445">
                  <c:v>41</c:v>
                </c:pt>
                <c:pt idx="6446">
                  <c:v>65</c:v>
                </c:pt>
                <c:pt idx="6447">
                  <c:v>86</c:v>
                </c:pt>
                <c:pt idx="6448">
                  <c:v>98</c:v>
                </c:pt>
                <c:pt idx="6449">
                  <c:v>25</c:v>
                </c:pt>
                <c:pt idx="6450">
                  <c:v>125</c:v>
                </c:pt>
                <c:pt idx="6451">
                  <c:v>23</c:v>
                </c:pt>
                <c:pt idx="6452">
                  <c:v>2</c:v>
                </c:pt>
                <c:pt idx="6453">
                  <c:v>16</c:v>
                </c:pt>
                <c:pt idx="6454">
                  <c:v>3</c:v>
                </c:pt>
                <c:pt idx="6455">
                  <c:v>2</c:v>
                </c:pt>
                <c:pt idx="6456">
                  <c:v>2</c:v>
                </c:pt>
                <c:pt idx="6457">
                  <c:v>0</c:v>
                </c:pt>
                <c:pt idx="6458">
                  <c:v>1</c:v>
                </c:pt>
                <c:pt idx="6459">
                  <c:v>0</c:v>
                </c:pt>
                <c:pt idx="6460">
                  <c:v>1</c:v>
                </c:pt>
                <c:pt idx="6461">
                  <c:v>0</c:v>
                </c:pt>
                <c:pt idx="6462">
                  <c:v>0</c:v>
                </c:pt>
                <c:pt idx="6463">
                  <c:v>6</c:v>
                </c:pt>
                <c:pt idx="6464">
                  <c:v>22</c:v>
                </c:pt>
                <c:pt idx="6465">
                  <c:v>0</c:v>
                </c:pt>
                <c:pt idx="6466">
                  <c:v>0</c:v>
                </c:pt>
                <c:pt idx="6467">
                  <c:v>0</c:v>
                </c:pt>
                <c:pt idx="6468">
                  <c:v>6</c:v>
                </c:pt>
                <c:pt idx="6469">
                  <c:v>129</c:v>
                </c:pt>
                <c:pt idx="6470">
                  <c:v>91</c:v>
                </c:pt>
                <c:pt idx="6471">
                  <c:v>58</c:v>
                </c:pt>
                <c:pt idx="6472">
                  <c:v>6</c:v>
                </c:pt>
                <c:pt idx="6473">
                  <c:v>2</c:v>
                </c:pt>
                <c:pt idx="6474">
                  <c:v>21</c:v>
                </c:pt>
                <c:pt idx="6475">
                  <c:v>7</c:v>
                </c:pt>
                <c:pt idx="6476">
                  <c:v>16</c:v>
                </c:pt>
                <c:pt idx="6477">
                  <c:v>15</c:v>
                </c:pt>
                <c:pt idx="6478">
                  <c:v>8</c:v>
                </c:pt>
                <c:pt idx="6479">
                  <c:v>3</c:v>
                </c:pt>
                <c:pt idx="6480">
                  <c:v>28</c:v>
                </c:pt>
                <c:pt idx="6481">
                  <c:v>17</c:v>
                </c:pt>
                <c:pt idx="6482">
                  <c:v>17</c:v>
                </c:pt>
                <c:pt idx="6483">
                  <c:v>12</c:v>
                </c:pt>
                <c:pt idx="6484">
                  <c:v>7</c:v>
                </c:pt>
                <c:pt idx="6485">
                  <c:v>10</c:v>
                </c:pt>
                <c:pt idx="6486">
                  <c:v>11</c:v>
                </c:pt>
                <c:pt idx="6487">
                  <c:v>16</c:v>
                </c:pt>
                <c:pt idx="6488">
                  <c:v>91</c:v>
                </c:pt>
                <c:pt idx="6489">
                  <c:v>23</c:v>
                </c:pt>
                <c:pt idx="6490">
                  <c:v>16</c:v>
                </c:pt>
                <c:pt idx="6491">
                  <c:v>5</c:v>
                </c:pt>
                <c:pt idx="6492">
                  <c:v>10</c:v>
                </c:pt>
                <c:pt idx="6493">
                  <c:v>1</c:v>
                </c:pt>
                <c:pt idx="6494">
                  <c:v>15</c:v>
                </c:pt>
                <c:pt idx="6495">
                  <c:v>4</c:v>
                </c:pt>
                <c:pt idx="6496">
                  <c:v>4</c:v>
                </c:pt>
                <c:pt idx="6497">
                  <c:v>10</c:v>
                </c:pt>
                <c:pt idx="6498">
                  <c:v>3</c:v>
                </c:pt>
                <c:pt idx="6499">
                  <c:v>9</c:v>
                </c:pt>
                <c:pt idx="6500">
                  <c:v>3</c:v>
                </c:pt>
                <c:pt idx="6501">
                  <c:v>2</c:v>
                </c:pt>
                <c:pt idx="6502">
                  <c:v>0</c:v>
                </c:pt>
                <c:pt idx="6503">
                  <c:v>0</c:v>
                </c:pt>
                <c:pt idx="6504">
                  <c:v>6</c:v>
                </c:pt>
                <c:pt idx="6505">
                  <c:v>7</c:v>
                </c:pt>
                <c:pt idx="6506">
                  <c:v>1</c:v>
                </c:pt>
                <c:pt idx="6507">
                  <c:v>3</c:v>
                </c:pt>
                <c:pt idx="6508">
                  <c:v>5</c:v>
                </c:pt>
                <c:pt idx="6509">
                  <c:v>0</c:v>
                </c:pt>
                <c:pt idx="6510">
                  <c:v>0</c:v>
                </c:pt>
                <c:pt idx="6511">
                  <c:v>27</c:v>
                </c:pt>
                <c:pt idx="6512">
                  <c:v>10</c:v>
                </c:pt>
                <c:pt idx="6513">
                  <c:v>2</c:v>
                </c:pt>
                <c:pt idx="6514">
                  <c:v>0</c:v>
                </c:pt>
                <c:pt idx="6515">
                  <c:v>3</c:v>
                </c:pt>
                <c:pt idx="6516">
                  <c:v>0</c:v>
                </c:pt>
                <c:pt idx="6517">
                  <c:v>0</c:v>
                </c:pt>
                <c:pt idx="6518">
                  <c:v>1</c:v>
                </c:pt>
                <c:pt idx="6519">
                  <c:v>1</c:v>
                </c:pt>
                <c:pt idx="6520">
                  <c:v>0</c:v>
                </c:pt>
                <c:pt idx="6521">
                  <c:v>1</c:v>
                </c:pt>
                <c:pt idx="6522">
                  <c:v>1</c:v>
                </c:pt>
                <c:pt idx="6523">
                  <c:v>2</c:v>
                </c:pt>
                <c:pt idx="6524">
                  <c:v>6</c:v>
                </c:pt>
                <c:pt idx="6525">
                  <c:v>0</c:v>
                </c:pt>
                <c:pt idx="6526">
                  <c:v>11</c:v>
                </c:pt>
                <c:pt idx="6527">
                  <c:v>2</c:v>
                </c:pt>
                <c:pt idx="6528">
                  <c:v>0</c:v>
                </c:pt>
                <c:pt idx="6529">
                  <c:v>0</c:v>
                </c:pt>
                <c:pt idx="6530">
                  <c:v>0</c:v>
                </c:pt>
                <c:pt idx="6531">
                  <c:v>0</c:v>
                </c:pt>
                <c:pt idx="6532">
                  <c:v>1</c:v>
                </c:pt>
                <c:pt idx="6533">
                  <c:v>0</c:v>
                </c:pt>
                <c:pt idx="6534">
                  <c:v>0</c:v>
                </c:pt>
                <c:pt idx="6535">
                  <c:v>0</c:v>
                </c:pt>
                <c:pt idx="6536">
                  <c:v>0</c:v>
                </c:pt>
                <c:pt idx="6537">
                  <c:v>2</c:v>
                </c:pt>
                <c:pt idx="6538">
                  <c:v>1</c:v>
                </c:pt>
                <c:pt idx="6539">
                  <c:v>7</c:v>
                </c:pt>
                <c:pt idx="6540">
                  <c:v>0</c:v>
                </c:pt>
                <c:pt idx="6541">
                  <c:v>10</c:v>
                </c:pt>
                <c:pt idx="6542">
                  <c:v>3</c:v>
                </c:pt>
                <c:pt idx="6543">
                  <c:v>1005</c:v>
                </c:pt>
                <c:pt idx="6544">
                  <c:v>166</c:v>
                </c:pt>
                <c:pt idx="6545">
                  <c:v>354</c:v>
                </c:pt>
                <c:pt idx="6546">
                  <c:v>784</c:v>
                </c:pt>
                <c:pt idx="6547">
                  <c:v>227</c:v>
                </c:pt>
                <c:pt idx="6548">
                  <c:v>1397</c:v>
                </c:pt>
                <c:pt idx="6549">
                  <c:v>519</c:v>
                </c:pt>
                <c:pt idx="6550">
                  <c:v>597</c:v>
                </c:pt>
                <c:pt idx="6551">
                  <c:v>1152</c:v>
                </c:pt>
                <c:pt idx="6552">
                  <c:v>1096</c:v>
                </c:pt>
                <c:pt idx="6553">
                  <c:v>1114</c:v>
                </c:pt>
                <c:pt idx="6554">
                  <c:v>382</c:v>
                </c:pt>
                <c:pt idx="6555">
                  <c:v>353</c:v>
                </c:pt>
                <c:pt idx="6556">
                  <c:v>228</c:v>
                </c:pt>
                <c:pt idx="6557">
                  <c:v>1217</c:v>
                </c:pt>
                <c:pt idx="6558">
                  <c:v>714</c:v>
                </c:pt>
                <c:pt idx="6559">
                  <c:v>331</c:v>
                </c:pt>
                <c:pt idx="6560">
                  <c:v>414</c:v>
                </c:pt>
                <c:pt idx="6561">
                  <c:v>470</c:v>
                </c:pt>
                <c:pt idx="6562">
                  <c:v>216</c:v>
                </c:pt>
                <c:pt idx="6563">
                  <c:v>326</c:v>
                </c:pt>
                <c:pt idx="6564">
                  <c:v>493</c:v>
                </c:pt>
                <c:pt idx="6565">
                  <c:v>1018</c:v>
                </c:pt>
                <c:pt idx="6566">
                  <c:v>1451</c:v>
                </c:pt>
                <c:pt idx="6567">
                  <c:v>10</c:v>
                </c:pt>
                <c:pt idx="6568">
                  <c:v>46</c:v>
                </c:pt>
                <c:pt idx="6569">
                  <c:v>21</c:v>
                </c:pt>
                <c:pt idx="6570">
                  <c:v>60</c:v>
                </c:pt>
                <c:pt idx="6571">
                  <c:v>128</c:v>
                </c:pt>
                <c:pt idx="6572">
                  <c:v>24</c:v>
                </c:pt>
                <c:pt idx="6573">
                  <c:v>5</c:v>
                </c:pt>
                <c:pt idx="6574">
                  <c:v>1</c:v>
                </c:pt>
                <c:pt idx="6575">
                  <c:v>19</c:v>
                </c:pt>
                <c:pt idx="6576">
                  <c:v>256</c:v>
                </c:pt>
                <c:pt idx="6577">
                  <c:v>466</c:v>
                </c:pt>
                <c:pt idx="6578">
                  <c:v>161</c:v>
                </c:pt>
                <c:pt idx="6579">
                  <c:v>355</c:v>
                </c:pt>
                <c:pt idx="6580">
                  <c:v>1</c:v>
                </c:pt>
                <c:pt idx="6581">
                  <c:v>58</c:v>
                </c:pt>
                <c:pt idx="6582">
                  <c:v>125</c:v>
                </c:pt>
                <c:pt idx="6583">
                  <c:v>1420</c:v>
                </c:pt>
                <c:pt idx="6584">
                  <c:v>175</c:v>
                </c:pt>
                <c:pt idx="6585">
                  <c:v>3</c:v>
                </c:pt>
                <c:pt idx="6586">
                  <c:v>751</c:v>
                </c:pt>
                <c:pt idx="6587">
                  <c:v>127</c:v>
                </c:pt>
                <c:pt idx="6588">
                  <c:v>300</c:v>
                </c:pt>
                <c:pt idx="6589">
                  <c:v>78</c:v>
                </c:pt>
                <c:pt idx="6590">
                  <c:v>105</c:v>
                </c:pt>
                <c:pt idx="6591">
                  <c:v>114</c:v>
                </c:pt>
                <c:pt idx="6592">
                  <c:v>15</c:v>
                </c:pt>
                <c:pt idx="6593">
                  <c:v>77</c:v>
                </c:pt>
                <c:pt idx="6594">
                  <c:v>71</c:v>
                </c:pt>
                <c:pt idx="6595">
                  <c:v>39</c:v>
                </c:pt>
                <c:pt idx="6596">
                  <c:v>5</c:v>
                </c:pt>
                <c:pt idx="6597">
                  <c:v>15</c:v>
                </c:pt>
                <c:pt idx="6598">
                  <c:v>63</c:v>
                </c:pt>
                <c:pt idx="6599">
                  <c:v>56</c:v>
                </c:pt>
                <c:pt idx="6600">
                  <c:v>952</c:v>
                </c:pt>
                <c:pt idx="6601">
                  <c:v>920</c:v>
                </c:pt>
                <c:pt idx="6602">
                  <c:v>921</c:v>
                </c:pt>
                <c:pt idx="6603">
                  <c:v>968</c:v>
                </c:pt>
                <c:pt idx="6604">
                  <c:v>1487</c:v>
                </c:pt>
                <c:pt idx="6605">
                  <c:v>389</c:v>
                </c:pt>
                <c:pt idx="6606">
                  <c:v>184</c:v>
                </c:pt>
                <c:pt idx="6607">
                  <c:v>301</c:v>
                </c:pt>
                <c:pt idx="6608">
                  <c:v>385</c:v>
                </c:pt>
                <c:pt idx="6609">
                  <c:v>627</c:v>
                </c:pt>
                <c:pt idx="6610">
                  <c:v>237</c:v>
                </c:pt>
                <c:pt idx="6611">
                  <c:v>288</c:v>
                </c:pt>
                <c:pt idx="6612">
                  <c:v>135</c:v>
                </c:pt>
                <c:pt idx="6613">
                  <c:v>442</c:v>
                </c:pt>
                <c:pt idx="6614">
                  <c:v>169</c:v>
                </c:pt>
                <c:pt idx="6615">
                  <c:v>103</c:v>
                </c:pt>
                <c:pt idx="6616">
                  <c:v>1508</c:v>
                </c:pt>
                <c:pt idx="6617">
                  <c:v>464</c:v>
                </c:pt>
                <c:pt idx="6618">
                  <c:v>130</c:v>
                </c:pt>
                <c:pt idx="6619">
                  <c:v>46</c:v>
                </c:pt>
                <c:pt idx="6620">
                  <c:v>14</c:v>
                </c:pt>
                <c:pt idx="6621">
                  <c:v>26</c:v>
                </c:pt>
                <c:pt idx="6622">
                  <c:v>168</c:v>
                </c:pt>
                <c:pt idx="6623">
                  <c:v>572</c:v>
                </c:pt>
                <c:pt idx="6624">
                  <c:v>180</c:v>
                </c:pt>
                <c:pt idx="6625">
                  <c:v>158</c:v>
                </c:pt>
                <c:pt idx="6626">
                  <c:v>192</c:v>
                </c:pt>
                <c:pt idx="6627">
                  <c:v>195</c:v>
                </c:pt>
                <c:pt idx="6628">
                  <c:v>44</c:v>
                </c:pt>
                <c:pt idx="6629">
                  <c:v>143</c:v>
                </c:pt>
                <c:pt idx="6630">
                  <c:v>149</c:v>
                </c:pt>
                <c:pt idx="6631">
                  <c:v>30</c:v>
                </c:pt>
                <c:pt idx="6632">
                  <c:v>178</c:v>
                </c:pt>
                <c:pt idx="6633">
                  <c:v>361</c:v>
                </c:pt>
                <c:pt idx="6634">
                  <c:v>99</c:v>
                </c:pt>
                <c:pt idx="6635">
                  <c:v>84</c:v>
                </c:pt>
                <c:pt idx="6636">
                  <c:v>105</c:v>
                </c:pt>
                <c:pt idx="6637">
                  <c:v>66</c:v>
                </c:pt>
                <c:pt idx="6638">
                  <c:v>132</c:v>
                </c:pt>
                <c:pt idx="6639">
                  <c:v>113</c:v>
                </c:pt>
                <c:pt idx="6640">
                  <c:v>88</c:v>
                </c:pt>
                <c:pt idx="6641">
                  <c:v>87</c:v>
                </c:pt>
                <c:pt idx="6642">
                  <c:v>75</c:v>
                </c:pt>
                <c:pt idx="6643">
                  <c:v>101</c:v>
                </c:pt>
                <c:pt idx="6644">
                  <c:v>69</c:v>
                </c:pt>
                <c:pt idx="6645">
                  <c:v>106</c:v>
                </c:pt>
                <c:pt idx="6646">
                  <c:v>118</c:v>
                </c:pt>
                <c:pt idx="6647">
                  <c:v>78</c:v>
                </c:pt>
                <c:pt idx="6648">
                  <c:v>74</c:v>
                </c:pt>
                <c:pt idx="6649">
                  <c:v>43</c:v>
                </c:pt>
                <c:pt idx="6650">
                  <c:v>69</c:v>
                </c:pt>
                <c:pt idx="6651">
                  <c:v>80</c:v>
                </c:pt>
                <c:pt idx="6652">
                  <c:v>52</c:v>
                </c:pt>
                <c:pt idx="6653">
                  <c:v>42</c:v>
                </c:pt>
                <c:pt idx="6654">
                  <c:v>94</c:v>
                </c:pt>
                <c:pt idx="6655">
                  <c:v>57</c:v>
                </c:pt>
                <c:pt idx="6656">
                  <c:v>75</c:v>
                </c:pt>
                <c:pt idx="6657">
                  <c:v>43</c:v>
                </c:pt>
                <c:pt idx="6658">
                  <c:v>32</c:v>
                </c:pt>
                <c:pt idx="6659">
                  <c:v>44</c:v>
                </c:pt>
                <c:pt idx="6660">
                  <c:v>32</c:v>
                </c:pt>
                <c:pt idx="6661">
                  <c:v>30</c:v>
                </c:pt>
                <c:pt idx="6662">
                  <c:v>884</c:v>
                </c:pt>
                <c:pt idx="6663">
                  <c:v>814</c:v>
                </c:pt>
                <c:pt idx="6664">
                  <c:v>1617</c:v>
                </c:pt>
                <c:pt idx="6665">
                  <c:v>512</c:v>
                </c:pt>
                <c:pt idx="6666">
                  <c:v>228</c:v>
                </c:pt>
                <c:pt idx="6667">
                  <c:v>267</c:v>
                </c:pt>
                <c:pt idx="6668">
                  <c:v>593</c:v>
                </c:pt>
                <c:pt idx="6669">
                  <c:v>148</c:v>
                </c:pt>
                <c:pt idx="6670">
                  <c:v>92</c:v>
                </c:pt>
                <c:pt idx="6671">
                  <c:v>31</c:v>
                </c:pt>
                <c:pt idx="6672">
                  <c:v>42</c:v>
                </c:pt>
                <c:pt idx="6673">
                  <c:v>27</c:v>
                </c:pt>
                <c:pt idx="6674">
                  <c:v>42</c:v>
                </c:pt>
                <c:pt idx="6675">
                  <c:v>43</c:v>
                </c:pt>
                <c:pt idx="6676">
                  <c:v>48</c:v>
                </c:pt>
                <c:pt idx="6677">
                  <c:v>44</c:v>
                </c:pt>
                <c:pt idx="6678">
                  <c:v>65</c:v>
                </c:pt>
                <c:pt idx="6679">
                  <c:v>5</c:v>
                </c:pt>
                <c:pt idx="6680">
                  <c:v>4</c:v>
                </c:pt>
                <c:pt idx="6681">
                  <c:v>57</c:v>
                </c:pt>
                <c:pt idx="6682">
                  <c:v>29</c:v>
                </c:pt>
                <c:pt idx="6683">
                  <c:v>21</c:v>
                </c:pt>
                <c:pt idx="6684">
                  <c:v>20</c:v>
                </c:pt>
                <c:pt idx="6685">
                  <c:v>28</c:v>
                </c:pt>
                <c:pt idx="6686">
                  <c:v>26</c:v>
                </c:pt>
                <c:pt idx="6687">
                  <c:v>21</c:v>
                </c:pt>
                <c:pt idx="6688">
                  <c:v>19</c:v>
                </c:pt>
                <c:pt idx="6689">
                  <c:v>9</c:v>
                </c:pt>
                <c:pt idx="6690">
                  <c:v>17</c:v>
                </c:pt>
                <c:pt idx="6691">
                  <c:v>21</c:v>
                </c:pt>
                <c:pt idx="6692">
                  <c:v>21</c:v>
                </c:pt>
                <c:pt idx="6693">
                  <c:v>19</c:v>
                </c:pt>
                <c:pt idx="6694">
                  <c:v>20</c:v>
                </c:pt>
                <c:pt idx="6695">
                  <c:v>21</c:v>
                </c:pt>
                <c:pt idx="6696">
                  <c:v>14</c:v>
                </c:pt>
                <c:pt idx="6697">
                  <c:v>5</c:v>
                </c:pt>
                <c:pt idx="6698">
                  <c:v>8</c:v>
                </c:pt>
                <c:pt idx="6699">
                  <c:v>16</c:v>
                </c:pt>
                <c:pt idx="6700">
                  <c:v>17</c:v>
                </c:pt>
                <c:pt idx="6701">
                  <c:v>8</c:v>
                </c:pt>
                <c:pt idx="6702">
                  <c:v>25</c:v>
                </c:pt>
                <c:pt idx="6703">
                  <c:v>4</c:v>
                </c:pt>
                <c:pt idx="6704">
                  <c:v>31</c:v>
                </c:pt>
                <c:pt idx="6705">
                  <c:v>19</c:v>
                </c:pt>
                <c:pt idx="6706">
                  <c:v>30</c:v>
                </c:pt>
                <c:pt idx="6707">
                  <c:v>21</c:v>
                </c:pt>
                <c:pt idx="6708">
                  <c:v>18</c:v>
                </c:pt>
                <c:pt idx="6709">
                  <c:v>13</c:v>
                </c:pt>
                <c:pt idx="6710">
                  <c:v>18</c:v>
                </c:pt>
                <c:pt idx="6711">
                  <c:v>2</c:v>
                </c:pt>
                <c:pt idx="6712">
                  <c:v>1</c:v>
                </c:pt>
                <c:pt idx="6713">
                  <c:v>1</c:v>
                </c:pt>
                <c:pt idx="6714">
                  <c:v>16</c:v>
                </c:pt>
                <c:pt idx="6715">
                  <c:v>1</c:v>
                </c:pt>
                <c:pt idx="6716">
                  <c:v>9</c:v>
                </c:pt>
                <c:pt idx="6717">
                  <c:v>1</c:v>
                </c:pt>
                <c:pt idx="6718">
                  <c:v>16</c:v>
                </c:pt>
                <c:pt idx="6719">
                  <c:v>28</c:v>
                </c:pt>
                <c:pt idx="6720">
                  <c:v>1</c:v>
                </c:pt>
                <c:pt idx="6721">
                  <c:v>358</c:v>
                </c:pt>
                <c:pt idx="6722">
                  <c:v>816</c:v>
                </c:pt>
                <c:pt idx="6723">
                  <c:v>927</c:v>
                </c:pt>
                <c:pt idx="6724">
                  <c:v>823</c:v>
                </c:pt>
                <c:pt idx="6725">
                  <c:v>247</c:v>
                </c:pt>
                <c:pt idx="6726">
                  <c:v>460</c:v>
                </c:pt>
                <c:pt idx="6727">
                  <c:v>59</c:v>
                </c:pt>
                <c:pt idx="6728">
                  <c:v>30</c:v>
                </c:pt>
                <c:pt idx="6729">
                  <c:v>218</c:v>
                </c:pt>
                <c:pt idx="6730">
                  <c:v>549</c:v>
                </c:pt>
                <c:pt idx="6731">
                  <c:v>382</c:v>
                </c:pt>
                <c:pt idx="6732">
                  <c:v>67</c:v>
                </c:pt>
                <c:pt idx="6733">
                  <c:v>332</c:v>
                </c:pt>
                <c:pt idx="6734">
                  <c:v>457</c:v>
                </c:pt>
                <c:pt idx="6735">
                  <c:v>96</c:v>
                </c:pt>
                <c:pt idx="6736">
                  <c:v>145</c:v>
                </c:pt>
                <c:pt idx="6737">
                  <c:v>129</c:v>
                </c:pt>
                <c:pt idx="6738">
                  <c:v>132</c:v>
                </c:pt>
                <c:pt idx="6739">
                  <c:v>67</c:v>
                </c:pt>
                <c:pt idx="6740">
                  <c:v>1139</c:v>
                </c:pt>
                <c:pt idx="6741">
                  <c:v>679</c:v>
                </c:pt>
                <c:pt idx="6742">
                  <c:v>351</c:v>
                </c:pt>
                <c:pt idx="6743">
                  <c:v>717</c:v>
                </c:pt>
                <c:pt idx="6744">
                  <c:v>67</c:v>
                </c:pt>
                <c:pt idx="6745">
                  <c:v>1120</c:v>
                </c:pt>
                <c:pt idx="6746">
                  <c:v>372</c:v>
                </c:pt>
                <c:pt idx="6747">
                  <c:v>589</c:v>
                </c:pt>
                <c:pt idx="6748">
                  <c:v>469</c:v>
                </c:pt>
                <c:pt idx="6749">
                  <c:v>94</c:v>
                </c:pt>
                <c:pt idx="6750">
                  <c:v>591</c:v>
                </c:pt>
                <c:pt idx="6751">
                  <c:v>180</c:v>
                </c:pt>
                <c:pt idx="6752">
                  <c:v>310</c:v>
                </c:pt>
                <c:pt idx="6753">
                  <c:v>196</c:v>
                </c:pt>
                <c:pt idx="6754">
                  <c:v>57</c:v>
                </c:pt>
                <c:pt idx="6755">
                  <c:v>152</c:v>
                </c:pt>
                <c:pt idx="6756">
                  <c:v>469</c:v>
                </c:pt>
                <c:pt idx="6757">
                  <c:v>197</c:v>
                </c:pt>
                <c:pt idx="6758">
                  <c:v>134</c:v>
                </c:pt>
                <c:pt idx="6759">
                  <c:v>188</c:v>
                </c:pt>
                <c:pt idx="6760">
                  <c:v>234</c:v>
                </c:pt>
                <c:pt idx="6761">
                  <c:v>130</c:v>
                </c:pt>
                <c:pt idx="6762">
                  <c:v>245</c:v>
                </c:pt>
                <c:pt idx="6763">
                  <c:v>633</c:v>
                </c:pt>
                <c:pt idx="6764">
                  <c:v>188</c:v>
                </c:pt>
                <c:pt idx="6765">
                  <c:v>190</c:v>
                </c:pt>
                <c:pt idx="6766">
                  <c:v>508</c:v>
                </c:pt>
                <c:pt idx="6767">
                  <c:v>233</c:v>
                </c:pt>
                <c:pt idx="6768">
                  <c:v>222</c:v>
                </c:pt>
                <c:pt idx="6769">
                  <c:v>259</c:v>
                </c:pt>
                <c:pt idx="6770">
                  <c:v>330</c:v>
                </c:pt>
                <c:pt idx="6771">
                  <c:v>267</c:v>
                </c:pt>
                <c:pt idx="6772">
                  <c:v>157</c:v>
                </c:pt>
                <c:pt idx="6773">
                  <c:v>224</c:v>
                </c:pt>
                <c:pt idx="6774">
                  <c:v>185</c:v>
                </c:pt>
                <c:pt idx="6775">
                  <c:v>334</c:v>
                </c:pt>
                <c:pt idx="6776">
                  <c:v>356</c:v>
                </c:pt>
                <c:pt idx="6777">
                  <c:v>308</c:v>
                </c:pt>
                <c:pt idx="6778">
                  <c:v>1079</c:v>
                </c:pt>
                <c:pt idx="6779">
                  <c:v>129</c:v>
                </c:pt>
                <c:pt idx="6780">
                  <c:v>568</c:v>
                </c:pt>
                <c:pt idx="6781">
                  <c:v>91</c:v>
                </c:pt>
                <c:pt idx="6782">
                  <c:v>124</c:v>
                </c:pt>
                <c:pt idx="6783">
                  <c:v>123</c:v>
                </c:pt>
                <c:pt idx="6784">
                  <c:v>92</c:v>
                </c:pt>
                <c:pt idx="6785">
                  <c:v>457</c:v>
                </c:pt>
                <c:pt idx="6786">
                  <c:v>107</c:v>
                </c:pt>
                <c:pt idx="6787">
                  <c:v>84</c:v>
                </c:pt>
                <c:pt idx="6788">
                  <c:v>82</c:v>
                </c:pt>
                <c:pt idx="6789">
                  <c:v>90</c:v>
                </c:pt>
                <c:pt idx="6790">
                  <c:v>110</c:v>
                </c:pt>
                <c:pt idx="6791">
                  <c:v>76</c:v>
                </c:pt>
                <c:pt idx="6792">
                  <c:v>87</c:v>
                </c:pt>
                <c:pt idx="6793">
                  <c:v>36</c:v>
                </c:pt>
                <c:pt idx="6794">
                  <c:v>63</c:v>
                </c:pt>
                <c:pt idx="6795">
                  <c:v>110</c:v>
                </c:pt>
                <c:pt idx="6796">
                  <c:v>81</c:v>
                </c:pt>
                <c:pt idx="6797">
                  <c:v>50</c:v>
                </c:pt>
                <c:pt idx="6798">
                  <c:v>53</c:v>
                </c:pt>
                <c:pt idx="6799">
                  <c:v>1227</c:v>
                </c:pt>
                <c:pt idx="6800">
                  <c:v>1448</c:v>
                </c:pt>
                <c:pt idx="6801">
                  <c:v>1293</c:v>
                </c:pt>
                <c:pt idx="6802">
                  <c:v>886</c:v>
                </c:pt>
                <c:pt idx="6803">
                  <c:v>1090</c:v>
                </c:pt>
                <c:pt idx="6804">
                  <c:v>674</c:v>
                </c:pt>
                <c:pt idx="6805">
                  <c:v>1336</c:v>
                </c:pt>
                <c:pt idx="6806">
                  <c:v>996</c:v>
                </c:pt>
                <c:pt idx="6807">
                  <c:v>394</c:v>
                </c:pt>
                <c:pt idx="6808">
                  <c:v>821</c:v>
                </c:pt>
                <c:pt idx="6809">
                  <c:v>305</c:v>
                </c:pt>
                <c:pt idx="6810">
                  <c:v>432</c:v>
                </c:pt>
                <c:pt idx="6811">
                  <c:v>867</c:v>
                </c:pt>
                <c:pt idx="6812">
                  <c:v>320</c:v>
                </c:pt>
                <c:pt idx="6813">
                  <c:v>158</c:v>
                </c:pt>
                <c:pt idx="6814">
                  <c:v>124</c:v>
                </c:pt>
                <c:pt idx="6815">
                  <c:v>96</c:v>
                </c:pt>
                <c:pt idx="6816">
                  <c:v>201</c:v>
                </c:pt>
                <c:pt idx="6817">
                  <c:v>621</c:v>
                </c:pt>
                <c:pt idx="6818">
                  <c:v>992</c:v>
                </c:pt>
                <c:pt idx="6819">
                  <c:v>372</c:v>
                </c:pt>
                <c:pt idx="6820">
                  <c:v>426</c:v>
                </c:pt>
                <c:pt idx="6821">
                  <c:v>613</c:v>
                </c:pt>
                <c:pt idx="6822">
                  <c:v>726</c:v>
                </c:pt>
                <c:pt idx="6823">
                  <c:v>487</c:v>
                </c:pt>
                <c:pt idx="6824">
                  <c:v>271</c:v>
                </c:pt>
                <c:pt idx="6825">
                  <c:v>513</c:v>
                </c:pt>
                <c:pt idx="6826">
                  <c:v>238</c:v>
                </c:pt>
                <c:pt idx="6827">
                  <c:v>218</c:v>
                </c:pt>
                <c:pt idx="6828">
                  <c:v>158</c:v>
                </c:pt>
                <c:pt idx="6829">
                  <c:v>28</c:v>
                </c:pt>
                <c:pt idx="6830">
                  <c:v>333</c:v>
                </c:pt>
                <c:pt idx="6831">
                  <c:v>300</c:v>
                </c:pt>
                <c:pt idx="6832">
                  <c:v>109</c:v>
                </c:pt>
                <c:pt idx="6833">
                  <c:v>117</c:v>
                </c:pt>
                <c:pt idx="6834">
                  <c:v>671</c:v>
                </c:pt>
                <c:pt idx="6835">
                  <c:v>425</c:v>
                </c:pt>
                <c:pt idx="6836">
                  <c:v>1056</c:v>
                </c:pt>
                <c:pt idx="6837">
                  <c:v>762</c:v>
                </c:pt>
                <c:pt idx="6838">
                  <c:v>356</c:v>
                </c:pt>
                <c:pt idx="6839">
                  <c:v>474</c:v>
                </c:pt>
                <c:pt idx="6840">
                  <c:v>726</c:v>
                </c:pt>
                <c:pt idx="6841">
                  <c:v>477</c:v>
                </c:pt>
                <c:pt idx="6842">
                  <c:v>291</c:v>
                </c:pt>
                <c:pt idx="6843">
                  <c:v>522</c:v>
                </c:pt>
                <c:pt idx="6844">
                  <c:v>658</c:v>
                </c:pt>
                <c:pt idx="6845">
                  <c:v>115</c:v>
                </c:pt>
                <c:pt idx="6846">
                  <c:v>642</c:v>
                </c:pt>
                <c:pt idx="6847">
                  <c:v>852</c:v>
                </c:pt>
                <c:pt idx="6848">
                  <c:v>176</c:v>
                </c:pt>
                <c:pt idx="6849">
                  <c:v>127</c:v>
                </c:pt>
                <c:pt idx="6850">
                  <c:v>93</c:v>
                </c:pt>
                <c:pt idx="6851">
                  <c:v>73</c:v>
                </c:pt>
                <c:pt idx="6852">
                  <c:v>87</c:v>
                </c:pt>
                <c:pt idx="6853">
                  <c:v>1021</c:v>
                </c:pt>
                <c:pt idx="6854">
                  <c:v>595</c:v>
                </c:pt>
                <c:pt idx="6855">
                  <c:v>747</c:v>
                </c:pt>
                <c:pt idx="6856">
                  <c:v>553</c:v>
                </c:pt>
                <c:pt idx="6857">
                  <c:v>514</c:v>
                </c:pt>
                <c:pt idx="6858">
                  <c:v>197</c:v>
                </c:pt>
                <c:pt idx="6859">
                  <c:v>44</c:v>
                </c:pt>
                <c:pt idx="6860">
                  <c:v>182</c:v>
                </c:pt>
                <c:pt idx="6861">
                  <c:v>111</c:v>
                </c:pt>
                <c:pt idx="6862">
                  <c:v>101</c:v>
                </c:pt>
                <c:pt idx="6863">
                  <c:v>51</c:v>
                </c:pt>
                <c:pt idx="6864">
                  <c:v>52</c:v>
                </c:pt>
                <c:pt idx="6865">
                  <c:v>16</c:v>
                </c:pt>
                <c:pt idx="6866">
                  <c:v>92</c:v>
                </c:pt>
                <c:pt idx="6867">
                  <c:v>23</c:v>
                </c:pt>
                <c:pt idx="6868">
                  <c:v>20</c:v>
                </c:pt>
                <c:pt idx="6869">
                  <c:v>71</c:v>
                </c:pt>
                <c:pt idx="6870">
                  <c:v>1686</c:v>
                </c:pt>
                <c:pt idx="6871">
                  <c:v>1136</c:v>
                </c:pt>
                <c:pt idx="6872">
                  <c:v>129</c:v>
                </c:pt>
                <c:pt idx="6873">
                  <c:v>748</c:v>
                </c:pt>
                <c:pt idx="6874">
                  <c:v>1113</c:v>
                </c:pt>
                <c:pt idx="6875">
                  <c:v>399</c:v>
                </c:pt>
                <c:pt idx="6876">
                  <c:v>961</c:v>
                </c:pt>
                <c:pt idx="6877">
                  <c:v>489</c:v>
                </c:pt>
                <c:pt idx="6878">
                  <c:v>872</c:v>
                </c:pt>
                <c:pt idx="6879">
                  <c:v>236</c:v>
                </c:pt>
                <c:pt idx="6880">
                  <c:v>192</c:v>
                </c:pt>
                <c:pt idx="6881">
                  <c:v>813</c:v>
                </c:pt>
                <c:pt idx="6882">
                  <c:v>715</c:v>
                </c:pt>
                <c:pt idx="6883">
                  <c:v>739</c:v>
                </c:pt>
                <c:pt idx="6884">
                  <c:v>743</c:v>
                </c:pt>
                <c:pt idx="6885">
                  <c:v>255</c:v>
                </c:pt>
                <c:pt idx="6886">
                  <c:v>64</c:v>
                </c:pt>
                <c:pt idx="6887">
                  <c:v>88</c:v>
                </c:pt>
                <c:pt idx="6888">
                  <c:v>120</c:v>
                </c:pt>
                <c:pt idx="6889">
                  <c:v>177</c:v>
                </c:pt>
                <c:pt idx="6890">
                  <c:v>27</c:v>
                </c:pt>
                <c:pt idx="6891">
                  <c:v>20</c:v>
                </c:pt>
                <c:pt idx="6892">
                  <c:v>16</c:v>
                </c:pt>
                <c:pt idx="6893">
                  <c:v>466</c:v>
                </c:pt>
                <c:pt idx="6894">
                  <c:v>556</c:v>
                </c:pt>
                <c:pt idx="6895">
                  <c:v>1151</c:v>
                </c:pt>
                <c:pt idx="6896">
                  <c:v>1502</c:v>
                </c:pt>
                <c:pt idx="6897">
                  <c:v>1451</c:v>
                </c:pt>
                <c:pt idx="6898">
                  <c:v>1036</c:v>
                </c:pt>
                <c:pt idx="6899">
                  <c:v>232</c:v>
                </c:pt>
                <c:pt idx="6900">
                  <c:v>887</c:v>
                </c:pt>
                <c:pt idx="6901">
                  <c:v>693</c:v>
                </c:pt>
                <c:pt idx="6902">
                  <c:v>324</c:v>
                </c:pt>
                <c:pt idx="6903">
                  <c:v>165</c:v>
                </c:pt>
                <c:pt idx="6904">
                  <c:v>142</c:v>
                </c:pt>
                <c:pt idx="6905">
                  <c:v>212</c:v>
                </c:pt>
                <c:pt idx="6906">
                  <c:v>227</c:v>
                </c:pt>
                <c:pt idx="6907">
                  <c:v>1077</c:v>
                </c:pt>
                <c:pt idx="6908">
                  <c:v>92</c:v>
                </c:pt>
                <c:pt idx="6909">
                  <c:v>440</c:v>
                </c:pt>
                <c:pt idx="6910">
                  <c:v>487</c:v>
                </c:pt>
                <c:pt idx="6911">
                  <c:v>840</c:v>
                </c:pt>
                <c:pt idx="6912">
                  <c:v>527</c:v>
                </c:pt>
                <c:pt idx="6913">
                  <c:v>496</c:v>
                </c:pt>
                <c:pt idx="6914">
                  <c:v>245</c:v>
                </c:pt>
                <c:pt idx="6915">
                  <c:v>299</c:v>
                </c:pt>
                <c:pt idx="6916">
                  <c:v>163</c:v>
                </c:pt>
                <c:pt idx="6917">
                  <c:v>428</c:v>
                </c:pt>
                <c:pt idx="6918">
                  <c:v>128</c:v>
                </c:pt>
                <c:pt idx="6919">
                  <c:v>252</c:v>
                </c:pt>
                <c:pt idx="6920">
                  <c:v>304</c:v>
                </c:pt>
                <c:pt idx="6921">
                  <c:v>160</c:v>
                </c:pt>
                <c:pt idx="6922">
                  <c:v>248</c:v>
                </c:pt>
                <c:pt idx="6923">
                  <c:v>109</c:v>
                </c:pt>
                <c:pt idx="6924">
                  <c:v>329</c:v>
                </c:pt>
                <c:pt idx="6925">
                  <c:v>85</c:v>
                </c:pt>
                <c:pt idx="6926">
                  <c:v>208</c:v>
                </c:pt>
                <c:pt idx="6927">
                  <c:v>439</c:v>
                </c:pt>
                <c:pt idx="6928">
                  <c:v>57</c:v>
                </c:pt>
                <c:pt idx="6929">
                  <c:v>123</c:v>
                </c:pt>
                <c:pt idx="6930">
                  <c:v>46</c:v>
                </c:pt>
                <c:pt idx="6931">
                  <c:v>26</c:v>
                </c:pt>
                <c:pt idx="6932">
                  <c:v>390</c:v>
                </c:pt>
                <c:pt idx="6933">
                  <c:v>650</c:v>
                </c:pt>
                <c:pt idx="6934">
                  <c:v>1163</c:v>
                </c:pt>
                <c:pt idx="6935">
                  <c:v>357</c:v>
                </c:pt>
                <c:pt idx="6936">
                  <c:v>85</c:v>
                </c:pt>
                <c:pt idx="6937">
                  <c:v>121</c:v>
                </c:pt>
                <c:pt idx="6938">
                  <c:v>98</c:v>
                </c:pt>
                <c:pt idx="6939">
                  <c:v>116</c:v>
                </c:pt>
                <c:pt idx="6940">
                  <c:v>86</c:v>
                </c:pt>
                <c:pt idx="6941">
                  <c:v>49</c:v>
                </c:pt>
                <c:pt idx="6942">
                  <c:v>35</c:v>
                </c:pt>
                <c:pt idx="6943">
                  <c:v>225</c:v>
                </c:pt>
                <c:pt idx="6944">
                  <c:v>367</c:v>
                </c:pt>
                <c:pt idx="6945">
                  <c:v>93</c:v>
                </c:pt>
                <c:pt idx="6946">
                  <c:v>73</c:v>
                </c:pt>
                <c:pt idx="6947">
                  <c:v>106</c:v>
                </c:pt>
                <c:pt idx="6948">
                  <c:v>136</c:v>
                </c:pt>
                <c:pt idx="6949">
                  <c:v>51</c:v>
                </c:pt>
                <c:pt idx="6950">
                  <c:v>58</c:v>
                </c:pt>
                <c:pt idx="6951">
                  <c:v>91</c:v>
                </c:pt>
                <c:pt idx="6952">
                  <c:v>42</c:v>
                </c:pt>
                <c:pt idx="6953">
                  <c:v>122</c:v>
                </c:pt>
                <c:pt idx="6954">
                  <c:v>21</c:v>
                </c:pt>
                <c:pt idx="6955">
                  <c:v>16</c:v>
                </c:pt>
                <c:pt idx="6956">
                  <c:v>25</c:v>
                </c:pt>
                <c:pt idx="6957">
                  <c:v>89</c:v>
                </c:pt>
                <c:pt idx="6958">
                  <c:v>49</c:v>
                </c:pt>
                <c:pt idx="6959">
                  <c:v>49</c:v>
                </c:pt>
                <c:pt idx="6960">
                  <c:v>11</c:v>
                </c:pt>
                <c:pt idx="6961">
                  <c:v>8</c:v>
                </c:pt>
                <c:pt idx="6962">
                  <c:v>3</c:v>
                </c:pt>
                <c:pt idx="6963">
                  <c:v>669</c:v>
                </c:pt>
                <c:pt idx="6964">
                  <c:v>59</c:v>
                </c:pt>
                <c:pt idx="6965">
                  <c:v>136</c:v>
                </c:pt>
                <c:pt idx="6966">
                  <c:v>95</c:v>
                </c:pt>
                <c:pt idx="6967">
                  <c:v>290</c:v>
                </c:pt>
                <c:pt idx="6968">
                  <c:v>277</c:v>
                </c:pt>
                <c:pt idx="6969">
                  <c:v>467</c:v>
                </c:pt>
                <c:pt idx="6970">
                  <c:v>314</c:v>
                </c:pt>
                <c:pt idx="6971">
                  <c:v>374</c:v>
                </c:pt>
                <c:pt idx="6972">
                  <c:v>503</c:v>
                </c:pt>
                <c:pt idx="6973">
                  <c:v>391</c:v>
                </c:pt>
                <c:pt idx="6974">
                  <c:v>234</c:v>
                </c:pt>
                <c:pt idx="6975">
                  <c:v>184</c:v>
                </c:pt>
                <c:pt idx="6976">
                  <c:v>112</c:v>
                </c:pt>
                <c:pt idx="6977">
                  <c:v>172</c:v>
                </c:pt>
                <c:pt idx="6978">
                  <c:v>405</c:v>
                </c:pt>
                <c:pt idx="6979">
                  <c:v>276</c:v>
                </c:pt>
                <c:pt idx="6980">
                  <c:v>304</c:v>
                </c:pt>
                <c:pt idx="6981">
                  <c:v>483</c:v>
                </c:pt>
                <c:pt idx="6982">
                  <c:v>307</c:v>
                </c:pt>
                <c:pt idx="6983">
                  <c:v>164</c:v>
                </c:pt>
                <c:pt idx="6984">
                  <c:v>117</c:v>
                </c:pt>
                <c:pt idx="6985">
                  <c:v>5</c:v>
                </c:pt>
                <c:pt idx="6986">
                  <c:v>606</c:v>
                </c:pt>
                <c:pt idx="6987">
                  <c:v>362</c:v>
                </c:pt>
                <c:pt idx="6988">
                  <c:v>56</c:v>
                </c:pt>
                <c:pt idx="6989">
                  <c:v>260</c:v>
                </c:pt>
                <c:pt idx="6990">
                  <c:v>68</c:v>
                </c:pt>
                <c:pt idx="6991">
                  <c:v>356</c:v>
                </c:pt>
                <c:pt idx="6992">
                  <c:v>109</c:v>
                </c:pt>
                <c:pt idx="6993">
                  <c:v>238</c:v>
                </c:pt>
                <c:pt idx="6994">
                  <c:v>236</c:v>
                </c:pt>
                <c:pt idx="6995">
                  <c:v>18</c:v>
                </c:pt>
                <c:pt idx="6996">
                  <c:v>44</c:v>
                </c:pt>
                <c:pt idx="6997">
                  <c:v>41</c:v>
                </c:pt>
                <c:pt idx="6998">
                  <c:v>118</c:v>
                </c:pt>
                <c:pt idx="6999">
                  <c:v>90</c:v>
                </c:pt>
                <c:pt idx="7000">
                  <c:v>77</c:v>
                </c:pt>
                <c:pt idx="7001">
                  <c:v>76</c:v>
                </c:pt>
                <c:pt idx="7002">
                  <c:v>87</c:v>
                </c:pt>
                <c:pt idx="7003">
                  <c:v>62</c:v>
                </c:pt>
                <c:pt idx="7004">
                  <c:v>71</c:v>
                </c:pt>
                <c:pt idx="7005">
                  <c:v>66</c:v>
                </c:pt>
                <c:pt idx="7006">
                  <c:v>70</c:v>
                </c:pt>
                <c:pt idx="7007">
                  <c:v>50</c:v>
                </c:pt>
                <c:pt idx="7008">
                  <c:v>39</c:v>
                </c:pt>
                <c:pt idx="7009">
                  <c:v>57</c:v>
                </c:pt>
                <c:pt idx="7010">
                  <c:v>6</c:v>
                </c:pt>
                <c:pt idx="7011">
                  <c:v>11</c:v>
                </c:pt>
                <c:pt idx="7012">
                  <c:v>38</c:v>
                </c:pt>
                <c:pt idx="7013">
                  <c:v>16</c:v>
                </c:pt>
                <c:pt idx="7014">
                  <c:v>50</c:v>
                </c:pt>
                <c:pt idx="7015">
                  <c:v>50</c:v>
                </c:pt>
                <c:pt idx="7016">
                  <c:v>55</c:v>
                </c:pt>
                <c:pt idx="7017">
                  <c:v>18</c:v>
                </c:pt>
                <c:pt idx="7018">
                  <c:v>51</c:v>
                </c:pt>
                <c:pt idx="7019">
                  <c:v>52</c:v>
                </c:pt>
                <c:pt idx="7020">
                  <c:v>71</c:v>
                </c:pt>
                <c:pt idx="7021">
                  <c:v>55</c:v>
                </c:pt>
                <c:pt idx="7022">
                  <c:v>4</c:v>
                </c:pt>
                <c:pt idx="7023">
                  <c:v>6</c:v>
                </c:pt>
                <c:pt idx="7024">
                  <c:v>21</c:v>
                </c:pt>
                <c:pt idx="7025">
                  <c:v>11</c:v>
                </c:pt>
                <c:pt idx="7026">
                  <c:v>3</c:v>
                </c:pt>
                <c:pt idx="7027">
                  <c:v>5</c:v>
                </c:pt>
                <c:pt idx="7028">
                  <c:v>52</c:v>
                </c:pt>
                <c:pt idx="7029">
                  <c:v>64</c:v>
                </c:pt>
                <c:pt idx="7030">
                  <c:v>51</c:v>
                </c:pt>
                <c:pt idx="7031">
                  <c:v>53</c:v>
                </c:pt>
                <c:pt idx="7032">
                  <c:v>55</c:v>
                </c:pt>
                <c:pt idx="7033">
                  <c:v>57</c:v>
                </c:pt>
                <c:pt idx="7034">
                  <c:v>53</c:v>
                </c:pt>
                <c:pt idx="7035">
                  <c:v>50</c:v>
                </c:pt>
                <c:pt idx="7036">
                  <c:v>52</c:v>
                </c:pt>
                <c:pt idx="7037">
                  <c:v>50</c:v>
                </c:pt>
                <c:pt idx="7038">
                  <c:v>55</c:v>
                </c:pt>
                <c:pt idx="7039">
                  <c:v>50</c:v>
                </c:pt>
                <c:pt idx="7040">
                  <c:v>7</c:v>
                </c:pt>
                <c:pt idx="7041">
                  <c:v>51</c:v>
                </c:pt>
                <c:pt idx="7042">
                  <c:v>1</c:v>
                </c:pt>
                <c:pt idx="7043">
                  <c:v>790</c:v>
                </c:pt>
                <c:pt idx="7044">
                  <c:v>135</c:v>
                </c:pt>
                <c:pt idx="7045">
                  <c:v>19</c:v>
                </c:pt>
                <c:pt idx="7046">
                  <c:v>1285</c:v>
                </c:pt>
                <c:pt idx="7047">
                  <c:v>461</c:v>
                </c:pt>
                <c:pt idx="7048">
                  <c:v>365</c:v>
                </c:pt>
                <c:pt idx="7049">
                  <c:v>847</c:v>
                </c:pt>
                <c:pt idx="7050">
                  <c:v>927</c:v>
                </c:pt>
                <c:pt idx="7051">
                  <c:v>39</c:v>
                </c:pt>
                <c:pt idx="7052">
                  <c:v>289</c:v>
                </c:pt>
                <c:pt idx="7053">
                  <c:v>501</c:v>
                </c:pt>
                <c:pt idx="7054">
                  <c:v>543</c:v>
                </c:pt>
                <c:pt idx="7055">
                  <c:v>14</c:v>
                </c:pt>
                <c:pt idx="7056">
                  <c:v>216</c:v>
                </c:pt>
                <c:pt idx="7057">
                  <c:v>236</c:v>
                </c:pt>
                <c:pt idx="7058">
                  <c:v>198</c:v>
                </c:pt>
                <c:pt idx="7059">
                  <c:v>69</c:v>
                </c:pt>
                <c:pt idx="7060">
                  <c:v>397</c:v>
                </c:pt>
                <c:pt idx="7061">
                  <c:v>55</c:v>
                </c:pt>
                <c:pt idx="7062">
                  <c:v>173</c:v>
                </c:pt>
                <c:pt idx="7063">
                  <c:v>285</c:v>
                </c:pt>
                <c:pt idx="7064">
                  <c:v>154</c:v>
                </c:pt>
                <c:pt idx="7065">
                  <c:v>179</c:v>
                </c:pt>
                <c:pt idx="7066">
                  <c:v>329</c:v>
                </c:pt>
                <c:pt idx="7067">
                  <c:v>58</c:v>
                </c:pt>
                <c:pt idx="7068">
                  <c:v>248</c:v>
                </c:pt>
                <c:pt idx="7069">
                  <c:v>251</c:v>
                </c:pt>
                <c:pt idx="7070">
                  <c:v>398</c:v>
                </c:pt>
                <c:pt idx="7071">
                  <c:v>218</c:v>
                </c:pt>
                <c:pt idx="7072">
                  <c:v>40</c:v>
                </c:pt>
                <c:pt idx="7073">
                  <c:v>345</c:v>
                </c:pt>
                <c:pt idx="7074">
                  <c:v>264</c:v>
                </c:pt>
                <c:pt idx="7075">
                  <c:v>466</c:v>
                </c:pt>
                <c:pt idx="7076">
                  <c:v>60</c:v>
                </c:pt>
                <c:pt idx="7077">
                  <c:v>90</c:v>
                </c:pt>
                <c:pt idx="7078">
                  <c:v>6</c:v>
                </c:pt>
                <c:pt idx="7079">
                  <c:v>44</c:v>
                </c:pt>
                <c:pt idx="7080">
                  <c:v>306</c:v>
                </c:pt>
                <c:pt idx="7081">
                  <c:v>100</c:v>
                </c:pt>
                <c:pt idx="7082">
                  <c:v>50</c:v>
                </c:pt>
                <c:pt idx="7083">
                  <c:v>203</c:v>
                </c:pt>
                <c:pt idx="7084">
                  <c:v>198</c:v>
                </c:pt>
                <c:pt idx="7085">
                  <c:v>58</c:v>
                </c:pt>
                <c:pt idx="7086">
                  <c:v>39</c:v>
                </c:pt>
                <c:pt idx="7087">
                  <c:v>112</c:v>
                </c:pt>
                <c:pt idx="7088">
                  <c:v>69</c:v>
                </c:pt>
                <c:pt idx="7089">
                  <c:v>91</c:v>
                </c:pt>
                <c:pt idx="7090">
                  <c:v>88</c:v>
                </c:pt>
                <c:pt idx="7091">
                  <c:v>31</c:v>
                </c:pt>
                <c:pt idx="7092">
                  <c:v>33</c:v>
                </c:pt>
                <c:pt idx="7093">
                  <c:v>112</c:v>
                </c:pt>
                <c:pt idx="7094">
                  <c:v>75</c:v>
                </c:pt>
                <c:pt idx="7095">
                  <c:v>143</c:v>
                </c:pt>
                <c:pt idx="7096">
                  <c:v>68</c:v>
                </c:pt>
                <c:pt idx="7097">
                  <c:v>119</c:v>
                </c:pt>
                <c:pt idx="7098">
                  <c:v>20</c:v>
                </c:pt>
                <c:pt idx="7099">
                  <c:v>201</c:v>
                </c:pt>
                <c:pt idx="7100">
                  <c:v>12</c:v>
                </c:pt>
                <c:pt idx="7101">
                  <c:v>289</c:v>
                </c:pt>
                <c:pt idx="7102">
                  <c:v>419</c:v>
                </c:pt>
                <c:pt idx="7103">
                  <c:v>186</c:v>
                </c:pt>
                <c:pt idx="7104">
                  <c:v>32</c:v>
                </c:pt>
                <c:pt idx="7105">
                  <c:v>14</c:v>
                </c:pt>
                <c:pt idx="7106">
                  <c:v>11</c:v>
                </c:pt>
                <c:pt idx="7107">
                  <c:v>538</c:v>
                </c:pt>
                <c:pt idx="7108">
                  <c:v>23</c:v>
                </c:pt>
                <c:pt idx="7109">
                  <c:v>292</c:v>
                </c:pt>
                <c:pt idx="7110">
                  <c:v>12</c:v>
                </c:pt>
                <c:pt idx="7111">
                  <c:v>45</c:v>
                </c:pt>
                <c:pt idx="7112">
                  <c:v>60</c:v>
                </c:pt>
                <c:pt idx="7113">
                  <c:v>16</c:v>
                </c:pt>
                <c:pt idx="7114">
                  <c:v>69</c:v>
                </c:pt>
                <c:pt idx="7115">
                  <c:v>55</c:v>
                </c:pt>
                <c:pt idx="7116">
                  <c:v>12</c:v>
                </c:pt>
                <c:pt idx="7117">
                  <c:v>53</c:v>
                </c:pt>
                <c:pt idx="7118">
                  <c:v>257</c:v>
                </c:pt>
                <c:pt idx="7119">
                  <c:v>18</c:v>
                </c:pt>
                <c:pt idx="7120">
                  <c:v>196</c:v>
                </c:pt>
                <c:pt idx="7121">
                  <c:v>30</c:v>
                </c:pt>
                <c:pt idx="7122">
                  <c:v>47</c:v>
                </c:pt>
                <c:pt idx="7123">
                  <c:v>367</c:v>
                </c:pt>
                <c:pt idx="7124">
                  <c:v>17</c:v>
                </c:pt>
                <c:pt idx="7125">
                  <c:v>63</c:v>
                </c:pt>
                <c:pt idx="7126">
                  <c:v>23</c:v>
                </c:pt>
                <c:pt idx="7127">
                  <c:v>13</c:v>
                </c:pt>
                <c:pt idx="7128">
                  <c:v>51</c:v>
                </c:pt>
                <c:pt idx="7129">
                  <c:v>232</c:v>
                </c:pt>
                <c:pt idx="7130">
                  <c:v>30</c:v>
                </c:pt>
                <c:pt idx="7131">
                  <c:v>94</c:v>
                </c:pt>
                <c:pt idx="7132">
                  <c:v>19</c:v>
                </c:pt>
                <c:pt idx="7133">
                  <c:v>22</c:v>
                </c:pt>
                <c:pt idx="7134">
                  <c:v>10</c:v>
                </c:pt>
                <c:pt idx="7135">
                  <c:v>69</c:v>
                </c:pt>
                <c:pt idx="7136">
                  <c:v>27</c:v>
                </c:pt>
                <c:pt idx="7137">
                  <c:v>13</c:v>
                </c:pt>
                <c:pt idx="7138">
                  <c:v>4</c:v>
                </c:pt>
                <c:pt idx="7139">
                  <c:v>277</c:v>
                </c:pt>
                <c:pt idx="7140">
                  <c:v>13</c:v>
                </c:pt>
                <c:pt idx="7141">
                  <c:v>14</c:v>
                </c:pt>
                <c:pt idx="7142">
                  <c:v>152</c:v>
                </c:pt>
                <c:pt idx="7143">
                  <c:v>174</c:v>
                </c:pt>
                <c:pt idx="7144">
                  <c:v>214</c:v>
                </c:pt>
                <c:pt idx="7145">
                  <c:v>6</c:v>
                </c:pt>
                <c:pt idx="7146">
                  <c:v>40</c:v>
                </c:pt>
                <c:pt idx="7147">
                  <c:v>32</c:v>
                </c:pt>
                <c:pt idx="7148">
                  <c:v>66</c:v>
                </c:pt>
                <c:pt idx="7149">
                  <c:v>56</c:v>
                </c:pt>
                <c:pt idx="7150">
                  <c:v>14</c:v>
                </c:pt>
                <c:pt idx="7151">
                  <c:v>18</c:v>
                </c:pt>
                <c:pt idx="7152">
                  <c:v>83</c:v>
                </c:pt>
                <c:pt idx="7153">
                  <c:v>162</c:v>
                </c:pt>
                <c:pt idx="7154">
                  <c:v>217</c:v>
                </c:pt>
                <c:pt idx="7155">
                  <c:v>69</c:v>
                </c:pt>
                <c:pt idx="7156">
                  <c:v>48</c:v>
                </c:pt>
                <c:pt idx="7157">
                  <c:v>35</c:v>
                </c:pt>
                <c:pt idx="7158">
                  <c:v>24</c:v>
                </c:pt>
                <c:pt idx="7159">
                  <c:v>3</c:v>
                </c:pt>
                <c:pt idx="7160">
                  <c:v>10</c:v>
                </c:pt>
                <c:pt idx="7161">
                  <c:v>86</c:v>
                </c:pt>
                <c:pt idx="7162">
                  <c:v>190</c:v>
                </c:pt>
                <c:pt idx="7163">
                  <c:v>4</c:v>
                </c:pt>
                <c:pt idx="7164">
                  <c:v>208</c:v>
                </c:pt>
                <c:pt idx="7165">
                  <c:v>70</c:v>
                </c:pt>
                <c:pt idx="7166">
                  <c:v>77</c:v>
                </c:pt>
                <c:pt idx="7167">
                  <c:v>269</c:v>
                </c:pt>
                <c:pt idx="7168">
                  <c:v>5</c:v>
                </c:pt>
                <c:pt idx="7169">
                  <c:v>7</c:v>
                </c:pt>
                <c:pt idx="7170">
                  <c:v>12</c:v>
                </c:pt>
                <c:pt idx="7171">
                  <c:v>347</c:v>
                </c:pt>
                <c:pt idx="7172">
                  <c:v>103</c:v>
                </c:pt>
                <c:pt idx="7173">
                  <c:v>55</c:v>
                </c:pt>
                <c:pt idx="7174">
                  <c:v>140</c:v>
                </c:pt>
                <c:pt idx="7175">
                  <c:v>136</c:v>
                </c:pt>
                <c:pt idx="7176">
                  <c:v>141</c:v>
                </c:pt>
                <c:pt idx="7177">
                  <c:v>10</c:v>
                </c:pt>
                <c:pt idx="7178">
                  <c:v>82</c:v>
                </c:pt>
                <c:pt idx="7179">
                  <c:v>143</c:v>
                </c:pt>
                <c:pt idx="7180">
                  <c:v>47</c:v>
                </c:pt>
                <c:pt idx="7181">
                  <c:v>163</c:v>
                </c:pt>
                <c:pt idx="7182">
                  <c:v>57</c:v>
                </c:pt>
                <c:pt idx="7183">
                  <c:v>55</c:v>
                </c:pt>
                <c:pt idx="7184">
                  <c:v>153</c:v>
                </c:pt>
                <c:pt idx="7185">
                  <c:v>50</c:v>
                </c:pt>
                <c:pt idx="7186">
                  <c:v>100</c:v>
                </c:pt>
                <c:pt idx="7187">
                  <c:v>81</c:v>
                </c:pt>
                <c:pt idx="7188">
                  <c:v>40</c:v>
                </c:pt>
                <c:pt idx="7189">
                  <c:v>44</c:v>
                </c:pt>
                <c:pt idx="7190">
                  <c:v>31</c:v>
                </c:pt>
                <c:pt idx="7191">
                  <c:v>42</c:v>
                </c:pt>
                <c:pt idx="7192">
                  <c:v>30</c:v>
                </c:pt>
                <c:pt idx="7193">
                  <c:v>9</c:v>
                </c:pt>
                <c:pt idx="7194">
                  <c:v>0</c:v>
                </c:pt>
                <c:pt idx="7195">
                  <c:v>5</c:v>
                </c:pt>
                <c:pt idx="7196">
                  <c:v>11</c:v>
                </c:pt>
                <c:pt idx="7197">
                  <c:v>7</c:v>
                </c:pt>
                <c:pt idx="7198">
                  <c:v>6</c:v>
                </c:pt>
                <c:pt idx="7199">
                  <c:v>22</c:v>
                </c:pt>
                <c:pt idx="7200">
                  <c:v>28</c:v>
                </c:pt>
                <c:pt idx="7201">
                  <c:v>20</c:v>
                </c:pt>
                <c:pt idx="7202">
                  <c:v>14</c:v>
                </c:pt>
                <c:pt idx="7203">
                  <c:v>6</c:v>
                </c:pt>
                <c:pt idx="7204">
                  <c:v>5</c:v>
                </c:pt>
                <c:pt idx="7205">
                  <c:v>5</c:v>
                </c:pt>
                <c:pt idx="7206">
                  <c:v>1</c:v>
                </c:pt>
                <c:pt idx="7207">
                  <c:v>1</c:v>
                </c:pt>
                <c:pt idx="7208">
                  <c:v>0</c:v>
                </c:pt>
                <c:pt idx="7209">
                  <c:v>10</c:v>
                </c:pt>
                <c:pt idx="7210">
                  <c:v>5</c:v>
                </c:pt>
                <c:pt idx="7211">
                  <c:v>52</c:v>
                </c:pt>
                <c:pt idx="7212">
                  <c:v>53</c:v>
                </c:pt>
                <c:pt idx="7213">
                  <c:v>22</c:v>
                </c:pt>
                <c:pt idx="7214">
                  <c:v>3</c:v>
                </c:pt>
                <c:pt idx="7215">
                  <c:v>15</c:v>
                </c:pt>
                <c:pt idx="7216">
                  <c:v>4</c:v>
                </c:pt>
                <c:pt idx="7217">
                  <c:v>4</c:v>
                </c:pt>
                <c:pt idx="7218">
                  <c:v>9</c:v>
                </c:pt>
                <c:pt idx="7219">
                  <c:v>9</c:v>
                </c:pt>
                <c:pt idx="7220">
                  <c:v>3</c:v>
                </c:pt>
                <c:pt idx="7221">
                  <c:v>5</c:v>
                </c:pt>
                <c:pt idx="7222">
                  <c:v>0</c:v>
                </c:pt>
                <c:pt idx="7223">
                  <c:v>4</c:v>
                </c:pt>
                <c:pt idx="7224">
                  <c:v>0</c:v>
                </c:pt>
                <c:pt idx="7225">
                  <c:v>3</c:v>
                </c:pt>
                <c:pt idx="7226">
                  <c:v>0</c:v>
                </c:pt>
                <c:pt idx="7227">
                  <c:v>36</c:v>
                </c:pt>
                <c:pt idx="7228">
                  <c:v>12</c:v>
                </c:pt>
                <c:pt idx="7229">
                  <c:v>0</c:v>
                </c:pt>
                <c:pt idx="7230">
                  <c:v>2</c:v>
                </c:pt>
                <c:pt idx="7231">
                  <c:v>1</c:v>
                </c:pt>
                <c:pt idx="7232">
                  <c:v>0</c:v>
                </c:pt>
                <c:pt idx="7233">
                  <c:v>94</c:v>
                </c:pt>
                <c:pt idx="7234">
                  <c:v>19</c:v>
                </c:pt>
                <c:pt idx="7235">
                  <c:v>50</c:v>
                </c:pt>
                <c:pt idx="7236">
                  <c:v>26</c:v>
                </c:pt>
                <c:pt idx="7237">
                  <c:v>38</c:v>
                </c:pt>
                <c:pt idx="7238">
                  <c:v>17</c:v>
                </c:pt>
                <c:pt idx="7239">
                  <c:v>51</c:v>
                </c:pt>
                <c:pt idx="7240">
                  <c:v>37</c:v>
                </c:pt>
                <c:pt idx="7241">
                  <c:v>94</c:v>
                </c:pt>
                <c:pt idx="7242">
                  <c:v>26</c:v>
                </c:pt>
                <c:pt idx="7243">
                  <c:v>44</c:v>
                </c:pt>
                <c:pt idx="7244">
                  <c:v>75</c:v>
                </c:pt>
                <c:pt idx="7245">
                  <c:v>1</c:v>
                </c:pt>
                <c:pt idx="7246">
                  <c:v>32</c:v>
                </c:pt>
                <c:pt idx="7247">
                  <c:v>42</c:v>
                </c:pt>
                <c:pt idx="7248">
                  <c:v>15</c:v>
                </c:pt>
                <c:pt idx="7249">
                  <c:v>46</c:v>
                </c:pt>
                <c:pt idx="7250">
                  <c:v>7</c:v>
                </c:pt>
                <c:pt idx="7251">
                  <c:v>30</c:v>
                </c:pt>
                <c:pt idx="7252">
                  <c:v>18</c:v>
                </c:pt>
                <c:pt idx="7253">
                  <c:v>10</c:v>
                </c:pt>
                <c:pt idx="7254">
                  <c:v>18</c:v>
                </c:pt>
                <c:pt idx="7255">
                  <c:v>0</c:v>
                </c:pt>
                <c:pt idx="7256">
                  <c:v>9</c:v>
                </c:pt>
                <c:pt idx="7257">
                  <c:v>10</c:v>
                </c:pt>
                <c:pt idx="7258">
                  <c:v>58</c:v>
                </c:pt>
                <c:pt idx="7259">
                  <c:v>5</c:v>
                </c:pt>
                <c:pt idx="7260">
                  <c:v>6</c:v>
                </c:pt>
                <c:pt idx="7261">
                  <c:v>19</c:v>
                </c:pt>
                <c:pt idx="7262">
                  <c:v>0</c:v>
                </c:pt>
                <c:pt idx="7263">
                  <c:v>5</c:v>
                </c:pt>
                <c:pt idx="7264">
                  <c:v>0</c:v>
                </c:pt>
                <c:pt idx="7265">
                  <c:v>0</c:v>
                </c:pt>
                <c:pt idx="7266">
                  <c:v>0</c:v>
                </c:pt>
                <c:pt idx="7267">
                  <c:v>0</c:v>
                </c:pt>
                <c:pt idx="7268">
                  <c:v>0</c:v>
                </c:pt>
                <c:pt idx="7269">
                  <c:v>0</c:v>
                </c:pt>
                <c:pt idx="7270">
                  <c:v>111</c:v>
                </c:pt>
                <c:pt idx="7271">
                  <c:v>45</c:v>
                </c:pt>
                <c:pt idx="7272">
                  <c:v>17</c:v>
                </c:pt>
                <c:pt idx="7273">
                  <c:v>27</c:v>
                </c:pt>
                <c:pt idx="7274">
                  <c:v>2</c:v>
                </c:pt>
                <c:pt idx="7275">
                  <c:v>1</c:v>
                </c:pt>
                <c:pt idx="7276">
                  <c:v>3</c:v>
                </c:pt>
                <c:pt idx="7277">
                  <c:v>3</c:v>
                </c:pt>
                <c:pt idx="7278">
                  <c:v>7</c:v>
                </c:pt>
                <c:pt idx="7279">
                  <c:v>15</c:v>
                </c:pt>
                <c:pt idx="7280">
                  <c:v>7</c:v>
                </c:pt>
                <c:pt idx="7281">
                  <c:v>2</c:v>
                </c:pt>
                <c:pt idx="7282">
                  <c:v>0</c:v>
                </c:pt>
                <c:pt idx="7283">
                  <c:v>3</c:v>
                </c:pt>
                <c:pt idx="7284">
                  <c:v>2</c:v>
                </c:pt>
                <c:pt idx="7285">
                  <c:v>0</c:v>
                </c:pt>
                <c:pt idx="7286">
                  <c:v>6</c:v>
                </c:pt>
                <c:pt idx="7287">
                  <c:v>3</c:v>
                </c:pt>
                <c:pt idx="7288">
                  <c:v>0</c:v>
                </c:pt>
                <c:pt idx="7289">
                  <c:v>0</c:v>
                </c:pt>
                <c:pt idx="7290">
                  <c:v>0</c:v>
                </c:pt>
                <c:pt idx="7291">
                  <c:v>1</c:v>
                </c:pt>
                <c:pt idx="7292">
                  <c:v>1</c:v>
                </c:pt>
                <c:pt idx="7293">
                  <c:v>2</c:v>
                </c:pt>
                <c:pt idx="7294">
                  <c:v>0</c:v>
                </c:pt>
                <c:pt idx="7295">
                  <c:v>0</c:v>
                </c:pt>
                <c:pt idx="7296">
                  <c:v>1</c:v>
                </c:pt>
                <c:pt idx="7297">
                  <c:v>0</c:v>
                </c:pt>
                <c:pt idx="7298">
                  <c:v>0</c:v>
                </c:pt>
                <c:pt idx="7299">
                  <c:v>10</c:v>
                </c:pt>
                <c:pt idx="7300">
                  <c:v>2</c:v>
                </c:pt>
                <c:pt idx="7301">
                  <c:v>0</c:v>
                </c:pt>
                <c:pt idx="7302">
                  <c:v>4</c:v>
                </c:pt>
                <c:pt idx="7303">
                  <c:v>0</c:v>
                </c:pt>
                <c:pt idx="7304">
                  <c:v>0</c:v>
                </c:pt>
                <c:pt idx="7305">
                  <c:v>0</c:v>
                </c:pt>
                <c:pt idx="7306">
                  <c:v>0</c:v>
                </c:pt>
                <c:pt idx="7307">
                  <c:v>0</c:v>
                </c:pt>
                <c:pt idx="7308">
                  <c:v>0</c:v>
                </c:pt>
                <c:pt idx="7309">
                  <c:v>0</c:v>
                </c:pt>
                <c:pt idx="7310">
                  <c:v>1</c:v>
                </c:pt>
                <c:pt idx="7311">
                  <c:v>0</c:v>
                </c:pt>
                <c:pt idx="7312">
                  <c:v>1</c:v>
                </c:pt>
                <c:pt idx="7313">
                  <c:v>0</c:v>
                </c:pt>
                <c:pt idx="7314">
                  <c:v>0</c:v>
                </c:pt>
                <c:pt idx="7315">
                  <c:v>0</c:v>
                </c:pt>
                <c:pt idx="7316">
                  <c:v>0</c:v>
                </c:pt>
                <c:pt idx="7317">
                  <c:v>0</c:v>
                </c:pt>
                <c:pt idx="7318">
                  <c:v>0</c:v>
                </c:pt>
                <c:pt idx="7319">
                  <c:v>0</c:v>
                </c:pt>
                <c:pt idx="7320">
                  <c:v>0</c:v>
                </c:pt>
                <c:pt idx="7321">
                  <c:v>0</c:v>
                </c:pt>
                <c:pt idx="7322">
                  <c:v>0</c:v>
                </c:pt>
                <c:pt idx="7323">
                  <c:v>0</c:v>
                </c:pt>
                <c:pt idx="7324">
                  <c:v>0</c:v>
                </c:pt>
                <c:pt idx="7325">
                  <c:v>0</c:v>
                </c:pt>
                <c:pt idx="7326">
                  <c:v>0</c:v>
                </c:pt>
                <c:pt idx="7327">
                  <c:v>0</c:v>
                </c:pt>
                <c:pt idx="7328">
                  <c:v>0</c:v>
                </c:pt>
                <c:pt idx="7329">
                  <c:v>0</c:v>
                </c:pt>
                <c:pt idx="7330">
                  <c:v>0</c:v>
                </c:pt>
                <c:pt idx="7331">
                  <c:v>95</c:v>
                </c:pt>
                <c:pt idx="7332">
                  <c:v>40</c:v>
                </c:pt>
                <c:pt idx="7333">
                  <c:v>82</c:v>
                </c:pt>
                <c:pt idx="7334">
                  <c:v>11</c:v>
                </c:pt>
                <c:pt idx="7335">
                  <c:v>1</c:v>
                </c:pt>
                <c:pt idx="7336">
                  <c:v>3</c:v>
                </c:pt>
                <c:pt idx="7337">
                  <c:v>14</c:v>
                </c:pt>
                <c:pt idx="7338">
                  <c:v>12</c:v>
                </c:pt>
                <c:pt idx="7339">
                  <c:v>6</c:v>
                </c:pt>
                <c:pt idx="7340">
                  <c:v>11</c:v>
                </c:pt>
                <c:pt idx="7341">
                  <c:v>2</c:v>
                </c:pt>
                <c:pt idx="7342">
                  <c:v>9</c:v>
                </c:pt>
                <c:pt idx="7343">
                  <c:v>5</c:v>
                </c:pt>
                <c:pt idx="7344">
                  <c:v>5</c:v>
                </c:pt>
                <c:pt idx="7345">
                  <c:v>6</c:v>
                </c:pt>
                <c:pt idx="7346">
                  <c:v>3</c:v>
                </c:pt>
                <c:pt idx="7347">
                  <c:v>2</c:v>
                </c:pt>
                <c:pt idx="7348">
                  <c:v>0</c:v>
                </c:pt>
                <c:pt idx="7349">
                  <c:v>2</c:v>
                </c:pt>
                <c:pt idx="7350">
                  <c:v>2</c:v>
                </c:pt>
                <c:pt idx="7351">
                  <c:v>14</c:v>
                </c:pt>
                <c:pt idx="7352">
                  <c:v>0</c:v>
                </c:pt>
                <c:pt idx="7353">
                  <c:v>2</c:v>
                </c:pt>
                <c:pt idx="7354">
                  <c:v>0</c:v>
                </c:pt>
                <c:pt idx="7355">
                  <c:v>2</c:v>
                </c:pt>
                <c:pt idx="7356">
                  <c:v>2</c:v>
                </c:pt>
                <c:pt idx="7357">
                  <c:v>0</c:v>
                </c:pt>
                <c:pt idx="7358">
                  <c:v>2</c:v>
                </c:pt>
                <c:pt idx="7359">
                  <c:v>7</c:v>
                </c:pt>
                <c:pt idx="7360">
                  <c:v>4</c:v>
                </c:pt>
                <c:pt idx="7361">
                  <c:v>1</c:v>
                </c:pt>
                <c:pt idx="7362">
                  <c:v>4</c:v>
                </c:pt>
                <c:pt idx="7363">
                  <c:v>1</c:v>
                </c:pt>
                <c:pt idx="7364">
                  <c:v>517</c:v>
                </c:pt>
                <c:pt idx="7365">
                  <c:v>2</c:v>
                </c:pt>
                <c:pt idx="7366">
                  <c:v>28</c:v>
                </c:pt>
                <c:pt idx="7367">
                  <c:v>70</c:v>
                </c:pt>
                <c:pt idx="7368">
                  <c:v>2</c:v>
                </c:pt>
                <c:pt idx="7369">
                  <c:v>126</c:v>
                </c:pt>
                <c:pt idx="7370">
                  <c:v>3</c:v>
                </c:pt>
                <c:pt idx="7371">
                  <c:v>43</c:v>
                </c:pt>
                <c:pt idx="7372">
                  <c:v>14</c:v>
                </c:pt>
                <c:pt idx="7373">
                  <c:v>10</c:v>
                </c:pt>
                <c:pt idx="7374">
                  <c:v>11</c:v>
                </c:pt>
                <c:pt idx="7375">
                  <c:v>18</c:v>
                </c:pt>
                <c:pt idx="7376">
                  <c:v>24</c:v>
                </c:pt>
                <c:pt idx="7377">
                  <c:v>10</c:v>
                </c:pt>
                <c:pt idx="7378">
                  <c:v>145</c:v>
                </c:pt>
                <c:pt idx="7379">
                  <c:v>34</c:v>
                </c:pt>
                <c:pt idx="7380">
                  <c:v>9</c:v>
                </c:pt>
                <c:pt idx="7381">
                  <c:v>29</c:v>
                </c:pt>
                <c:pt idx="7382">
                  <c:v>27</c:v>
                </c:pt>
                <c:pt idx="7383">
                  <c:v>14</c:v>
                </c:pt>
                <c:pt idx="7384">
                  <c:v>21</c:v>
                </c:pt>
                <c:pt idx="7385">
                  <c:v>29</c:v>
                </c:pt>
                <c:pt idx="7386">
                  <c:v>14</c:v>
                </c:pt>
                <c:pt idx="7387">
                  <c:v>32</c:v>
                </c:pt>
                <c:pt idx="7388">
                  <c:v>155</c:v>
                </c:pt>
                <c:pt idx="7389">
                  <c:v>9</c:v>
                </c:pt>
                <c:pt idx="7390">
                  <c:v>22</c:v>
                </c:pt>
                <c:pt idx="7391">
                  <c:v>7</c:v>
                </c:pt>
                <c:pt idx="7392">
                  <c:v>15</c:v>
                </c:pt>
                <c:pt idx="7393">
                  <c:v>2</c:v>
                </c:pt>
                <c:pt idx="7394">
                  <c:v>1</c:v>
                </c:pt>
                <c:pt idx="7395">
                  <c:v>61</c:v>
                </c:pt>
                <c:pt idx="7396">
                  <c:v>2</c:v>
                </c:pt>
                <c:pt idx="7397">
                  <c:v>8</c:v>
                </c:pt>
                <c:pt idx="7398">
                  <c:v>7</c:v>
                </c:pt>
                <c:pt idx="7399">
                  <c:v>5</c:v>
                </c:pt>
                <c:pt idx="7400">
                  <c:v>10</c:v>
                </c:pt>
                <c:pt idx="7401">
                  <c:v>17</c:v>
                </c:pt>
                <c:pt idx="7402">
                  <c:v>36</c:v>
                </c:pt>
                <c:pt idx="7403">
                  <c:v>9</c:v>
                </c:pt>
                <c:pt idx="7404">
                  <c:v>18</c:v>
                </c:pt>
                <c:pt idx="7405">
                  <c:v>0</c:v>
                </c:pt>
                <c:pt idx="7406">
                  <c:v>2</c:v>
                </c:pt>
                <c:pt idx="7407">
                  <c:v>12</c:v>
                </c:pt>
                <c:pt idx="7408">
                  <c:v>14</c:v>
                </c:pt>
                <c:pt idx="7409">
                  <c:v>38</c:v>
                </c:pt>
                <c:pt idx="7410">
                  <c:v>12</c:v>
                </c:pt>
                <c:pt idx="7411">
                  <c:v>11</c:v>
                </c:pt>
                <c:pt idx="7412">
                  <c:v>1</c:v>
                </c:pt>
                <c:pt idx="7413">
                  <c:v>5</c:v>
                </c:pt>
                <c:pt idx="7414">
                  <c:v>27</c:v>
                </c:pt>
                <c:pt idx="7415">
                  <c:v>35</c:v>
                </c:pt>
                <c:pt idx="7416">
                  <c:v>8</c:v>
                </c:pt>
                <c:pt idx="7417">
                  <c:v>12</c:v>
                </c:pt>
                <c:pt idx="7418">
                  <c:v>2</c:v>
                </c:pt>
                <c:pt idx="7419">
                  <c:v>6</c:v>
                </c:pt>
                <c:pt idx="7420">
                  <c:v>11</c:v>
                </c:pt>
                <c:pt idx="7421">
                  <c:v>7</c:v>
                </c:pt>
                <c:pt idx="7422">
                  <c:v>0</c:v>
                </c:pt>
                <c:pt idx="7423">
                  <c:v>8</c:v>
                </c:pt>
                <c:pt idx="7424">
                  <c:v>7</c:v>
                </c:pt>
                <c:pt idx="7425">
                  <c:v>23</c:v>
                </c:pt>
                <c:pt idx="7426">
                  <c:v>17</c:v>
                </c:pt>
                <c:pt idx="7427">
                  <c:v>2</c:v>
                </c:pt>
                <c:pt idx="7428">
                  <c:v>1</c:v>
                </c:pt>
                <c:pt idx="7429">
                  <c:v>0</c:v>
                </c:pt>
                <c:pt idx="7430">
                  <c:v>0</c:v>
                </c:pt>
                <c:pt idx="7431">
                  <c:v>2</c:v>
                </c:pt>
                <c:pt idx="7432">
                  <c:v>4</c:v>
                </c:pt>
                <c:pt idx="7433">
                  <c:v>1</c:v>
                </c:pt>
                <c:pt idx="7434">
                  <c:v>3</c:v>
                </c:pt>
                <c:pt idx="7435">
                  <c:v>3</c:v>
                </c:pt>
                <c:pt idx="7436">
                  <c:v>2</c:v>
                </c:pt>
                <c:pt idx="7437">
                  <c:v>1</c:v>
                </c:pt>
                <c:pt idx="7438">
                  <c:v>0</c:v>
                </c:pt>
                <c:pt idx="7439">
                  <c:v>126</c:v>
                </c:pt>
                <c:pt idx="7440">
                  <c:v>10</c:v>
                </c:pt>
                <c:pt idx="7441">
                  <c:v>7</c:v>
                </c:pt>
                <c:pt idx="7442">
                  <c:v>16</c:v>
                </c:pt>
                <c:pt idx="7443">
                  <c:v>36</c:v>
                </c:pt>
                <c:pt idx="7444">
                  <c:v>8</c:v>
                </c:pt>
                <c:pt idx="7445">
                  <c:v>0</c:v>
                </c:pt>
                <c:pt idx="7446">
                  <c:v>3</c:v>
                </c:pt>
                <c:pt idx="7447">
                  <c:v>4</c:v>
                </c:pt>
                <c:pt idx="7448">
                  <c:v>33</c:v>
                </c:pt>
                <c:pt idx="7449">
                  <c:v>2</c:v>
                </c:pt>
                <c:pt idx="7450">
                  <c:v>7</c:v>
                </c:pt>
                <c:pt idx="7451">
                  <c:v>5</c:v>
                </c:pt>
                <c:pt idx="7452">
                  <c:v>2</c:v>
                </c:pt>
                <c:pt idx="7453">
                  <c:v>12</c:v>
                </c:pt>
                <c:pt idx="7454">
                  <c:v>2</c:v>
                </c:pt>
                <c:pt idx="7455">
                  <c:v>5</c:v>
                </c:pt>
                <c:pt idx="7456">
                  <c:v>0</c:v>
                </c:pt>
                <c:pt idx="7457">
                  <c:v>2</c:v>
                </c:pt>
                <c:pt idx="7458">
                  <c:v>4</c:v>
                </c:pt>
                <c:pt idx="7459">
                  <c:v>1</c:v>
                </c:pt>
                <c:pt idx="7460">
                  <c:v>0</c:v>
                </c:pt>
                <c:pt idx="7461">
                  <c:v>4</c:v>
                </c:pt>
                <c:pt idx="7462">
                  <c:v>4</c:v>
                </c:pt>
                <c:pt idx="7463">
                  <c:v>0</c:v>
                </c:pt>
                <c:pt idx="7464">
                  <c:v>1</c:v>
                </c:pt>
                <c:pt idx="7465">
                  <c:v>3</c:v>
                </c:pt>
                <c:pt idx="7466">
                  <c:v>0</c:v>
                </c:pt>
                <c:pt idx="7467">
                  <c:v>0</c:v>
                </c:pt>
                <c:pt idx="7468">
                  <c:v>1</c:v>
                </c:pt>
                <c:pt idx="7469">
                  <c:v>0</c:v>
                </c:pt>
                <c:pt idx="7470">
                  <c:v>2</c:v>
                </c:pt>
                <c:pt idx="7471">
                  <c:v>0</c:v>
                </c:pt>
                <c:pt idx="7472">
                  <c:v>1</c:v>
                </c:pt>
                <c:pt idx="7473">
                  <c:v>1</c:v>
                </c:pt>
                <c:pt idx="7474">
                  <c:v>1</c:v>
                </c:pt>
                <c:pt idx="7475">
                  <c:v>2</c:v>
                </c:pt>
                <c:pt idx="7476">
                  <c:v>4</c:v>
                </c:pt>
                <c:pt idx="7477">
                  <c:v>0</c:v>
                </c:pt>
                <c:pt idx="7478">
                  <c:v>0</c:v>
                </c:pt>
                <c:pt idx="7479">
                  <c:v>23</c:v>
                </c:pt>
                <c:pt idx="7480">
                  <c:v>4</c:v>
                </c:pt>
                <c:pt idx="7481">
                  <c:v>5</c:v>
                </c:pt>
                <c:pt idx="7482">
                  <c:v>14</c:v>
                </c:pt>
                <c:pt idx="7483">
                  <c:v>35</c:v>
                </c:pt>
                <c:pt idx="7484">
                  <c:v>60</c:v>
                </c:pt>
                <c:pt idx="7485">
                  <c:v>37</c:v>
                </c:pt>
                <c:pt idx="7486">
                  <c:v>36</c:v>
                </c:pt>
                <c:pt idx="7487">
                  <c:v>19</c:v>
                </c:pt>
                <c:pt idx="7488">
                  <c:v>9</c:v>
                </c:pt>
                <c:pt idx="7489">
                  <c:v>4</c:v>
                </c:pt>
                <c:pt idx="7490">
                  <c:v>28</c:v>
                </c:pt>
                <c:pt idx="7491">
                  <c:v>153</c:v>
                </c:pt>
                <c:pt idx="7492">
                  <c:v>15</c:v>
                </c:pt>
                <c:pt idx="7493">
                  <c:v>16</c:v>
                </c:pt>
                <c:pt idx="7494">
                  <c:v>7</c:v>
                </c:pt>
                <c:pt idx="7495">
                  <c:v>129</c:v>
                </c:pt>
                <c:pt idx="7496">
                  <c:v>50</c:v>
                </c:pt>
                <c:pt idx="7497">
                  <c:v>22</c:v>
                </c:pt>
                <c:pt idx="7498">
                  <c:v>30</c:v>
                </c:pt>
                <c:pt idx="7499">
                  <c:v>11</c:v>
                </c:pt>
                <c:pt idx="7500">
                  <c:v>110</c:v>
                </c:pt>
                <c:pt idx="7501">
                  <c:v>43</c:v>
                </c:pt>
                <c:pt idx="7502">
                  <c:v>7</c:v>
                </c:pt>
                <c:pt idx="7503">
                  <c:v>4</c:v>
                </c:pt>
                <c:pt idx="7504">
                  <c:v>106</c:v>
                </c:pt>
                <c:pt idx="7505">
                  <c:v>69</c:v>
                </c:pt>
                <c:pt idx="7506">
                  <c:v>9</c:v>
                </c:pt>
                <c:pt idx="7507">
                  <c:v>48</c:v>
                </c:pt>
                <c:pt idx="7508">
                  <c:v>92</c:v>
                </c:pt>
                <c:pt idx="7509">
                  <c:v>95</c:v>
                </c:pt>
                <c:pt idx="7510">
                  <c:v>20</c:v>
                </c:pt>
                <c:pt idx="7511">
                  <c:v>46</c:v>
                </c:pt>
                <c:pt idx="7512">
                  <c:v>22</c:v>
                </c:pt>
                <c:pt idx="7513">
                  <c:v>15</c:v>
                </c:pt>
                <c:pt idx="7514">
                  <c:v>18</c:v>
                </c:pt>
                <c:pt idx="7515">
                  <c:v>10</c:v>
                </c:pt>
                <c:pt idx="7516">
                  <c:v>11</c:v>
                </c:pt>
                <c:pt idx="7517">
                  <c:v>37</c:v>
                </c:pt>
                <c:pt idx="7518">
                  <c:v>53</c:v>
                </c:pt>
                <c:pt idx="7519">
                  <c:v>81</c:v>
                </c:pt>
                <c:pt idx="7520">
                  <c:v>9</c:v>
                </c:pt>
                <c:pt idx="7521">
                  <c:v>43</c:v>
                </c:pt>
                <c:pt idx="7522">
                  <c:v>10</c:v>
                </c:pt>
                <c:pt idx="7523">
                  <c:v>25</c:v>
                </c:pt>
                <c:pt idx="7524">
                  <c:v>16</c:v>
                </c:pt>
                <c:pt idx="7525">
                  <c:v>23</c:v>
                </c:pt>
                <c:pt idx="7526">
                  <c:v>9</c:v>
                </c:pt>
                <c:pt idx="7527">
                  <c:v>2</c:v>
                </c:pt>
                <c:pt idx="7528">
                  <c:v>20</c:v>
                </c:pt>
                <c:pt idx="7529">
                  <c:v>2</c:v>
                </c:pt>
                <c:pt idx="7530">
                  <c:v>23</c:v>
                </c:pt>
                <c:pt idx="7531">
                  <c:v>47</c:v>
                </c:pt>
                <c:pt idx="7532">
                  <c:v>9</c:v>
                </c:pt>
                <c:pt idx="7533">
                  <c:v>20</c:v>
                </c:pt>
                <c:pt idx="7534">
                  <c:v>11</c:v>
                </c:pt>
                <c:pt idx="7535">
                  <c:v>18</c:v>
                </c:pt>
                <c:pt idx="7536">
                  <c:v>26</c:v>
                </c:pt>
                <c:pt idx="7537">
                  <c:v>61</c:v>
                </c:pt>
                <c:pt idx="7538">
                  <c:v>6</c:v>
                </c:pt>
                <c:pt idx="7539">
                  <c:v>25</c:v>
                </c:pt>
                <c:pt idx="7540">
                  <c:v>21</c:v>
                </c:pt>
                <c:pt idx="7541">
                  <c:v>11</c:v>
                </c:pt>
                <c:pt idx="7542">
                  <c:v>23</c:v>
                </c:pt>
                <c:pt idx="7543">
                  <c:v>4</c:v>
                </c:pt>
                <c:pt idx="7544">
                  <c:v>5</c:v>
                </c:pt>
                <c:pt idx="7545">
                  <c:v>13</c:v>
                </c:pt>
                <c:pt idx="7546">
                  <c:v>20</c:v>
                </c:pt>
                <c:pt idx="7547">
                  <c:v>62</c:v>
                </c:pt>
                <c:pt idx="7548">
                  <c:v>76</c:v>
                </c:pt>
                <c:pt idx="7549">
                  <c:v>97</c:v>
                </c:pt>
                <c:pt idx="7550">
                  <c:v>46</c:v>
                </c:pt>
                <c:pt idx="7551">
                  <c:v>43</c:v>
                </c:pt>
                <c:pt idx="7552">
                  <c:v>13</c:v>
                </c:pt>
                <c:pt idx="7553">
                  <c:v>59</c:v>
                </c:pt>
                <c:pt idx="7554">
                  <c:v>14</c:v>
                </c:pt>
                <c:pt idx="7555">
                  <c:v>9</c:v>
                </c:pt>
                <c:pt idx="7556">
                  <c:v>11</c:v>
                </c:pt>
                <c:pt idx="7557">
                  <c:v>16</c:v>
                </c:pt>
                <c:pt idx="7558">
                  <c:v>8</c:v>
                </c:pt>
                <c:pt idx="7559">
                  <c:v>90</c:v>
                </c:pt>
                <c:pt idx="7560">
                  <c:v>53</c:v>
                </c:pt>
                <c:pt idx="7561">
                  <c:v>31</c:v>
                </c:pt>
                <c:pt idx="7562">
                  <c:v>25</c:v>
                </c:pt>
                <c:pt idx="7563">
                  <c:v>12</c:v>
                </c:pt>
                <c:pt idx="7564">
                  <c:v>29</c:v>
                </c:pt>
                <c:pt idx="7565">
                  <c:v>6</c:v>
                </c:pt>
                <c:pt idx="7566">
                  <c:v>6</c:v>
                </c:pt>
                <c:pt idx="7567">
                  <c:v>7</c:v>
                </c:pt>
                <c:pt idx="7568">
                  <c:v>1</c:v>
                </c:pt>
                <c:pt idx="7569">
                  <c:v>6</c:v>
                </c:pt>
                <c:pt idx="7570">
                  <c:v>5</c:v>
                </c:pt>
                <c:pt idx="7571">
                  <c:v>16</c:v>
                </c:pt>
                <c:pt idx="7572">
                  <c:v>0</c:v>
                </c:pt>
                <c:pt idx="7573">
                  <c:v>2</c:v>
                </c:pt>
                <c:pt idx="7574">
                  <c:v>0</c:v>
                </c:pt>
                <c:pt idx="7575">
                  <c:v>262</c:v>
                </c:pt>
                <c:pt idx="7576">
                  <c:v>146</c:v>
                </c:pt>
                <c:pt idx="7577">
                  <c:v>176</c:v>
                </c:pt>
                <c:pt idx="7578">
                  <c:v>59</c:v>
                </c:pt>
                <c:pt idx="7579">
                  <c:v>67</c:v>
                </c:pt>
                <c:pt idx="7580">
                  <c:v>16</c:v>
                </c:pt>
                <c:pt idx="7581">
                  <c:v>31</c:v>
                </c:pt>
                <c:pt idx="7582">
                  <c:v>52</c:v>
                </c:pt>
                <c:pt idx="7583">
                  <c:v>17</c:v>
                </c:pt>
                <c:pt idx="7584">
                  <c:v>34</c:v>
                </c:pt>
                <c:pt idx="7585">
                  <c:v>10</c:v>
                </c:pt>
                <c:pt idx="7586">
                  <c:v>33</c:v>
                </c:pt>
                <c:pt idx="7587">
                  <c:v>17</c:v>
                </c:pt>
                <c:pt idx="7588">
                  <c:v>49</c:v>
                </c:pt>
                <c:pt idx="7589">
                  <c:v>12</c:v>
                </c:pt>
                <c:pt idx="7590">
                  <c:v>117</c:v>
                </c:pt>
                <c:pt idx="7591">
                  <c:v>18</c:v>
                </c:pt>
                <c:pt idx="7592">
                  <c:v>23</c:v>
                </c:pt>
                <c:pt idx="7593">
                  <c:v>11</c:v>
                </c:pt>
                <c:pt idx="7594">
                  <c:v>100</c:v>
                </c:pt>
                <c:pt idx="7595">
                  <c:v>0</c:v>
                </c:pt>
                <c:pt idx="7596">
                  <c:v>13</c:v>
                </c:pt>
                <c:pt idx="7597">
                  <c:v>71</c:v>
                </c:pt>
                <c:pt idx="7598">
                  <c:v>27</c:v>
                </c:pt>
                <c:pt idx="7599">
                  <c:v>0</c:v>
                </c:pt>
                <c:pt idx="7600">
                  <c:v>15</c:v>
                </c:pt>
                <c:pt idx="7601">
                  <c:v>25</c:v>
                </c:pt>
                <c:pt idx="7602">
                  <c:v>16</c:v>
                </c:pt>
                <c:pt idx="7603">
                  <c:v>0</c:v>
                </c:pt>
                <c:pt idx="7604">
                  <c:v>4</c:v>
                </c:pt>
                <c:pt idx="7605">
                  <c:v>1</c:v>
                </c:pt>
                <c:pt idx="7606">
                  <c:v>32</c:v>
                </c:pt>
                <c:pt idx="7607">
                  <c:v>4</c:v>
                </c:pt>
                <c:pt idx="7608">
                  <c:v>3</c:v>
                </c:pt>
                <c:pt idx="7609">
                  <c:v>11</c:v>
                </c:pt>
                <c:pt idx="7610">
                  <c:v>1</c:v>
                </c:pt>
                <c:pt idx="7611">
                  <c:v>5</c:v>
                </c:pt>
                <c:pt idx="7612">
                  <c:v>10</c:v>
                </c:pt>
                <c:pt idx="7613">
                  <c:v>4</c:v>
                </c:pt>
                <c:pt idx="7614">
                  <c:v>5</c:v>
                </c:pt>
                <c:pt idx="7615">
                  <c:v>12</c:v>
                </c:pt>
                <c:pt idx="7616">
                  <c:v>2</c:v>
                </c:pt>
                <c:pt idx="7617">
                  <c:v>3</c:v>
                </c:pt>
                <c:pt idx="7618">
                  <c:v>12</c:v>
                </c:pt>
                <c:pt idx="7619">
                  <c:v>4</c:v>
                </c:pt>
                <c:pt idx="7620">
                  <c:v>19</c:v>
                </c:pt>
                <c:pt idx="7621">
                  <c:v>0</c:v>
                </c:pt>
                <c:pt idx="7622">
                  <c:v>0</c:v>
                </c:pt>
                <c:pt idx="7623">
                  <c:v>93</c:v>
                </c:pt>
                <c:pt idx="7624">
                  <c:v>7</c:v>
                </c:pt>
                <c:pt idx="7625">
                  <c:v>0</c:v>
                </c:pt>
                <c:pt idx="7626">
                  <c:v>0</c:v>
                </c:pt>
                <c:pt idx="7627">
                  <c:v>0</c:v>
                </c:pt>
                <c:pt idx="7628">
                  <c:v>0</c:v>
                </c:pt>
                <c:pt idx="7629">
                  <c:v>1</c:v>
                </c:pt>
                <c:pt idx="7630">
                  <c:v>0</c:v>
                </c:pt>
                <c:pt idx="7631">
                  <c:v>2</c:v>
                </c:pt>
                <c:pt idx="7632">
                  <c:v>0</c:v>
                </c:pt>
                <c:pt idx="7633">
                  <c:v>0</c:v>
                </c:pt>
                <c:pt idx="7634">
                  <c:v>0</c:v>
                </c:pt>
                <c:pt idx="7635">
                  <c:v>0</c:v>
                </c:pt>
                <c:pt idx="7636">
                  <c:v>0</c:v>
                </c:pt>
                <c:pt idx="7637">
                  <c:v>0</c:v>
                </c:pt>
                <c:pt idx="7638">
                  <c:v>0</c:v>
                </c:pt>
                <c:pt idx="7639">
                  <c:v>0</c:v>
                </c:pt>
                <c:pt idx="7640">
                  <c:v>0</c:v>
                </c:pt>
                <c:pt idx="7641">
                  <c:v>0</c:v>
                </c:pt>
                <c:pt idx="7642">
                  <c:v>21</c:v>
                </c:pt>
                <c:pt idx="7643">
                  <c:v>114</c:v>
                </c:pt>
                <c:pt idx="7644">
                  <c:v>102</c:v>
                </c:pt>
                <c:pt idx="7645">
                  <c:v>133</c:v>
                </c:pt>
                <c:pt idx="7646">
                  <c:v>64</c:v>
                </c:pt>
                <c:pt idx="7647">
                  <c:v>16</c:v>
                </c:pt>
                <c:pt idx="7648">
                  <c:v>110</c:v>
                </c:pt>
                <c:pt idx="7649">
                  <c:v>74</c:v>
                </c:pt>
                <c:pt idx="7650">
                  <c:v>57</c:v>
                </c:pt>
                <c:pt idx="7651">
                  <c:v>8</c:v>
                </c:pt>
                <c:pt idx="7652">
                  <c:v>18</c:v>
                </c:pt>
                <c:pt idx="7653">
                  <c:v>40</c:v>
                </c:pt>
                <c:pt idx="7654">
                  <c:v>28</c:v>
                </c:pt>
                <c:pt idx="7655">
                  <c:v>9</c:v>
                </c:pt>
                <c:pt idx="7656">
                  <c:v>36</c:v>
                </c:pt>
                <c:pt idx="7657">
                  <c:v>35</c:v>
                </c:pt>
                <c:pt idx="7658">
                  <c:v>7</c:v>
                </c:pt>
                <c:pt idx="7659">
                  <c:v>34</c:v>
                </c:pt>
                <c:pt idx="7660">
                  <c:v>44</c:v>
                </c:pt>
                <c:pt idx="7661">
                  <c:v>38</c:v>
                </c:pt>
                <c:pt idx="7662">
                  <c:v>33</c:v>
                </c:pt>
                <c:pt idx="7663">
                  <c:v>16</c:v>
                </c:pt>
                <c:pt idx="7664">
                  <c:v>18</c:v>
                </c:pt>
                <c:pt idx="7665">
                  <c:v>41</c:v>
                </c:pt>
                <c:pt idx="7666">
                  <c:v>14</c:v>
                </c:pt>
                <c:pt idx="7667">
                  <c:v>45</c:v>
                </c:pt>
                <c:pt idx="7668">
                  <c:v>21</c:v>
                </c:pt>
                <c:pt idx="7669">
                  <c:v>4</c:v>
                </c:pt>
                <c:pt idx="7670">
                  <c:v>27</c:v>
                </c:pt>
                <c:pt idx="7671">
                  <c:v>20</c:v>
                </c:pt>
                <c:pt idx="7672">
                  <c:v>14</c:v>
                </c:pt>
                <c:pt idx="7673">
                  <c:v>6</c:v>
                </c:pt>
                <c:pt idx="7674">
                  <c:v>18</c:v>
                </c:pt>
                <c:pt idx="7675">
                  <c:v>16</c:v>
                </c:pt>
                <c:pt idx="7676">
                  <c:v>6</c:v>
                </c:pt>
                <c:pt idx="7677">
                  <c:v>3</c:v>
                </c:pt>
                <c:pt idx="7678">
                  <c:v>7</c:v>
                </c:pt>
                <c:pt idx="7679">
                  <c:v>11</c:v>
                </c:pt>
                <c:pt idx="7680">
                  <c:v>7</c:v>
                </c:pt>
                <c:pt idx="7681">
                  <c:v>5</c:v>
                </c:pt>
                <c:pt idx="7682">
                  <c:v>5</c:v>
                </c:pt>
                <c:pt idx="7683">
                  <c:v>9</c:v>
                </c:pt>
                <c:pt idx="7684">
                  <c:v>5</c:v>
                </c:pt>
                <c:pt idx="7685">
                  <c:v>4</c:v>
                </c:pt>
                <c:pt idx="7686">
                  <c:v>3</c:v>
                </c:pt>
                <c:pt idx="7687">
                  <c:v>1</c:v>
                </c:pt>
                <c:pt idx="7688">
                  <c:v>5</c:v>
                </c:pt>
                <c:pt idx="7689">
                  <c:v>3</c:v>
                </c:pt>
                <c:pt idx="7690">
                  <c:v>2</c:v>
                </c:pt>
                <c:pt idx="7691">
                  <c:v>3</c:v>
                </c:pt>
                <c:pt idx="7692">
                  <c:v>0</c:v>
                </c:pt>
                <c:pt idx="7693">
                  <c:v>0</c:v>
                </c:pt>
                <c:pt idx="7694">
                  <c:v>1</c:v>
                </c:pt>
                <c:pt idx="7695">
                  <c:v>1</c:v>
                </c:pt>
                <c:pt idx="7696">
                  <c:v>0</c:v>
                </c:pt>
                <c:pt idx="7697">
                  <c:v>2</c:v>
                </c:pt>
                <c:pt idx="7698">
                  <c:v>0</c:v>
                </c:pt>
                <c:pt idx="7699">
                  <c:v>1</c:v>
                </c:pt>
                <c:pt idx="7700">
                  <c:v>0</c:v>
                </c:pt>
                <c:pt idx="7701">
                  <c:v>0</c:v>
                </c:pt>
                <c:pt idx="7702">
                  <c:v>1</c:v>
                </c:pt>
                <c:pt idx="7703">
                  <c:v>0</c:v>
                </c:pt>
                <c:pt idx="7704">
                  <c:v>0</c:v>
                </c:pt>
                <c:pt idx="7705">
                  <c:v>0</c:v>
                </c:pt>
                <c:pt idx="7706">
                  <c:v>0</c:v>
                </c:pt>
                <c:pt idx="7707">
                  <c:v>0</c:v>
                </c:pt>
                <c:pt idx="7708">
                  <c:v>69</c:v>
                </c:pt>
                <c:pt idx="7709">
                  <c:v>22</c:v>
                </c:pt>
                <c:pt idx="7710">
                  <c:v>47</c:v>
                </c:pt>
                <c:pt idx="7711">
                  <c:v>10</c:v>
                </c:pt>
                <c:pt idx="7712">
                  <c:v>25</c:v>
                </c:pt>
                <c:pt idx="7713">
                  <c:v>5</c:v>
                </c:pt>
                <c:pt idx="7714">
                  <c:v>12</c:v>
                </c:pt>
                <c:pt idx="7715">
                  <c:v>4</c:v>
                </c:pt>
                <c:pt idx="7716">
                  <c:v>16</c:v>
                </c:pt>
                <c:pt idx="7717">
                  <c:v>12</c:v>
                </c:pt>
                <c:pt idx="7718">
                  <c:v>12</c:v>
                </c:pt>
                <c:pt idx="7719">
                  <c:v>16</c:v>
                </c:pt>
                <c:pt idx="7720">
                  <c:v>1</c:v>
                </c:pt>
                <c:pt idx="7721">
                  <c:v>8</c:v>
                </c:pt>
                <c:pt idx="7722">
                  <c:v>93</c:v>
                </c:pt>
                <c:pt idx="7723">
                  <c:v>42</c:v>
                </c:pt>
                <c:pt idx="7724">
                  <c:v>7</c:v>
                </c:pt>
                <c:pt idx="7725">
                  <c:v>1</c:v>
                </c:pt>
                <c:pt idx="7726">
                  <c:v>1</c:v>
                </c:pt>
                <c:pt idx="7727">
                  <c:v>8</c:v>
                </c:pt>
                <c:pt idx="7728">
                  <c:v>4</c:v>
                </c:pt>
                <c:pt idx="7729">
                  <c:v>5</c:v>
                </c:pt>
                <c:pt idx="7730">
                  <c:v>88</c:v>
                </c:pt>
                <c:pt idx="7731">
                  <c:v>7</c:v>
                </c:pt>
                <c:pt idx="7732">
                  <c:v>0</c:v>
                </c:pt>
                <c:pt idx="7733">
                  <c:v>11</c:v>
                </c:pt>
                <c:pt idx="7734">
                  <c:v>1</c:v>
                </c:pt>
                <c:pt idx="7735">
                  <c:v>1</c:v>
                </c:pt>
                <c:pt idx="7736">
                  <c:v>0</c:v>
                </c:pt>
                <c:pt idx="7737">
                  <c:v>2</c:v>
                </c:pt>
                <c:pt idx="7738">
                  <c:v>1</c:v>
                </c:pt>
                <c:pt idx="7739">
                  <c:v>1</c:v>
                </c:pt>
                <c:pt idx="7740">
                  <c:v>0</c:v>
                </c:pt>
                <c:pt idx="7741">
                  <c:v>1</c:v>
                </c:pt>
                <c:pt idx="7742">
                  <c:v>1</c:v>
                </c:pt>
                <c:pt idx="7743">
                  <c:v>1</c:v>
                </c:pt>
                <c:pt idx="7744">
                  <c:v>7</c:v>
                </c:pt>
                <c:pt idx="7745">
                  <c:v>2</c:v>
                </c:pt>
                <c:pt idx="7746">
                  <c:v>1</c:v>
                </c:pt>
                <c:pt idx="7747">
                  <c:v>2</c:v>
                </c:pt>
                <c:pt idx="7748">
                  <c:v>3</c:v>
                </c:pt>
                <c:pt idx="7749">
                  <c:v>6</c:v>
                </c:pt>
                <c:pt idx="7750">
                  <c:v>1</c:v>
                </c:pt>
                <c:pt idx="7751">
                  <c:v>1</c:v>
                </c:pt>
                <c:pt idx="7752">
                  <c:v>1</c:v>
                </c:pt>
                <c:pt idx="7753">
                  <c:v>1</c:v>
                </c:pt>
                <c:pt idx="7754">
                  <c:v>1</c:v>
                </c:pt>
                <c:pt idx="7755">
                  <c:v>1</c:v>
                </c:pt>
                <c:pt idx="7756">
                  <c:v>1</c:v>
                </c:pt>
                <c:pt idx="7757">
                  <c:v>0</c:v>
                </c:pt>
                <c:pt idx="7758">
                  <c:v>1</c:v>
                </c:pt>
                <c:pt idx="7759">
                  <c:v>1</c:v>
                </c:pt>
                <c:pt idx="7760">
                  <c:v>1</c:v>
                </c:pt>
                <c:pt idx="7761">
                  <c:v>1</c:v>
                </c:pt>
                <c:pt idx="7762">
                  <c:v>1</c:v>
                </c:pt>
                <c:pt idx="7763">
                  <c:v>1</c:v>
                </c:pt>
                <c:pt idx="7764">
                  <c:v>1</c:v>
                </c:pt>
                <c:pt idx="7765">
                  <c:v>1</c:v>
                </c:pt>
                <c:pt idx="7766">
                  <c:v>1</c:v>
                </c:pt>
                <c:pt idx="7767">
                  <c:v>1</c:v>
                </c:pt>
                <c:pt idx="7768">
                  <c:v>1</c:v>
                </c:pt>
                <c:pt idx="7769">
                  <c:v>1</c:v>
                </c:pt>
                <c:pt idx="7770">
                  <c:v>1</c:v>
                </c:pt>
                <c:pt idx="7771">
                  <c:v>30</c:v>
                </c:pt>
                <c:pt idx="7772">
                  <c:v>1</c:v>
                </c:pt>
                <c:pt idx="7773">
                  <c:v>1</c:v>
                </c:pt>
                <c:pt idx="7774">
                  <c:v>1</c:v>
                </c:pt>
                <c:pt idx="7775">
                  <c:v>0</c:v>
                </c:pt>
                <c:pt idx="7776">
                  <c:v>1</c:v>
                </c:pt>
                <c:pt idx="7777">
                  <c:v>1</c:v>
                </c:pt>
                <c:pt idx="7778">
                  <c:v>1</c:v>
                </c:pt>
                <c:pt idx="7779">
                  <c:v>0</c:v>
                </c:pt>
                <c:pt idx="7780">
                  <c:v>1</c:v>
                </c:pt>
                <c:pt idx="7781">
                  <c:v>1</c:v>
                </c:pt>
                <c:pt idx="7782">
                  <c:v>0</c:v>
                </c:pt>
                <c:pt idx="7783">
                  <c:v>2</c:v>
                </c:pt>
                <c:pt idx="7784">
                  <c:v>1</c:v>
                </c:pt>
                <c:pt idx="7785">
                  <c:v>1</c:v>
                </c:pt>
                <c:pt idx="7786">
                  <c:v>1</c:v>
                </c:pt>
                <c:pt idx="7787">
                  <c:v>1</c:v>
                </c:pt>
                <c:pt idx="7788">
                  <c:v>66</c:v>
                </c:pt>
                <c:pt idx="7789">
                  <c:v>8</c:v>
                </c:pt>
                <c:pt idx="7790">
                  <c:v>24</c:v>
                </c:pt>
                <c:pt idx="7791">
                  <c:v>11</c:v>
                </c:pt>
                <c:pt idx="7792">
                  <c:v>4</c:v>
                </c:pt>
                <c:pt idx="7793">
                  <c:v>4</c:v>
                </c:pt>
                <c:pt idx="7794">
                  <c:v>3</c:v>
                </c:pt>
                <c:pt idx="7795">
                  <c:v>16</c:v>
                </c:pt>
                <c:pt idx="7796">
                  <c:v>4</c:v>
                </c:pt>
                <c:pt idx="7797">
                  <c:v>2</c:v>
                </c:pt>
                <c:pt idx="7798">
                  <c:v>5</c:v>
                </c:pt>
                <c:pt idx="7799">
                  <c:v>5</c:v>
                </c:pt>
                <c:pt idx="7800">
                  <c:v>3</c:v>
                </c:pt>
                <c:pt idx="7801">
                  <c:v>3</c:v>
                </c:pt>
                <c:pt idx="7802">
                  <c:v>10</c:v>
                </c:pt>
                <c:pt idx="7803">
                  <c:v>0</c:v>
                </c:pt>
                <c:pt idx="7804">
                  <c:v>3</c:v>
                </c:pt>
                <c:pt idx="7805">
                  <c:v>3</c:v>
                </c:pt>
                <c:pt idx="7806">
                  <c:v>2</c:v>
                </c:pt>
                <c:pt idx="7807">
                  <c:v>3</c:v>
                </c:pt>
                <c:pt idx="7808">
                  <c:v>3</c:v>
                </c:pt>
                <c:pt idx="7809">
                  <c:v>0</c:v>
                </c:pt>
                <c:pt idx="7810">
                  <c:v>0</c:v>
                </c:pt>
                <c:pt idx="7811">
                  <c:v>0</c:v>
                </c:pt>
                <c:pt idx="7812">
                  <c:v>58</c:v>
                </c:pt>
                <c:pt idx="7813">
                  <c:v>4</c:v>
                </c:pt>
                <c:pt idx="7814">
                  <c:v>15</c:v>
                </c:pt>
                <c:pt idx="7815">
                  <c:v>22</c:v>
                </c:pt>
                <c:pt idx="7816">
                  <c:v>11</c:v>
                </c:pt>
                <c:pt idx="7817">
                  <c:v>29</c:v>
                </c:pt>
                <c:pt idx="7818">
                  <c:v>5</c:v>
                </c:pt>
                <c:pt idx="7819">
                  <c:v>18</c:v>
                </c:pt>
                <c:pt idx="7820">
                  <c:v>11</c:v>
                </c:pt>
                <c:pt idx="7821">
                  <c:v>0</c:v>
                </c:pt>
                <c:pt idx="7822">
                  <c:v>14</c:v>
                </c:pt>
                <c:pt idx="7823">
                  <c:v>4</c:v>
                </c:pt>
                <c:pt idx="7824">
                  <c:v>1</c:v>
                </c:pt>
                <c:pt idx="7825">
                  <c:v>5</c:v>
                </c:pt>
                <c:pt idx="7826">
                  <c:v>3</c:v>
                </c:pt>
                <c:pt idx="7827">
                  <c:v>1</c:v>
                </c:pt>
                <c:pt idx="7828">
                  <c:v>2</c:v>
                </c:pt>
                <c:pt idx="7829">
                  <c:v>0</c:v>
                </c:pt>
                <c:pt idx="7830">
                  <c:v>0</c:v>
                </c:pt>
                <c:pt idx="7831">
                  <c:v>2</c:v>
                </c:pt>
                <c:pt idx="7832">
                  <c:v>4</c:v>
                </c:pt>
                <c:pt idx="7833">
                  <c:v>0</c:v>
                </c:pt>
                <c:pt idx="7834">
                  <c:v>18</c:v>
                </c:pt>
                <c:pt idx="7835">
                  <c:v>3</c:v>
                </c:pt>
                <c:pt idx="7836">
                  <c:v>0</c:v>
                </c:pt>
                <c:pt idx="7837">
                  <c:v>3</c:v>
                </c:pt>
                <c:pt idx="7838">
                  <c:v>0</c:v>
                </c:pt>
                <c:pt idx="7839">
                  <c:v>3</c:v>
                </c:pt>
                <c:pt idx="7840">
                  <c:v>4</c:v>
                </c:pt>
                <c:pt idx="7841">
                  <c:v>3</c:v>
                </c:pt>
                <c:pt idx="7842">
                  <c:v>4</c:v>
                </c:pt>
                <c:pt idx="7843">
                  <c:v>0</c:v>
                </c:pt>
                <c:pt idx="7844">
                  <c:v>1</c:v>
                </c:pt>
                <c:pt idx="7845">
                  <c:v>0</c:v>
                </c:pt>
                <c:pt idx="7846">
                  <c:v>0</c:v>
                </c:pt>
                <c:pt idx="7847">
                  <c:v>2</c:v>
                </c:pt>
                <c:pt idx="7848">
                  <c:v>0</c:v>
                </c:pt>
                <c:pt idx="7849">
                  <c:v>0</c:v>
                </c:pt>
                <c:pt idx="7850">
                  <c:v>0</c:v>
                </c:pt>
                <c:pt idx="7851">
                  <c:v>0</c:v>
                </c:pt>
                <c:pt idx="7852">
                  <c:v>0</c:v>
                </c:pt>
                <c:pt idx="7853">
                  <c:v>0</c:v>
                </c:pt>
                <c:pt idx="7854">
                  <c:v>0</c:v>
                </c:pt>
                <c:pt idx="7855">
                  <c:v>0</c:v>
                </c:pt>
                <c:pt idx="7856">
                  <c:v>8</c:v>
                </c:pt>
                <c:pt idx="7857">
                  <c:v>1</c:v>
                </c:pt>
                <c:pt idx="7858">
                  <c:v>8</c:v>
                </c:pt>
                <c:pt idx="7859">
                  <c:v>13</c:v>
                </c:pt>
                <c:pt idx="7860">
                  <c:v>8</c:v>
                </c:pt>
                <c:pt idx="7861">
                  <c:v>14</c:v>
                </c:pt>
                <c:pt idx="7862">
                  <c:v>1</c:v>
                </c:pt>
                <c:pt idx="7863">
                  <c:v>1</c:v>
                </c:pt>
                <c:pt idx="7864">
                  <c:v>7</c:v>
                </c:pt>
                <c:pt idx="7865">
                  <c:v>5</c:v>
                </c:pt>
                <c:pt idx="7866">
                  <c:v>6</c:v>
                </c:pt>
                <c:pt idx="7867">
                  <c:v>1</c:v>
                </c:pt>
                <c:pt idx="7868">
                  <c:v>0</c:v>
                </c:pt>
                <c:pt idx="7869">
                  <c:v>2</c:v>
                </c:pt>
                <c:pt idx="7870">
                  <c:v>0</c:v>
                </c:pt>
                <c:pt idx="7871">
                  <c:v>39</c:v>
                </c:pt>
                <c:pt idx="7872">
                  <c:v>23</c:v>
                </c:pt>
                <c:pt idx="7873">
                  <c:v>6</c:v>
                </c:pt>
                <c:pt idx="7874">
                  <c:v>14</c:v>
                </c:pt>
                <c:pt idx="7875">
                  <c:v>17</c:v>
                </c:pt>
                <c:pt idx="7876">
                  <c:v>9</c:v>
                </c:pt>
                <c:pt idx="7877">
                  <c:v>12</c:v>
                </c:pt>
                <c:pt idx="7878">
                  <c:v>2</c:v>
                </c:pt>
                <c:pt idx="7879">
                  <c:v>3</c:v>
                </c:pt>
                <c:pt idx="7880">
                  <c:v>3</c:v>
                </c:pt>
                <c:pt idx="7881">
                  <c:v>4</c:v>
                </c:pt>
                <c:pt idx="7882">
                  <c:v>2</c:v>
                </c:pt>
                <c:pt idx="7883">
                  <c:v>5</c:v>
                </c:pt>
                <c:pt idx="7884">
                  <c:v>11</c:v>
                </c:pt>
                <c:pt idx="7885">
                  <c:v>2</c:v>
                </c:pt>
                <c:pt idx="7886">
                  <c:v>0</c:v>
                </c:pt>
                <c:pt idx="7887">
                  <c:v>0</c:v>
                </c:pt>
                <c:pt idx="7888">
                  <c:v>0</c:v>
                </c:pt>
                <c:pt idx="7889">
                  <c:v>1</c:v>
                </c:pt>
                <c:pt idx="7890">
                  <c:v>0</c:v>
                </c:pt>
                <c:pt idx="7891">
                  <c:v>1</c:v>
                </c:pt>
                <c:pt idx="7892">
                  <c:v>0</c:v>
                </c:pt>
                <c:pt idx="7893">
                  <c:v>0</c:v>
                </c:pt>
                <c:pt idx="7894">
                  <c:v>0</c:v>
                </c:pt>
                <c:pt idx="7895">
                  <c:v>4</c:v>
                </c:pt>
                <c:pt idx="7896">
                  <c:v>3</c:v>
                </c:pt>
                <c:pt idx="7897">
                  <c:v>3</c:v>
                </c:pt>
                <c:pt idx="7898">
                  <c:v>4</c:v>
                </c:pt>
                <c:pt idx="7899">
                  <c:v>3</c:v>
                </c:pt>
                <c:pt idx="7900">
                  <c:v>0</c:v>
                </c:pt>
                <c:pt idx="7901">
                  <c:v>3</c:v>
                </c:pt>
                <c:pt idx="7902">
                  <c:v>0</c:v>
                </c:pt>
                <c:pt idx="7903">
                  <c:v>6</c:v>
                </c:pt>
                <c:pt idx="7904">
                  <c:v>3</c:v>
                </c:pt>
                <c:pt idx="7905">
                  <c:v>0</c:v>
                </c:pt>
                <c:pt idx="7906">
                  <c:v>1</c:v>
                </c:pt>
                <c:pt idx="7907">
                  <c:v>1</c:v>
                </c:pt>
                <c:pt idx="7908">
                  <c:v>0</c:v>
                </c:pt>
                <c:pt idx="7909">
                  <c:v>0</c:v>
                </c:pt>
                <c:pt idx="7910">
                  <c:v>2</c:v>
                </c:pt>
                <c:pt idx="7911">
                  <c:v>0</c:v>
                </c:pt>
                <c:pt idx="7912">
                  <c:v>1</c:v>
                </c:pt>
                <c:pt idx="7913">
                  <c:v>2</c:v>
                </c:pt>
                <c:pt idx="7914">
                  <c:v>0</c:v>
                </c:pt>
                <c:pt idx="7915">
                  <c:v>2</c:v>
                </c:pt>
                <c:pt idx="7916">
                  <c:v>0</c:v>
                </c:pt>
                <c:pt idx="7917">
                  <c:v>1</c:v>
                </c:pt>
                <c:pt idx="7918">
                  <c:v>3</c:v>
                </c:pt>
                <c:pt idx="7919">
                  <c:v>0</c:v>
                </c:pt>
                <c:pt idx="7920">
                  <c:v>0</c:v>
                </c:pt>
                <c:pt idx="7921">
                  <c:v>0</c:v>
                </c:pt>
                <c:pt idx="7922">
                  <c:v>0</c:v>
                </c:pt>
                <c:pt idx="7923">
                  <c:v>7</c:v>
                </c:pt>
                <c:pt idx="7924">
                  <c:v>0</c:v>
                </c:pt>
                <c:pt idx="7925">
                  <c:v>0</c:v>
                </c:pt>
                <c:pt idx="7926">
                  <c:v>0</c:v>
                </c:pt>
                <c:pt idx="7927">
                  <c:v>15</c:v>
                </c:pt>
                <c:pt idx="7928">
                  <c:v>13</c:v>
                </c:pt>
                <c:pt idx="7929">
                  <c:v>7</c:v>
                </c:pt>
                <c:pt idx="7930">
                  <c:v>0</c:v>
                </c:pt>
                <c:pt idx="7931">
                  <c:v>31</c:v>
                </c:pt>
                <c:pt idx="7932">
                  <c:v>0</c:v>
                </c:pt>
                <c:pt idx="7933">
                  <c:v>3</c:v>
                </c:pt>
                <c:pt idx="7934">
                  <c:v>4</c:v>
                </c:pt>
                <c:pt idx="7935">
                  <c:v>0</c:v>
                </c:pt>
                <c:pt idx="7936">
                  <c:v>0</c:v>
                </c:pt>
                <c:pt idx="7937">
                  <c:v>32</c:v>
                </c:pt>
                <c:pt idx="7938">
                  <c:v>54</c:v>
                </c:pt>
                <c:pt idx="7939">
                  <c:v>9</c:v>
                </c:pt>
                <c:pt idx="7940">
                  <c:v>34</c:v>
                </c:pt>
                <c:pt idx="7941">
                  <c:v>27</c:v>
                </c:pt>
                <c:pt idx="7942">
                  <c:v>56</c:v>
                </c:pt>
                <c:pt idx="7943">
                  <c:v>16</c:v>
                </c:pt>
                <c:pt idx="7944">
                  <c:v>18</c:v>
                </c:pt>
                <c:pt idx="7945">
                  <c:v>17</c:v>
                </c:pt>
                <c:pt idx="7946">
                  <c:v>14</c:v>
                </c:pt>
                <c:pt idx="7947">
                  <c:v>7</c:v>
                </c:pt>
                <c:pt idx="7948">
                  <c:v>18</c:v>
                </c:pt>
                <c:pt idx="7949">
                  <c:v>11</c:v>
                </c:pt>
                <c:pt idx="7950">
                  <c:v>8</c:v>
                </c:pt>
                <c:pt idx="7951">
                  <c:v>19</c:v>
                </c:pt>
                <c:pt idx="7952">
                  <c:v>15</c:v>
                </c:pt>
                <c:pt idx="7953">
                  <c:v>2</c:v>
                </c:pt>
                <c:pt idx="7954">
                  <c:v>6</c:v>
                </c:pt>
                <c:pt idx="7955">
                  <c:v>4</c:v>
                </c:pt>
                <c:pt idx="7956">
                  <c:v>11</c:v>
                </c:pt>
                <c:pt idx="7957">
                  <c:v>4</c:v>
                </c:pt>
                <c:pt idx="7958">
                  <c:v>0</c:v>
                </c:pt>
                <c:pt idx="7959">
                  <c:v>10</c:v>
                </c:pt>
                <c:pt idx="7960">
                  <c:v>3</c:v>
                </c:pt>
                <c:pt idx="7961">
                  <c:v>3</c:v>
                </c:pt>
                <c:pt idx="7962">
                  <c:v>8</c:v>
                </c:pt>
                <c:pt idx="7963">
                  <c:v>5</c:v>
                </c:pt>
                <c:pt idx="7964">
                  <c:v>6</c:v>
                </c:pt>
                <c:pt idx="7965">
                  <c:v>1</c:v>
                </c:pt>
                <c:pt idx="7966">
                  <c:v>7</c:v>
                </c:pt>
                <c:pt idx="7967">
                  <c:v>2</c:v>
                </c:pt>
                <c:pt idx="7968">
                  <c:v>12</c:v>
                </c:pt>
                <c:pt idx="7969">
                  <c:v>0</c:v>
                </c:pt>
                <c:pt idx="7970">
                  <c:v>1</c:v>
                </c:pt>
                <c:pt idx="7971">
                  <c:v>33</c:v>
                </c:pt>
                <c:pt idx="7972">
                  <c:v>6</c:v>
                </c:pt>
                <c:pt idx="7973">
                  <c:v>4</c:v>
                </c:pt>
                <c:pt idx="7974">
                  <c:v>9</c:v>
                </c:pt>
                <c:pt idx="7975">
                  <c:v>3</c:v>
                </c:pt>
                <c:pt idx="7976">
                  <c:v>5</c:v>
                </c:pt>
                <c:pt idx="7977">
                  <c:v>5</c:v>
                </c:pt>
                <c:pt idx="7978">
                  <c:v>11</c:v>
                </c:pt>
                <c:pt idx="7979">
                  <c:v>4</c:v>
                </c:pt>
                <c:pt idx="7980">
                  <c:v>62</c:v>
                </c:pt>
                <c:pt idx="7981">
                  <c:v>722</c:v>
                </c:pt>
                <c:pt idx="7982">
                  <c:v>704</c:v>
                </c:pt>
                <c:pt idx="7983">
                  <c:v>193</c:v>
                </c:pt>
                <c:pt idx="7984">
                  <c:v>49</c:v>
                </c:pt>
                <c:pt idx="7985">
                  <c:v>1215</c:v>
                </c:pt>
                <c:pt idx="7986">
                  <c:v>272</c:v>
                </c:pt>
                <c:pt idx="7987">
                  <c:v>304</c:v>
                </c:pt>
                <c:pt idx="7988">
                  <c:v>742</c:v>
                </c:pt>
                <c:pt idx="7989">
                  <c:v>844</c:v>
                </c:pt>
                <c:pt idx="7990">
                  <c:v>285</c:v>
                </c:pt>
                <c:pt idx="7991">
                  <c:v>1949</c:v>
                </c:pt>
                <c:pt idx="7992">
                  <c:v>261</c:v>
                </c:pt>
                <c:pt idx="7993">
                  <c:v>605</c:v>
                </c:pt>
                <c:pt idx="7994">
                  <c:v>597</c:v>
                </c:pt>
                <c:pt idx="7995">
                  <c:v>227</c:v>
                </c:pt>
                <c:pt idx="7996">
                  <c:v>24</c:v>
                </c:pt>
                <c:pt idx="7997">
                  <c:v>354</c:v>
                </c:pt>
                <c:pt idx="7998">
                  <c:v>315</c:v>
                </c:pt>
                <c:pt idx="7999">
                  <c:v>321</c:v>
                </c:pt>
                <c:pt idx="8000">
                  <c:v>148</c:v>
                </c:pt>
                <c:pt idx="8001">
                  <c:v>172</c:v>
                </c:pt>
                <c:pt idx="8002">
                  <c:v>168</c:v>
                </c:pt>
                <c:pt idx="8003">
                  <c:v>30</c:v>
                </c:pt>
                <c:pt idx="8004">
                  <c:v>78</c:v>
                </c:pt>
                <c:pt idx="8005">
                  <c:v>401</c:v>
                </c:pt>
                <c:pt idx="8006">
                  <c:v>111</c:v>
                </c:pt>
                <c:pt idx="8007">
                  <c:v>396</c:v>
                </c:pt>
                <c:pt idx="8008">
                  <c:v>770</c:v>
                </c:pt>
                <c:pt idx="8009">
                  <c:v>607</c:v>
                </c:pt>
                <c:pt idx="8010">
                  <c:v>155</c:v>
                </c:pt>
                <c:pt idx="8011">
                  <c:v>803</c:v>
                </c:pt>
                <c:pt idx="8012">
                  <c:v>328</c:v>
                </c:pt>
                <c:pt idx="8013">
                  <c:v>702</c:v>
                </c:pt>
                <c:pt idx="8014">
                  <c:v>154</c:v>
                </c:pt>
                <c:pt idx="8015">
                  <c:v>373</c:v>
                </c:pt>
                <c:pt idx="8016">
                  <c:v>52</c:v>
                </c:pt>
                <c:pt idx="8017">
                  <c:v>254</c:v>
                </c:pt>
                <c:pt idx="8018">
                  <c:v>78</c:v>
                </c:pt>
                <c:pt idx="8019">
                  <c:v>95</c:v>
                </c:pt>
                <c:pt idx="8020">
                  <c:v>156</c:v>
                </c:pt>
                <c:pt idx="8021">
                  <c:v>434</c:v>
                </c:pt>
                <c:pt idx="8022">
                  <c:v>356</c:v>
                </c:pt>
                <c:pt idx="8023">
                  <c:v>177</c:v>
                </c:pt>
                <c:pt idx="8024">
                  <c:v>48</c:v>
                </c:pt>
                <c:pt idx="8025">
                  <c:v>383</c:v>
                </c:pt>
                <c:pt idx="8026">
                  <c:v>264</c:v>
                </c:pt>
                <c:pt idx="8027">
                  <c:v>454</c:v>
                </c:pt>
                <c:pt idx="8028">
                  <c:v>308</c:v>
                </c:pt>
                <c:pt idx="8029">
                  <c:v>256</c:v>
                </c:pt>
                <c:pt idx="8030">
                  <c:v>483</c:v>
                </c:pt>
                <c:pt idx="8031">
                  <c:v>179</c:v>
                </c:pt>
                <c:pt idx="8032">
                  <c:v>48</c:v>
                </c:pt>
                <c:pt idx="8033">
                  <c:v>58</c:v>
                </c:pt>
                <c:pt idx="8034">
                  <c:v>46</c:v>
                </c:pt>
                <c:pt idx="8035">
                  <c:v>129</c:v>
                </c:pt>
                <c:pt idx="8036">
                  <c:v>75</c:v>
                </c:pt>
                <c:pt idx="8037">
                  <c:v>943</c:v>
                </c:pt>
                <c:pt idx="8038">
                  <c:v>879</c:v>
                </c:pt>
                <c:pt idx="8039">
                  <c:v>151</c:v>
                </c:pt>
                <c:pt idx="8040">
                  <c:v>547</c:v>
                </c:pt>
                <c:pt idx="8041">
                  <c:v>32</c:v>
                </c:pt>
                <c:pt idx="8042">
                  <c:v>268</c:v>
                </c:pt>
                <c:pt idx="8043">
                  <c:v>93</c:v>
                </c:pt>
                <c:pt idx="8044">
                  <c:v>341</c:v>
                </c:pt>
                <c:pt idx="8045">
                  <c:v>357</c:v>
                </c:pt>
                <c:pt idx="8046">
                  <c:v>941</c:v>
                </c:pt>
                <c:pt idx="8047">
                  <c:v>753</c:v>
                </c:pt>
                <c:pt idx="8048">
                  <c:v>194</c:v>
                </c:pt>
                <c:pt idx="8049">
                  <c:v>458</c:v>
                </c:pt>
                <c:pt idx="8050">
                  <c:v>358</c:v>
                </c:pt>
                <c:pt idx="8051">
                  <c:v>44</c:v>
                </c:pt>
                <c:pt idx="8052">
                  <c:v>492</c:v>
                </c:pt>
                <c:pt idx="8053">
                  <c:v>81</c:v>
                </c:pt>
                <c:pt idx="8054">
                  <c:v>481</c:v>
                </c:pt>
                <c:pt idx="8055">
                  <c:v>451</c:v>
                </c:pt>
                <c:pt idx="8056">
                  <c:v>86</c:v>
                </c:pt>
                <c:pt idx="8057">
                  <c:v>227</c:v>
                </c:pt>
                <c:pt idx="8058">
                  <c:v>245</c:v>
                </c:pt>
                <c:pt idx="8059">
                  <c:v>32</c:v>
                </c:pt>
                <c:pt idx="8060">
                  <c:v>717</c:v>
                </c:pt>
                <c:pt idx="8061">
                  <c:v>109</c:v>
                </c:pt>
                <c:pt idx="8062">
                  <c:v>331</c:v>
                </c:pt>
                <c:pt idx="8063">
                  <c:v>677</c:v>
                </c:pt>
                <c:pt idx="8064">
                  <c:v>296</c:v>
                </c:pt>
                <c:pt idx="8065">
                  <c:v>45</c:v>
                </c:pt>
                <c:pt idx="8066">
                  <c:v>598</c:v>
                </c:pt>
                <c:pt idx="8067">
                  <c:v>165</c:v>
                </c:pt>
                <c:pt idx="8068">
                  <c:v>413</c:v>
                </c:pt>
                <c:pt idx="8069">
                  <c:v>537</c:v>
                </c:pt>
                <c:pt idx="8070">
                  <c:v>767</c:v>
                </c:pt>
                <c:pt idx="8071">
                  <c:v>609</c:v>
                </c:pt>
                <c:pt idx="8072">
                  <c:v>101</c:v>
                </c:pt>
                <c:pt idx="8073">
                  <c:v>250</c:v>
                </c:pt>
                <c:pt idx="8074">
                  <c:v>56</c:v>
                </c:pt>
                <c:pt idx="8075">
                  <c:v>74</c:v>
                </c:pt>
                <c:pt idx="8076">
                  <c:v>260</c:v>
                </c:pt>
                <c:pt idx="8077">
                  <c:v>410</c:v>
                </c:pt>
                <c:pt idx="8078">
                  <c:v>152</c:v>
                </c:pt>
                <c:pt idx="8079">
                  <c:v>204</c:v>
                </c:pt>
                <c:pt idx="8080">
                  <c:v>78</c:v>
                </c:pt>
                <c:pt idx="8081">
                  <c:v>231</c:v>
                </c:pt>
                <c:pt idx="8082">
                  <c:v>235</c:v>
                </c:pt>
                <c:pt idx="8083">
                  <c:v>242</c:v>
                </c:pt>
                <c:pt idx="8084">
                  <c:v>104</c:v>
                </c:pt>
                <c:pt idx="8085">
                  <c:v>5</c:v>
                </c:pt>
                <c:pt idx="8086">
                  <c:v>301</c:v>
                </c:pt>
                <c:pt idx="8087">
                  <c:v>76</c:v>
                </c:pt>
                <c:pt idx="8088">
                  <c:v>83</c:v>
                </c:pt>
                <c:pt idx="8089">
                  <c:v>66</c:v>
                </c:pt>
                <c:pt idx="8090">
                  <c:v>62</c:v>
                </c:pt>
                <c:pt idx="8091">
                  <c:v>85</c:v>
                </c:pt>
                <c:pt idx="8092">
                  <c:v>116</c:v>
                </c:pt>
                <c:pt idx="8093">
                  <c:v>42</c:v>
                </c:pt>
                <c:pt idx="8094">
                  <c:v>91</c:v>
                </c:pt>
                <c:pt idx="8095">
                  <c:v>53</c:v>
                </c:pt>
                <c:pt idx="8096">
                  <c:v>21</c:v>
                </c:pt>
                <c:pt idx="8097">
                  <c:v>13</c:v>
                </c:pt>
                <c:pt idx="8098">
                  <c:v>14</c:v>
                </c:pt>
                <c:pt idx="8099">
                  <c:v>5</c:v>
                </c:pt>
                <c:pt idx="8100">
                  <c:v>11</c:v>
                </c:pt>
                <c:pt idx="8101">
                  <c:v>1</c:v>
                </c:pt>
                <c:pt idx="8102">
                  <c:v>0</c:v>
                </c:pt>
                <c:pt idx="8103">
                  <c:v>335</c:v>
                </c:pt>
                <c:pt idx="8104">
                  <c:v>108</c:v>
                </c:pt>
                <c:pt idx="8105">
                  <c:v>47</c:v>
                </c:pt>
                <c:pt idx="8106">
                  <c:v>36</c:v>
                </c:pt>
                <c:pt idx="8107">
                  <c:v>13</c:v>
                </c:pt>
                <c:pt idx="8108">
                  <c:v>102</c:v>
                </c:pt>
                <c:pt idx="8109">
                  <c:v>137</c:v>
                </c:pt>
                <c:pt idx="8110">
                  <c:v>168</c:v>
                </c:pt>
                <c:pt idx="8111">
                  <c:v>212</c:v>
                </c:pt>
                <c:pt idx="8112">
                  <c:v>124</c:v>
                </c:pt>
                <c:pt idx="8113">
                  <c:v>68</c:v>
                </c:pt>
                <c:pt idx="8114">
                  <c:v>74</c:v>
                </c:pt>
                <c:pt idx="8115">
                  <c:v>24</c:v>
                </c:pt>
                <c:pt idx="8116">
                  <c:v>27</c:v>
                </c:pt>
                <c:pt idx="8117">
                  <c:v>7</c:v>
                </c:pt>
                <c:pt idx="8118">
                  <c:v>35</c:v>
                </c:pt>
                <c:pt idx="8119">
                  <c:v>52</c:v>
                </c:pt>
                <c:pt idx="8120">
                  <c:v>49</c:v>
                </c:pt>
                <c:pt idx="8121">
                  <c:v>22</c:v>
                </c:pt>
                <c:pt idx="8122">
                  <c:v>6</c:v>
                </c:pt>
                <c:pt idx="8123">
                  <c:v>6</c:v>
                </c:pt>
                <c:pt idx="8124">
                  <c:v>159</c:v>
                </c:pt>
                <c:pt idx="8125">
                  <c:v>212</c:v>
                </c:pt>
                <c:pt idx="8126">
                  <c:v>47</c:v>
                </c:pt>
                <c:pt idx="8127">
                  <c:v>8</c:v>
                </c:pt>
                <c:pt idx="8128">
                  <c:v>369</c:v>
                </c:pt>
                <c:pt idx="8129">
                  <c:v>297</c:v>
                </c:pt>
                <c:pt idx="8130">
                  <c:v>97</c:v>
                </c:pt>
                <c:pt idx="8131">
                  <c:v>286</c:v>
                </c:pt>
                <c:pt idx="8132">
                  <c:v>150</c:v>
                </c:pt>
                <c:pt idx="8133">
                  <c:v>40</c:v>
                </c:pt>
                <c:pt idx="8134">
                  <c:v>88</c:v>
                </c:pt>
                <c:pt idx="8135">
                  <c:v>57</c:v>
                </c:pt>
                <c:pt idx="8136">
                  <c:v>5</c:v>
                </c:pt>
                <c:pt idx="8137">
                  <c:v>39</c:v>
                </c:pt>
                <c:pt idx="8138">
                  <c:v>10</c:v>
                </c:pt>
                <c:pt idx="8139">
                  <c:v>20</c:v>
                </c:pt>
                <c:pt idx="8140">
                  <c:v>17</c:v>
                </c:pt>
                <c:pt idx="8141">
                  <c:v>13</c:v>
                </c:pt>
                <c:pt idx="8142">
                  <c:v>6</c:v>
                </c:pt>
                <c:pt idx="8143">
                  <c:v>6</c:v>
                </c:pt>
                <c:pt idx="8144">
                  <c:v>11</c:v>
                </c:pt>
                <c:pt idx="8145">
                  <c:v>12</c:v>
                </c:pt>
                <c:pt idx="8146">
                  <c:v>19</c:v>
                </c:pt>
                <c:pt idx="8147">
                  <c:v>7</c:v>
                </c:pt>
                <c:pt idx="8148">
                  <c:v>0</c:v>
                </c:pt>
                <c:pt idx="8149">
                  <c:v>6</c:v>
                </c:pt>
                <c:pt idx="8150">
                  <c:v>1</c:v>
                </c:pt>
                <c:pt idx="8151">
                  <c:v>0</c:v>
                </c:pt>
                <c:pt idx="8152">
                  <c:v>0</c:v>
                </c:pt>
                <c:pt idx="8153">
                  <c:v>0</c:v>
                </c:pt>
                <c:pt idx="8154">
                  <c:v>105</c:v>
                </c:pt>
                <c:pt idx="8155">
                  <c:v>281</c:v>
                </c:pt>
                <c:pt idx="8156">
                  <c:v>112</c:v>
                </c:pt>
                <c:pt idx="8157">
                  <c:v>54</c:v>
                </c:pt>
                <c:pt idx="8158">
                  <c:v>106</c:v>
                </c:pt>
                <c:pt idx="8159">
                  <c:v>252</c:v>
                </c:pt>
                <c:pt idx="8160">
                  <c:v>413</c:v>
                </c:pt>
                <c:pt idx="8161">
                  <c:v>195</c:v>
                </c:pt>
                <c:pt idx="8162">
                  <c:v>266</c:v>
                </c:pt>
                <c:pt idx="8163">
                  <c:v>211</c:v>
                </c:pt>
                <c:pt idx="8164">
                  <c:v>132</c:v>
                </c:pt>
                <c:pt idx="8165">
                  <c:v>27</c:v>
                </c:pt>
                <c:pt idx="8166">
                  <c:v>1</c:v>
                </c:pt>
                <c:pt idx="8167">
                  <c:v>0</c:v>
                </c:pt>
                <c:pt idx="8168">
                  <c:v>1</c:v>
                </c:pt>
                <c:pt idx="8169">
                  <c:v>0</c:v>
                </c:pt>
                <c:pt idx="8170">
                  <c:v>0</c:v>
                </c:pt>
                <c:pt idx="8171">
                  <c:v>0</c:v>
                </c:pt>
                <c:pt idx="8172">
                  <c:v>24</c:v>
                </c:pt>
                <c:pt idx="8173">
                  <c:v>10</c:v>
                </c:pt>
                <c:pt idx="8174">
                  <c:v>79</c:v>
                </c:pt>
                <c:pt idx="8175">
                  <c:v>22</c:v>
                </c:pt>
                <c:pt idx="8176">
                  <c:v>1</c:v>
                </c:pt>
                <c:pt idx="8177">
                  <c:v>0</c:v>
                </c:pt>
                <c:pt idx="8178">
                  <c:v>10</c:v>
                </c:pt>
                <c:pt idx="8179">
                  <c:v>2</c:v>
                </c:pt>
                <c:pt idx="8180">
                  <c:v>5</c:v>
                </c:pt>
                <c:pt idx="8181">
                  <c:v>3</c:v>
                </c:pt>
                <c:pt idx="8182">
                  <c:v>31</c:v>
                </c:pt>
                <c:pt idx="8183">
                  <c:v>0</c:v>
                </c:pt>
                <c:pt idx="8184">
                  <c:v>5</c:v>
                </c:pt>
                <c:pt idx="8185">
                  <c:v>10</c:v>
                </c:pt>
                <c:pt idx="8186">
                  <c:v>6</c:v>
                </c:pt>
                <c:pt idx="8187">
                  <c:v>9</c:v>
                </c:pt>
                <c:pt idx="8188">
                  <c:v>2</c:v>
                </c:pt>
                <c:pt idx="8189">
                  <c:v>3</c:v>
                </c:pt>
                <c:pt idx="8190">
                  <c:v>0</c:v>
                </c:pt>
                <c:pt idx="8191">
                  <c:v>0</c:v>
                </c:pt>
                <c:pt idx="8192">
                  <c:v>3</c:v>
                </c:pt>
                <c:pt idx="8193">
                  <c:v>0</c:v>
                </c:pt>
                <c:pt idx="8194">
                  <c:v>12</c:v>
                </c:pt>
                <c:pt idx="8195">
                  <c:v>1</c:v>
                </c:pt>
                <c:pt idx="8196">
                  <c:v>5</c:v>
                </c:pt>
                <c:pt idx="8197">
                  <c:v>4</c:v>
                </c:pt>
                <c:pt idx="8198">
                  <c:v>15</c:v>
                </c:pt>
                <c:pt idx="8199">
                  <c:v>4</c:v>
                </c:pt>
                <c:pt idx="8200">
                  <c:v>7</c:v>
                </c:pt>
                <c:pt idx="8201">
                  <c:v>1</c:v>
                </c:pt>
                <c:pt idx="8202">
                  <c:v>1</c:v>
                </c:pt>
                <c:pt idx="8203">
                  <c:v>2</c:v>
                </c:pt>
                <c:pt idx="8204">
                  <c:v>5</c:v>
                </c:pt>
                <c:pt idx="8205">
                  <c:v>16</c:v>
                </c:pt>
                <c:pt idx="8206">
                  <c:v>0</c:v>
                </c:pt>
                <c:pt idx="8207">
                  <c:v>0</c:v>
                </c:pt>
                <c:pt idx="8208">
                  <c:v>0</c:v>
                </c:pt>
                <c:pt idx="8209">
                  <c:v>9</c:v>
                </c:pt>
                <c:pt idx="8210">
                  <c:v>1</c:v>
                </c:pt>
                <c:pt idx="8211">
                  <c:v>1</c:v>
                </c:pt>
                <c:pt idx="8212">
                  <c:v>1</c:v>
                </c:pt>
                <c:pt idx="8213">
                  <c:v>0</c:v>
                </c:pt>
                <c:pt idx="8214">
                  <c:v>11</c:v>
                </c:pt>
                <c:pt idx="8215">
                  <c:v>4</c:v>
                </c:pt>
                <c:pt idx="8216">
                  <c:v>2</c:v>
                </c:pt>
                <c:pt idx="8217">
                  <c:v>1</c:v>
                </c:pt>
                <c:pt idx="8218">
                  <c:v>1</c:v>
                </c:pt>
                <c:pt idx="8219">
                  <c:v>0</c:v>
                </c:pt>
                <c:pt idx="8220">
                  <c:v>0</c:v>
                </c:pt>
                <c:pt idx="8221">
                  <c:v>0</c:v>
                </c:pt>
                <c:pt idx="8222">
                  <c:v>0</c:v>
                </c:pt>
                <c:pt idx="8223">
                  <c:v>1</c:v>
                </c:pt>
                <c:pt idx="8224">
                  <c:v>0</c:v>
                </c:pt>
                <c:pt idx="8225">
                  <c:v>0</c:v>
                </c:pt>
                <c:pt idx="8226">
                  <c:v>0</c:v>
                </c:pt>
                <c:pt idx="8227">
                  <c:v>4</c:v>
                </c:pt>
                <c:pt idx="8228">
                  <c:v>0</c:v>
                </c:pt>
                <c:pt idx="8229">
                  <c:v>0</c:v>
                </c:pt>
                <c:pt idx="8230">
                  <c:v>0</c:v>
                </c:pt>
                <c:pt idx="8231">
                  <c:v>0</c:v>
                </c:pt>
                <c:pt idx="8232">
                  <c:v>3</c:v>
                </c:pt>
                <c:pt idx="8233">
                  <c:v>0</c:v>
                </c:pt>
                <c:pt idx="8234">
                  <c:v>0</c:v>
                </c:pt>
                <c:pt idx="8235">
                  <c:v>0</c:v>
                </c:pt>
                <c:pt idx="8236">
                  <c:v>0</c:v>
                </c:pt>
                <c:pt idx="8237">
                  <c:v>7</c:v>
                </c:pt>
                <c:pt idx="8238">
                  <c:v>0</c:v>
                </c:pt>
                <c:pt idx="8239">
                  <c:v>1</c:v>
                </c:pt>
                <c:pt idx="8240">
                  <c:v>0</c:v>
                </c:pt>
                <c:pt idx="8241">
                  <c:v>0</c:v>
                </c:pt>
                <c:pt idx="8242">
                  <c:v>0</c:v>
                </c:pt>
                <c:pt idx="8243">
                  <c:v>0</c:v>
                </c:pt>
                <c:pt idx="8244">
                  <c:v>0</c:v>
                </c:pt>
                <c:pt idx="8245">
                  <c:v>0</c:v>
                </c:pt>
                <c:pt idx="8246">
                  <c:v>0</c:v>
                </c:pt>
                <c:pt idx="8247">
                  <c:v>0</c:v>
                </c:pt>
                <c:pt idx="8248">
                  <c:v>0</c:v>
                </c:pt>
                <c:pt idx="8249">
                  <c:v>0</c:v>
                </c:pt>
                <c:pt idx="8250">
                  <c:v>1</c:v>
                </c:pt>
                <c:pt idx="8251">
                  <c:v>0</c:v>
                </c:pt>
                <c:pt idx="8252">
                  <c:v>0</c:v>
                </c:pt>
                <c:pt idx="8253">
                  <c:v>0</c:v>
                </c:pt>
                <c:pt idx="8254">
                  <c:v>1</c:v>
                </c:pt>
                <c:pt idx="8255">
                  <c:v>0</c:v>
                </c:pt>
                <c:pt idx="8256">
                  <c:v>0</c:v>
                </c:pt>
                <c:pt idx="8257">
                  <c:v>0</c:v>
                </c:pt>
                <c:pt idx="8258">
                  <c:v>1</c:v>
                </c:pt>
                <c:pt idx="8259">
                  <c:v>0</c:v>
                </c:pt>
                <c:pt idx="8260">
                  <c:v>0</c:v>
                </c:pt>
                <c:pt idx="8261">
                  <c:v>56</c:v>
                </c:pt>
                <c:pt idx="8262">
                  <c:v>3</c:v>
                </c:pt>
                <c:pt idx="8263">
                  <c:v>0</c:v>
                </c:pt>
                <c:pt idx="8264">
                  <c:v>2</c:v>
                </c:pt>
                <c:pt idx="8265">
                  <c:v>112</c:v>
                </c:pt>
                <c:pt idx="8266">
                  <c:v>681</c:v>
                </c:pt>
                <c:pt idx="8267">
                  <c:v>193</c:v>
                </c:pt>
                <c:pt idx="8268">
                  <c:v>533</c:v>
                </c:pt>
                <c:pt idx="8269">
                  <c:v>241</c:v>
                </c:pt>
                <c:pt idx="8270">
                  <c:v>50</c:v>
                </c:pt>
                <c:pt idx="8271">
                  <c:v>193</c:v>
                </c:pt>
                <c:pt idx="8272">
                  <c:v>307</c:v>
                </c:pt>
                <c:pt idx="8273">
                  <c:v>337</c:v>
                </c:pt>
                <c:pt idx="8274">
                  <c:v>524</c:v>
                </c:pt>
                <c:pt idx="8275">
                  <c:v>73</c:v>
                </c:pt>
                <c:pt idx="8276">
                  <c:v>236</c:v>
                </c:pt>
                <c:pt idx="8277">
                  <c:v>256</c:v>
                </c:pt>
                <c:pt idx="8278">
                  <c:v>165</c:v>
                </c:pt>
                <c:pt idx="8279">
                  <c:v>110</c:v>
                </c:pt>
                <c:pt idx="8280">
                  <c:v>18</c:v>
                </c:pt>
                <c:pt idx="8281">
                  <c:v>97</c:v>
                </c:pt>
                <c:pt idx="8282">
                  <c:v>52</c:v>
                </c:pt>
                <c:pt idx="8283">
                  <c:v>6</c:v>
                </c:pt>
                <c:pt idx="8284">
                  <c:v>31</c:v>
                </c:pt>
                <c:pt idx="8285">
                  <c:v>42</c:v>
                </c:pt>
                <c:pt idx="8286">
                  <c:v>9</c:v>
                </c:pt>
                <c:pt idx="8287">
                  <c:v>1</c:v>
                </c:pt>
                <c:pt idx="8288">
                  <c:v>113</c:v>
                </c:pt>
                <c:pt idx="8289">
                  <c:v>203</c:v>
                </c:pt>
                <c:pt idx="8290">
                  <c:v>196</c:v>
                </c:pt>
                <c:pt idx="8291">
                  <c:v>448</c:v>
                </c:pt>
                <c:pt idx="8292">
                  <c:v>23</c:v>
                </c:pt>
                <c:pt idx="8293">
                  <c:v>19</c:v>
                </c:pt>
                <c:pt idx="8294">
                  <c:v>13</c:v>
                </c:pt>
                <c:pt idx="8295">
                  <c:v>16</c:v>
                </c:pt>
                <c:pt idx="8296">
                  <c:v>29</c:v>
                </c:pt>
                <c:pt idx="8297">
                  <c:v>5</c:v>
                </c:pt>
                <c:pt idx="8298">
                  <c:v>16</c:v>
                </c:pt>
                <c:pt idx="8299">
                  <c:v>4</c:v>
                </c:pt>
                <c:pt idx="8300">
                  <c:v>5</c:v>
                </c:pt>
                <c:pt idx="8301">
                  <c:v>106</c:v>
                </c:pt>
                <c:pt idx="8302">
                  <c:v>66</c:v>
                </c:pt>
                <c:pt idx="8303">
                  <c:v>10</c:v>
                </c:pt>
                <c:pt idx="8304">
                  <c:v>8</c:v>
                </c:pt>
                <c:pt idx="8305">
                  <c:v>3</c:v>
                </c:pt>
                <c:pt idx="8306">
                  <c:v>0</c:v>
                </c:pt>
                <c:pt idx="8307">
                  <c:v>19</c:v>
                </c:pt>
                <c:pt idx="8308">
                  <c:v>20</c:v>
                </c:pt>
                <c:pt idx="8309">
                  <c:v>10</c:v>
                </c:pt>
                <c:pt idx="8310">
                  <c:v>9</c:v>
                </c:pt>
                <c:pt idx="8311">
                  <c:v>39</c:v>
                </c:pt>
                <c:pt idx="8312">
                  <c:v>5</c:v>
                </c:pt>
                <c:pt idx="8313">
                  <c:v>30</c:v>
                </c:pt>
                <c:pt idx="8314">
                  <c:v>9</c:v>
                </c:pt>
                <c:pt idx="8315">
                  <c:v>13</c:v>
                </c:pt>
                <c:pt idx="8316">
                  <c:v>10</c:v>
                </c:pt>
                <c:pt idx="8317">
                  <c:v>2</c:v>
                </c:pt>
                <c:pt idx="8318">
                  <c:v>10</c:v>
                </c:pt>
                <c:pt idx="8319">
                  <c:v>4</c:v>
                </c:pt>
                <c:pt idx="8320">
                  <c:v>15</c:v>
                </c:pt>
                <c:pt idx="8321">
                  <c:v>13</c:v>
                </c:pt>
                <c:pt idx="8322">
                  <c:v>7</c:v>
                </c:pt>
                <c:pt idx="8323">
                  <c:v>0</c:v>
                </c:pt>
                <c:pt idx="8324">
                  <c:v>3</c:v>
                </c:pt>
                <c:pt idx="8325">
                  <c:v>6</c:v>
                </c:pt>
                <c:pt idx="8326">
                  <c:v>3</c:v>
                </c:pt>
                <c:pt idx="8327">
                  <c:v>4</c:v>
                </c:pt>
                <c:pt idx="8328">
                  <c:v>109</c:v>
                </c:pt>
                <c:pt idx="8329">
                  <c:v>86</c:v>
                </c:pt>
                <c:pt idx="8330">
                  <c:v>16</c:v>
                </c:pt>
                <c:pt idx="8331">
                  <c:v>10</c:v>
                </c:pt>
                <c:pt idx="8332">
                  <c:v>1</c:v>
                </c:pt>
                <c:pt idx="8333">
                  <c:v>52</c:v>
                </c:pt>
                <c:pt idx="8334">
                  <c:v>35</c:v>
                </c:pt>
                <c:pt idx="8335">
                  <c:v>2</c:v>
                </c:pt>
                <c:pt idx="8336">
                  <c:v>3</c:v>
                </c:pt>
                <c:pt idx="8337">
                  <c:v>13</c:v>
                </c:pt>
                <c:pt idx="8338">
                  <c:v>0</c:v>
                </c:pt>
                <c:pt idx="8339">
                  <c:v>2</c:v>
                </c:pt>
                <c:pt idx="8340">
                  <c:v>2</c:v>
                </c:pt>
                <c:pt idx="8341">
                  <c:v>4</c:v>
                </c:pt>
                <c:pt idx="8342">
                  <c:v>6</c:v>
                </c:pt>
                <c:pt idx="8343">
                  <c:v>5</c:v>
                </c:pt>
                <c:pt idx="8344">
                  <c:v>6</c:v>
                </c:pt>
                <c:pt idx="8345">
                  <c:v>5</c:v>
                </c:pt>
                <c:pt idx="8346">
                  <c:v>0</c:v>
                </c:pt>
                <c:pt idx="8347">
                  <c:v>28</c:v>
                </c:pt>
                <c:pt idx="8348">
                  <c:v>5</c:v>
                </c:pt>
                <c:pt idx="8349">
                  <c:v>3</c:v>
                </c:pt>
                <c:pt idx="8350">
                  <c:v>2</c:v>
                </c:pt>
                <c:pt idx="8351">
                  <c:v>12</c:v>
                </c:pt>
                <c:pt idx="8352">
                  <c:v>74</c:v>
                </c:pt>
                <c:pt idx="8353">
                  <c:v>43</c:v>
                </c:pt>
                <c:pt idx="8354">
                  <c:v>25</c:v>
                </c:pt>
                <c:pt idx="8355">
                  <c:v>27</c:v>
                </c:pt>
                <c:pt idx="8356">
                  <c:v>29</c:v>
                </c:pt>
                <c:pt idx="8357">
                  <c:v>9</c:v>
                </c:pt>
                <c:pt idx="8358">
                  <c:v>13</c:v>
                </c:pt>
                <c:pt idx="8359">
                  <c:v>15</c:v>
                </c:pt>
                <c:pt idx="8360">
                  <c:v>7</c:v>
                </c:pt>
                <c:pt idx="8361">
                  <c:v>0</c:v>
                </c:pt>
                <c:pt idx="8362">
                  <c:v>12</c:v>
                </c:pt>
                <c:pt idx="8363">
                  <c:v>7</c:v>
                </c:pt>
                <c:pt idx="8364">
                  <c:v>30</c:v>
                </c:pt>
                <c:pt idx="8365">
                  <c:v>6</c:v>
                </c:pt>
                <c:pt idx="8366">
                  <c:v>0</c:v>
                </c:pt>
                <c:pt idx="8367">
                  <c:v>11</c:v>
                </c:pt>
                <c:pt idx="8368">
                  <c:v>9</c:v>
                </c:pt>
                <c:pt idx="8369">
                  <c:v>11</c:v>
                </c:pt>
                <c:pt idx="8370">
                  <c:v>2</c:v>
                </c:pt>
                <c:pt idx="8371">
                  <c:v>1</c:v>
                </c:pt>
                <c:pt idx="8372">
                  <c:v>8</c:v>
                </c:pt>
                <c:pt idx="8373">
                  <c:v>7</c:v>
                </c:pt>
                <c:pt idx="8374">
                  <c:v>4</c:v>
                </c:pt>
                <c:pt idx="8375">
                  <c:v>0</c:v>
                </c:pt>
                <c:pt idx="8376">
                  <c:v>0</c:v>
                </c:pt>
                <c:pt idx="8377">
                  <c:v>0</c:v>
                </c:pt>
                <c:pt idx="8378">
                  <c:v>0</c:v>
                </c:pt>
                <c:pt idx="8379">
                  <c:v>8</c:v>
                </c:pt>
                <c:pt idx="8380">
                  <c:v>6</c:v>
                </c:pt>
                <c:pt idx="8381">
                  <c:v>3</c:v>
                </c:pt>
                <c:pt idx="8382">
                  <c:v>0</c:v>
                </c:pt>
                <c:pt idx="8383">
                  <c:v>104</c:v>
                </c:pt>
                <c:pt idx="8384">
                  <c:v>72</c:v>
                </c:pt>
                <c:pt idx="8385">
                  <c:v>162</c:v>
                </c:pt>
                <c:pt idx="8386">
                  <c:v>421</c:v>
                </c:pt>
                <c:pt idx="8387">
                  <c:v>24</c:v>
                </c:pt>
                <c:pt idx="8388">
                  <c:v>94</c:v>
                </c:pt>
                <c:pt idx="8389">
                  <c:v>5</c:v>
                </c:pt>
                <c:pt idx="8390">
                  <c:v>218</c:v>
                </c:pt>
                <c:pt idx="8391">
                  <c:v>87</c:v>
                </c:pt>
                <c:pt idx="8392">
                  <c:v>167</c:v>
                </c:pt>
                <c:pt idx="8393">
                  <c:v>45</c:v>
                </c:pt>
                <c:pt idx="8394">
                  <c:v>33</c:v>
                </c:pt>
                <c:pt idx="8395">
                  <c:v>340</c:v>
                </c:pt>
                <c:pt idx="8396">
                  <c:v>84</c:v>
                </c:pt>
                <c:pt idx="8397">
                  <c:v>20</c:v>
                </c:pt>
                <c:pt idx="8398">
                  <c:v>105</c:v>
                </c:pt>
                <c:pt idx="8399">
                  <c:v>27</c:v>
                </c:pt>
                <c:pt idx="8400">
                  <c:v>87</c:v>
                </c:pt>
                <c:pt idx="8401">
                  <c:v>71</c:v>
                </c:pt>
                <c:pt idx="8402">
                  <c:v>51</c:v>
                </c:pt>
                <c:pt idx="8403">
                  <c:v>116</c:v>
                </c:pt>
                <c:pt idx="8404">
                  <c:v>85</c:v>
                </c:pt>
                <c:pt idx="8405">
                  <c:v>62</c:v>
                </c:pt>
                <c:pt idx="8406">
                  <c:v>176</c:v>
                </c:pt>
                <c:pt idx="8407">
                  <c:v>7</c:v>
                </c:pt>
                <c:pt idx="8408">
                  <c:v>0</c:v>
                </c:pt>
                <c:pt idx="8409">
                  <c:v>52</c:v>
                </c:pt>
                <c:pt idx="8410">
                  <c:v>192</c:v>
                </c:pt>
                <c:pt idx="8411">
                  <c:v>176</c:v>
                </c:pt>
                <c:pt idx="8412">
                  <c:v>35</c:v>
                </c:pt>
                <c:pt idx="8413">
                  <c:v>188</c:v>
                </c:pt>
                <c:pt idx="8414">
                  <c:v>336</c:v>
                </c:pt>
                <c:pt idx="8415">
                  <c:v>156</c:v>
                </c:pt>
                <c:pt idx="8416">
                  <c:v>64</c:v>
                </c:pt>
                <c:pt idx="8417">
                  <c:v>179</c:v>
                </c:pt>
                <c:pt idx="8418">
                  <c:v>444</c:v>
                </c:pt>
                <c:pt idx="8419">
                  <c:v>305</c:v>
                </c:pt>
                <c:pt idx="8420">
                  <c:v>524</c:v>
                </c:pt>
                <c:pt idx="8421">
                  <c:v>207</c:v>
                </c:pt>
                <c:pt idx="8422">
                  <c:v>216</c:v>
                </c:pt>
                <c:pt idx="8423">
                  <c:v>188</c:v>
                </c:pt>
                <c:pt idx="8424">
                  <c:v>84</c:v>
                </c:pt>
                <c:pt idx="8425">
                  <c:v>104</c:v>
                </c:pt>
                <c:pt idx="8426">
                  <c:v>155</c:v>
                </c:pt>
                <c:pt idx="8427">
                  <c:v>420</c:v>
                </c:pt>
                <c:pt idx="8428">
                  <c:v>150</c:v>
                </c:pt>
                <c:pt idx="8429">
                  <c:v>56</c:v>
                </c:pt>
                <c:pt idx="8430">
                  <c:v>170</c:v>
                </c:pt>
                <c:pt idx="8431">
                  <c:v>234</c:v>
                </c:pt>
                <c:pt idx="8432">
                  <c:v>72</c:v>
                </c:pt>
                <c:pt idx="8433">
                  <c:v>63</c:v>
                </c:pt>
                <c:pt idx="8434">
                  <c:v>57</c:v>
                </c:pt>
                <c:pt idx="8435">
                  <c:v>142</c:v>
                </c:pt>
                <c:pt idx="8436">
                  <c:v>135</c:v>
                </c:pt>
                <c:pt idx="8437">
                  <c:v>17</c:v>
                </c:pt>
                <c:pt idx="8438">
                  <c:v>27</c:v>
                </c:pt>
                <c:pt idx="8439">
                  <c:v>19</c:v>
                </c:pt>
                <c:pt idx="8440">
                  <c:v>11</c:v>
                </c:pt>
                <c:pt idx="8441">
                  <c:v>4</c:v>
                </c:pt>
                <c:pt idx="8442">
                  <c:v>19</c:v>
                </c:pt>
                <c:pt idx="8443">
                  <c:v>18</c:v>
                </c:pt>
                <c:pt idx="8444">
                  <c:v>2</c:v>
                </c:pt>
                <c:pt idx="8445">
                  <c:v>11</c:v>
                </c:pt>
                <c:pt idx="8446">
                  <c:v>9</c:v>
                </c:pt>
                <c:pt idx="8447">
                  <c:v>3</c:v>
                </c:pt>
                <c:pt idx="8448">
                  <c:v>7</c:v>
                </c:pt>
                <c:pt idx="8449">
                  <c:v>6</c:v>
                </c:pt>
                <c:pt idx="8450">
                  <c:v>3</c:v>
                </c:pt>
                <c:pt idx="8451">
                  <c:v>0</c:v>
                </c:pt>
                <c:pt idx="8452">
                  <c:v>2</c:v>
                </c:pt>
                <c:pt idx="8453">
                  <c:v>4</c:v>
                </c:pt>
                <c:pt idx="8454">
                  <c:v>1</c:v>
                </c:pt>
                <c:pt idx="8455">
                  <c:v>15</c:v>
                </c:pt>
                <c:pt idx="8456">
                  <c:v>16</c:v>
                </c:pt>
                <c:pt idx="8457">
                  <c:v>15</c:v>
                </c:pt>
                <c:pt idx="8458">
                  <c:v>118</c:v>
                </c:pt>
                <c:pt idx="8459">
                  <c:v>71</c:v>
                </c:pt>
                <c:pt idx="8460">
                  <c:v>79</c:v>
                </c:pt>
                <c:pt idx="8461">
                  <c:v>11</c:v>
                </c:pt>
                <c:pt idx="8462">
                  <c:v>60</c:v>
                </c:pt>
                <c:pt idx="8463">
                  <c:v>137</c:v>
                </c:pt>
                <c:pt idx="8464">
                  <c:v>4</c:v>
                </c:pt>
                <c:pt idx="8465">
                  <c:v>27</c:v>
                </c:pt>
                <c:pt idx="8466">
                  <c:v>16</c:v>
                </c:pt>
                <c:pt idx="8467">
                  <c:v>43</c:v>
                </c:pt>
                <c:pt idx="8468">
                  <c:v>117</c:v>
                </c:pt>
                <c:pt idx="8469">
                  <c:v>57</c:v>
                </c:pt>
                <c:pt idx="8470">
                  <c:v>26</c:v>
                </c:pt>
                <c:pt idx="8471">
                  <c:v>123</c:v>
                </c:pt>
                <c:pt idx="8472">
                  <c:v>54</c:v>
                </c:pt>
                <c:pt idx="8473">
                  <c:v>21</c:v>
                </c:pt>
                <c:pt idx="8474">
                  <c:v>44</c:v>
                </c:pt>
                <c:pt idx="8475">
                  <c:v>197</c:v>
                </c:pt>
                <c:pt idx="8476">
                  <c:v>46</c:v>
                </c:pt>
                <c:pt idx="8477">
                  <c:v>8</c:v>
                </c:pt>
                <c:pt idx="8478">
                  <c:v>16</c:v>
                </c:pt>
                <c:pt idx="8479">
                  <c:v>40</c:v>
                </c:pt>
                <c:pt idx="8480">
                  <c:v>53</c:v>
                </c:pt>
                <c:pt idx="8481">
                  <c:v>147</c:v>
                </c:pt>
                <c:pt idx="8482">
                  <c:v>83</c:v>
                </c:pt>
                <c:pt idx="8483">
                  <c:v>157</c:v>
                </c:pt>
                <c:pt idx="8484">
                  <c:v>77</c:v>
                </c:pt>
                <c:pt idx="8485">
                  <c:v>9</c:v>
                </c:pt>
                <c:pt idx="8486">
                  <c:v>81</c:v>
                </c:pt>
                <c:pt idx="8487">
                  <c:v>120</c:v>
                </c:pt>
                <c:pt idx="8488">
                  <c:v>49</c:v>
                </c:pt>
                <c:pt idx="8489">
                  <c:v>29</c:v>
                </c:pt>
                <c:pt idx="8490">
                  <c:v>106</c:v>
                </c:pt>
                <c:pt idx="8491">
                  <c:v>36</c:v>
                </c:pt>
                <c:pt idx="8492">
                  <c:v>83</c:v>
                </c:pt>
                <c:pt idx="8493">
                  <c:v>21</c:v>
                </c:pt>
                <c:pt idx="8494">
                  <c:v>45</c:v>
                </c:pt>
                <c:pt idx="8495">
                  <c:v>8</c:v>
                </c:pt>
                <c:pt idx="8496">
                  <c:v>1</c:v>
                </c:pt>
                <c:pt idx="8497">
                  <c:v>24</c:v>
                </c:pt>
                <c:pt idx="8498">
                  <c:v>32</c:v>
                </c:pt>
                <c:pt idx="8499">
                  <c:v>49</c:v>
                </c:pt>
                <c:pt idx="8500">
                  <c:v>29</c:v>
                </c:pt>
                <c:pt idx="8501">
                  <c:v>14</c:v>
                </c:pt>
                <c:pt idx="8502">
                  <c:v>45</c:v>
                </c:pt>
                <c:pt idx="8503">
                  <c:v>14</c:v>
                </c:pt>
                <c:pt idx="8504">
                  <c:v>11</c:v>
                </c:pt>
                <c:pt idx="8505">
                  <c:v>32</c:v>
                </c:pt>
                <c:pt idx="8506">
                  <c:v>22</c:v>
                </c:pt>
                <c:pt idx="8507">
                  <c:v>94</c:v>
                </c:pt>
                <c:pt idx="8508">
                  <c:v>5</c:v>
                </c:pt>
                <c:pt idx="8509">
                  <c:v>29</c:v>
                </c:pt>
                <c:pt idx="8510">
                  <c:v>4</c:v>
                </c:pt>
                <c:pt idx="8511">
                  <c:v>0</c:v>
                </c:pt>
                <c:pt idx="8512">
                  <c:v>8</c:v>
                </c:pt>
                <c:pt idx="8513">
                  <c:v>4</c:v>
                </c:pt>
                <c:pt idx="8514">
                  <c:v>90</c:v>
                </c:pt>
                <c:pt idx="8515">
                  <c:v>3</c:v>
                </c:pt>
                <c:pt idx="8516">
                  <c:v>5</c:v>
                </c:pt>
                <c:pt idx="8517">
                  <c:v>89</c:v>
                </c:pt>
                <c:pt idx="8518">
                  <c:v>1</c:v>
                </c:pt>
                <c:pt idx="8519">
                  <c:v>1</c:v>
                </c:pt>
                <c:pt idx="8520">
                  <c:v>3</c:v>
                </c:pt>
                <c:pt idx="8521">
                  <c:v>5</c:v>
                </c:pt>
                <c:pt idx="8522">
                  <c:v>1</c:v>
                </c:pt>
                <c:pt idx="8523">
                  <c:v>0</c:v>
                </c:pt>
                <c:pt idx="8524">
                  <c:v>0</c:v>
                </c:pt>
                <c:pt idx="8525">
                  <c:v>1</c:v>
                </c:pt>
                <c:pt idx="8526">
                  <c:v>0</c:v>
                </c:pt>
                <c:pt idx="8527">
                  <c:v>1</c:v>
                </c:pt>
                <c:pt idx="8528">
                  <c:v>0</c:v>
                </c:pt>
                <c:pt idx="8529">
                  <c:v>535</c:v>
                </c:pt>
                <c:pt idx="8530">
                  <c:v>244</c:v>
                </c:pt>
                <c:pt idx="8531">
                  <c:v>414</c:v>
                </c:pt>
                <c:pt idx="8532">
                  <c:v>244</c:v>
                </c:pt>
                <c:pt idx="8533">
                  <c:v>263</c:v>
                </c:pt>
                <c:pt idx="8534">
                  <c:v>169</c:v>
                </c:pt>
                <c:pt idx="8535">
                  <c:v>226</c:v>
                </c:pt>
                <c:pt idx="8536">
                  <c:v>135</c:v>
                </c:pt>
                <c:pt idx="8537">
                  <c:v>180</c:v>
                </c:pt>
                <c:pt idx="8538">
                  <c:v>100</c:v>
                </c:pt>
                <c:pt idx="8539">
                  <c:v>106</c:v>
                </c:pt>
                <c:pt idx="8540">
                  <c:v>99</c:v>
                </c:pt>
                <c:pt idx="8541">
                  <c:v>90</c:v>
                </c:pt>
                <c:pt idx="8542">
                  <c:v>52</c:v>
                </c:pt>
                <c:pt idx="8543">
                  <c:v>47</c:v>
                </c:pt>
                <c:pt idx="8544">
                  <c:v>37</c:v>
                </c:pt>
                <c:pt idx="8545">
                  <c:v>50</c:v>
                </c:pt>
                <c:pt idx="8546">
                  <c:v>35</c:v>
                </c:pt>
                <c:pt idx="8547">
                  <c:v>28</c:v>
                </c:pt>
                <c:pt idx="8548">
                  <c:v>40</c:v>
                </c:pt>
                <c:pt idx="8549">
                  <c:v>23</c:v>
                </c:pt>
                <c:pt idx="8550">
                  <c:v>15</c:v>
                </c:pt>
                <c:pt idx="8551">
                  <c:v>9</c:v>
                </c:pt>
                <c:pt idx="8552">
                  <c:v>26</c:v>
                </c:pt>
                <c:pt idx="8553">
                  <c:v>37</c:v>
                </c:pt>
                <c:pt idx="8554">
                  <c:v>2</c:v>
                </c:pt>
                <c:pt idx="8555">
                  <c:v>19</c:v>
                </c:pt>
                <c:pt idx="8556">
                  <c:v>8</c:v>
                </c:pt>
                <c:pt idx="8557">
                  <c:v>9</c:v>
                </c:pt>
                <c:pt idx="8558">
                  <c:v>18</c:v>
                </c:pt>
                <c:pt idx="8559">
                  <c:v>2</c:v>
                </c:pt>
                <c:pt idx="8560">
                  <c:v>4</c:v>
                </c:pt>
                <c:pt idx="8561">
                  <c:v>7</c:v>
                </c:pt>
                <c:pt idx="8562">
                  <c:v>0</c:v>
                </c:pt>
                <c:pt idx="8563">
                  <c:v>0</c:v>
                </c:pt>
                <c:pt idx="8564">
                  <c:v>65</c:v>
                </c:pt>
                <c:pt idx="8565">
                  <c:v>56</c:v>
                </c:pt>
                <c:pt idx="8566">
                  <c:v>28</c:v>
                </c:pt>
                <c:pt idx="8567">
                  <c:v>97</c:v>
                </c:pt>
                <c:pt idx="8568">
                  <c:v>99</c:v>
                </c:pt>
                <c:pt idx="8569">
                  <c:v>92</c:v>
                </c:pt>
                <c:pt idx="8570">
                  <c:v>71</c:v>
                </c:pt>
                <c:pt idx="8571">
                  <c:v>91</c:v>
                </c:pt>
                <c:pt idx="8572">
                  <c:v>14</c:v>
                </c:pt>
                <c:pt idx="8573">
                  <c:v>63</c:v>
                </c:pt>
                <c:pt idx="8574">
                  <c:v>30</c:v>
                </c:pt>
                <c:pt idx="8575">
                  <c:v>16</c:v>
                </c:pt>
                <c:pt idx="8576">
                  <c:v>14</c:v>
                </c:pt>
                <c:pt idx="8577">
                  <c:v>17</c:v>
                </c:pt>
                <c:pt idx="8578">
                  <c:v>25</c:v>
                </c:pt>
                <c:pt idx="8579">
                  <c:v>22</c:v>
                </c:pt>
                <c:pt idx="8580">
                  <c:v>11</c:v>
                </c:pt>
                <c:pt idx="8581">
                  <c:v>21</c:v>
                </c:pt>
                <c:pt idx="8582">
                  <c:v>17</c:v>
                </c:pt>
                <c:pt idx="8583">
                  <c:v>1</c:v>
                </c:pt>
                <c:pt idx="8584">
                  <c:v>22</c:v>
                </c:pt>
                <c:pt idx="8585">
                  <c:v>1</c:v>
                </c:pt>
                <c:pt idx="8586">
                  <c:v>3</c:v>
                </c:pt>
                <c:pt idx="8587">
                  <c:v>6</c:v>
                </c:pt>
                <c:pt idx="8588">
                  <c:v>8</c:v>
                </c:pt>
                <c:pt idx="8589">
                  <c:v>4</c:v>
                </c:pt>
                <c:pt idx="8590">
                  <c:v>12</c:v>
                </c:pt>
                <c:pt idx="8591">
                  <c:v>7</c:v>
                </c:pt>
                <c:pt idx="8592">
                  <c:v>14</c:v>
                </c:pt>
                <c:pt idx="8593">
                  <c:v>13</c:v>
                </c:pt>
                <c:pt idx="8594">
                  <c:v>12</c:v>
                </c:pt>
                <c:pt idx="8595">
                  <c:v>12</c:v>
                </c:pt>
                <c:pt idx="8596">
                  <c:v>2</c:v>
                </c:pt>
                <c:pt idx="8597">
                  <c:v>3</c:v>
                </c:pt>
                <c:pt idx="8598">
                  <c:v>3</c:v>
                </c:pt>
                <c:pt idx="8599">
                  <c:v>1</c:v>
                </c:pt>
                <c:pt idx="8600">
                  <c:v>14</c:v>
                </c:pt>
                <c:pt idx="8601">
                  <c:v>0</c:v>
                </c:pt>
                <c:pt idx="8602">
                  <c:v>6</c:v>
                </c:pt>
                <c:pt idx="8603">
                  <c:v>0</c:v>
                </c:pt>
                <c:pt idx="8604">
                  <c:v>3</c:v>
                </c:pt>
                <c:pt idx="8605">
                  <c:v>1</c:v>
                </c:pt>
                <c:pt idx="8606">
                  <c:v>3</c:v>
                </c:pt>
                <c:pt idx="8607">
                  <c:v>0</c:v>
                </c:pt>
                <c:pt idx="8608">
                  <c:v>3</c:v>
                </c:pt>
                <c:pt idx="8609">
                  <c:v>1</c:v>
                </c:pt>
                <c:pt idx="8610">
                  <c:v>1</c:v>
                </c:pt>
                <c:pt idx="8611">
                  <c:v>1</c:v>
                </c:pt>
                <c:pt idx="8612">
                  <c:v>0</c:v>
                </c:pt>
                <c:pt idx="8613">
                  <c:v>1</c:v>
                </c:pt>
                <c:pt idx="8614">
                  <c:v>1</c:v>
                </c:pt>
                <c:pt idx="8615">
                  <c:v>0</c:v>
                </c:pt>
                <c:pt idx="8616">
                  <c:v>1</c:v>
                </c:pt>
                <c:pt idx="8617">
                  <c:v>0</c:v>
                </c:pt>
                <c:pt idx="8618">
                  <c:v>0</c:v>
                </c:pt>
                <c:pt idx="8619">
                  <c:v>0</c:v>
                </c:pt>
                <c:pt idx="8620">
                  <c:v>0</c:v>
                </c:pt>
                <c:pt idx="8621">
                  <c:v>0</c:v>
                </c:pt>
                <c:pt idx="8622">
                  <c:v>0</c:v>
                </c:pt>
                <c:pt idx="8623">
                  <c:v>26</c:v>
                </c:pt>
                <c:pt idx="8624">
                  <c:v>35</c:v>
                </c:pt>
                <c:pt idx="8625">
                  <c:v>12</c:v>
                </c:pt>
                <c:pt idx="8626">
                  <c:v>3</c:v>
                </c:pt>
                <c:pt idx="8627">
                  <c:v>69</c:v>
                </c:pt>
                <c:pt idx="8628">
                  <c:v>40</c:v>
                </c:pt>
                <c:pt idx="8629">
                  <c:v>30</c:v>
                </c:pt>
                <c:pt idx="8630">
                  <c:v>1</c:v>
                </c:pt>
                <c:pt idx="8631">
                  <c:v>12</c:v>
                </c:pt>
                <c:pt idx="8632">
                  <c:v>8</c:v>
                </c:pt>
                <c:pt idx="8633">
                  <c:v>1</c:v>
                </c:pt>
                <c:pt idx="8634">
                  <c:v>2</c:v>
                </c:pt>
                <c:pt idx="8635">
                  <c:v>12</c:v>
                </c:pt>
                <c:pt idx="8636">
                  <c:v>3</c:v>
                </c:pt>
                <c:pt idx="8637">
                  <c:v>3</c:v>
                </c:pt>
                <c:pt idx="8638">
                  <c:v>9</c:v>
                </c:pt>
                <c:pt idx="8639">
                  <c:v>1</c:v>
                </c:pt>
                <c:pt idx="8640">
                  <c:v>10</c:v>
                </c:pt>
                <c:pt idx="8641">
                  <c:v>1</c:v>
                </c:pt>
                <c:pt idx="8642">
                  <c:v>0</c:v>
                </c:pt>
                <c:pt idx="8643">
                  <c:v>1</c:v>
                </c:pt>
                <c:pt idx="8644">
                  <c:v>1</c:v>
                </c:pt>
                <c:pt idx="8645">
                  <c:v>3</c:v>
                </c:pt>
                <c:pt idx="8646">
                  <c:v>1</c:v>
                </c:pt>
                <c:pt idx="8647">
                  <c:v>0</c:v>
                </c:pt>
                <c:pt idx="8648">
                  <c:v>1</c:v>
                </c:pt>
                <c:pt idx="8649">
                  <c:v>0</c:v>
                </c:pt>
                <c:pt idx="8650">
                  <c:v>0</c:v>
                </c:pt>
                <c:pt idx="8651">
                  <c:v>67</c:v>
                </c:pt>
                <c:pt idx="8652">
                  <c:v>1</c:v>
                </c:pt>
                <c:pt idx="8653">
                  <c:v>0</c:v>
                </c:pt>
                <c:pt idx="8654">
                  <c:v>4</c:v>
                </c:pt>
                <c:pt idx="8655">
                  <c:v>1</c:v>
                </c:pt>
                <c:pt idx="8656">
                  <c:v>0</c:v>
                </c:pt>
                <c:pt idx="8657">
                  <c:v>0</c:v>
                </c:pt>
                <c:pt idx="8658">
                  <c:v>0</c:v>
                </c:pt>
                <c:pt idx="8659">
                  <c:v>24</c:v>
                </c:pt>
                <c:pt idx="8660">
                  <c:v>13</c:v>
                </c:pt>
                <c:pt idx="8661">
                  <c:v>2</c:v>
                </c:pt>
                <c:pt idx="8662">
                  <c:v>4</c:v>
                </c:pt>
                <c:pt idx="8663">
                  <c:v>1</c:v>
                </c:pt>
                <c:pt idx="8664">
                  <c:v>0</c:v>
                </c:pt>
                <c:pt idx="8665">
                  <c:v>0</c:v>
                </c:pt>
                <c:pt idx="8666">
                  <c:v>1</c:v>
                </c:pt>
                <c:pt idx="8667">
                  <c:v>38</c:v>
                </c:pt>
                <c:pt idx="8668">
                  <c:v>3</c:v>
                </c:pt>
                <c:pt idx="8669">
                  <c:v>0</c:v>
                </c:pt>
                <c:pt idx="8670">
                  <c:v>1</c:v>
                </c:pt>
                <c:pt idx="8671">
                  <c:v>1</c:v>
                </c:pt>
                <c:pt idx="8672">
                  <c:v>8</c:v>
                </c:pt>
                <c:pt idx="8673">
                  <c:v>7</c:v>
                </c:pt>
                <c:pt idx="8674">
                  <c:v>0</c:v>
                </c:pt>
                <c:pt idx="8675">
                  <c:v>0</c:v>
                </c:pt>
                <c:pt idx="8676">
                  <c:v>1</c:v>
                </c:pt>
                <c:pt idx="8677">
                  <c:v>0</c:v>
                </c:pt>
                <c:pt idx="8678">
                  <c:v>0</c:v>
                </c:pt>
                <c:pt idx="8679">
                  <c:v>1</c:v>
                </c:pt>
                <c:pt idx="8680">
                  <c:v>0</c:v>
                </c:pt>
                <c:pt idx="8681">
                  <c:v>0</c:v>
                </c:pt>
                <c:pt idx="8682">
                  <c:v>0</c:v>
                </c:pt>
                <c:pt idx="8683">
                  <c:v>0</c:v>
                </c:pt>
                <c:pt idx="8684">
                  <c:v>0</c:v>
                </c:pt>
                <c:pt idx="8685">
                  <c:v>5</c:v>
                </c:pt>
                <c:pt idx="8686">
                  <c:v>1</c:v>
                </c:pt>
                <c:pt idx="8687">
                  <c:v>0</c:v>
                </c:pt>
                <c:pt idx="8688">
                  <c:v>0</c:v>
                </c:pt>
                <c:pt idx="8689">
                  <c:v>1</c:v>
                </c:pt>
                <c:pt idx="8690">
                  <c:v>5</c:v>
                </c:pt>
                <c:pt idx="8691">
                  <c:v>0</c:v>
                </c:pt>
                <c:pt idx="8692">
                  <c:v>0</c:v>
                </c:pt>
                <c:pt idx="8693">
                  <c:v>0</c:v>
                </c:pt>
                <c:pt idx="8694">
                  <c:v>4</c:v>
                </c:pt>
                <c:pt idx="8695">
                  <c:v>0</c:v>
                </c:pt>
                <c:pt idx="8696">
                  <c:v>1</c:v>
                </c:pt>
                <c:pt idx="8697">
                  <c:v>0</c:v>
                </c:pt>
                <c:pt idx="8698">
                  <c:v>0</c:v>
                </c:pt>
                <c:pt idx="8699">
                  <c:v>41</c:v>
                </c:pt>
                <c:pt idx="8700">
                  <c:v>36</c:v>
                </c:pt>
                <c:pt idx="8701">
                  <c:v>3</c:v>
                </c:pt>
                <c:pt idx="8702">
                  <c:v>10</c:v>
                </c:pt>
                <c:pt idx="8703">
                  <c:v>0</c:v>
                </c:pt>
                <c:pt idx="8704">
                  <c:v>304</c:v>
                </c:pt>
                <c:pt idx="8705">
                  <c:v>69</c:v>
                </c:pt>
                <c:pt idx="8706">
                  <c:v>35</c:v>
                </c:pt>
                <c:pt idx="8707">
                  <c:v>57</c:v>
                </c:pt>
                <c:pt idx="8708">
                  <c:v>90</c:v>
                </c:pt>
                <c:pt idx="8709">
                  <c:v>84</c:v>
                </c:pt>
                <c:pt idx="8710">
                  <c:v>15</c:v>
                </c:pt>
                <c:pt idx="8711">
                  <c:v>19</c:v>
                </c:pt>
                <c:pt idx="8712">
                  <c:v>121</c:v>
                </c:pt>
                <c:pt idx="8713">
                  <c:v>29</c:v>
                </c:pt>
                <c:pt idx="8714">
                  <c:v>63</c:v>
                </c:pt>
                <c:pt idx="8715">
                  <c:v>37</c:v>
                </c:pt>
                <c:pt idx="8716">
                  <c:v>40</c:v>
                </c:pt>
                <c:pt idx="8717">
                  <c:v>5</c:v>
                </c:pt>
                <c:pt idx="8718">
                  <c:v>22</c:v>
                </c:pt>
                <c:pt idx="8719">
                  <c:v>50</c:v>
                </c:pt>
                <c:pt idx="8720">
                  <c:v>47</c:v>
                </c:pt>
                <c:pt idx="8721">
                  <c:v>1</c:v>
                </c:pt>
                <c:pt idx="8722">
                  <c:v>6</c:v>
                </c:pt>
                <c:pt idx="8723">
                  <c:v>1</c:v>
                </c:pt>
                <c:pt idx="8724">
                  <c:v>16</c:v>
                </c:pt>
                <c:pt idx="8725">
                  <c:v>9</c:v>
                </c:pt>
                <c:pt idx="8726">
                  <c:v>30</c:v>
                </c:pt>
                <c:pt idx="8727">
                  <c:v>55</c:v>
                </c:pt>
                <c:pt idx="8728">
                  <c:v>30</c:v>
                </c:pt>
                <c:pt idx="8729">
                  <c:v>25</c:v>
                </c:pt>
                <c:pt idx="8730">
                  <c:v>0</c:v>
                </c:pt>
                <c:pt idx="8731">
                  <c:v>24</c:v>
                </c:pt>
                <c:pt idx="8732">
                  <c:v>6</c:v>
                </c:pt>
                <c:pt idx="8733">
                  <c:v>7</c:v>
                </c:pt>
                <c:pt idx="8734">
                  <c:v>20</c:v>
                </c:pt>
                <c:pt idx="8735">
                  <c:v>2</c:v>
                </c:pt>
                <c:pt idx="8736">
                  <c:v>7</c:v>
                </c:pt>
                <c:pt idx="8737">
                  <c:v>43</c:v>
                </c:pt>
                <c:pt idx="8738">
                  <c:v>8</c:v>
                </c:pt>
                <c:pt idx="8739">
                  <c:v>4</c:v>
                </c:pt>
                <c:pt idx="8740">
                  <c:v>13</c:v>
                </c:pt>
                <c:pt idx="8741">
                  <c:v>5</c:v>
                </c:pt>
                <c:pt idx="8742">
                  <c:v>99</c:v>
                </c:pt>
                <c:pt idx="8743">
                  <c:v>45</c:v>
                </c:pt>
                <c:pt idx="8744">
                  <c:v>73</c:v>
                </c:pt>
                <c:pt idx="8745">
                  <c:v>97</c:v>
                </c:pt>
                <c:pt idx="8746">
                  <c:v>258</c:v>
                </c:pt>
                <c:pt idx="8747">
                  <c:v>339</c:v>
                </c:pt>
                <c:pt idx="8748">
                  <c:v>143</c:v>
                </c:pt>
                <c:pt idx="8749">
                  <c:v>215</c:v>
                </c:pt>
                <c:pt idx="8750">
                  <c:v>117</c:v>
                </c:pt>
                <c:pt idx="8751">
                  <c:v>316</c:v>
                </c:pt>
                <c:pt idx="8752">
                  <c:v>295</c:v>
                </c:pt>
                <c:pt idx="8753">
                  <c:v>39</c:v>
                </c:pt>
                <c:pt idx="8754">
                  <c:v>178</c:v>
                </c:pt>
                <c:pt idx="8755">
                  <c:v>182</c:v>
                </c:pt>
                <c:pt idx="8756">
                  <c:v>72</c:v>
                </c:pt>
                <c:pt idx="8757">
                  <c:v>645</c:v>
                </c:pt>
                <c:pt idx="8758">
                  <c:v>74</c:v>
                </c:pt>
                <c:pt idx="8759">
                  <c:v>494</c:v>
                </c:pt>
                <c:pt idx="8760">
                  <c:v>630</c:v>
                </c:pt>
                <c:pt idx="8761">
                  <c:v>217</c:v>
                </c:pt>
                <c:pt idx="8762">
                  <c:v>1129</c:v>
                </c:pt>
                <c:pt idx="8763">
                  <c:v>25</c:v>
                </c:pt>
                <c:pt idx="8764">
                  <c:v>220</c:v>
                </c:pt>
                <c:pt idx="8765">
                  <c:v>183</c:v>
                </c:pt>
                <c:pt idx="8766">
                  <c:v>897</c:v>
                </c:pt>
                <c:pt idx="8767">
                  <c:v>398</c:v>
                </c:pt>
                <c:pt idx="8768">
                  <c:v>243</c:v>
                </c:pt>
                <c:pt idx="8769">
                  <c:v>561</c:v>
                </c:pt>
                <c:pt idx="8770">
                  <c:v>1058</c:v>
                </c:pt>
                <c:pt idx="8771">
                  <c:v>149</c:v>
                </c:pt>
                <c:pt idx="8772">
                  <c:v>118</c:v>
                </c:pt>
                <c:pt idx="8773">
                  <c:v>58</c:v>
                </c:pt>
                <c:pt idx="8774">
                  <c:v>145</c:v>
                </c:pt>
                <c:pt idx="8775">
                  <c:v>231</c:v>
                </c:pt>
                <c:pt idx="8776">
                  <c:v>857</c:v>
                </c:pt>
                <c:pt idx="8777">
                  <c:v>117</c:v>
                </c:pt>
                <c:pt idx="8778">
                  <c:v>141</c:v>
                </c:pt>
                <c:pt idx="8779">
                  <c:v>347</c:v>
                </c:pt>
                <c:pt idx="8780">
                  <c:v>983</c:v>
                </c:pt>
                <c:pt idx="8781">
                  <c:v>325</c:v>
                </c:pt>
                <c:pt idx="8782">
                  <c:v>1370</c:v>
                </c:pt>
                <c:pt idx="8783">
                  <c:v>45</c:v>
                </c:pt>
                <c:pt idx="8784">
                  <c:v>106</c:v>
                </c:pt>
                <c:pt idx="8785">
                  <c:v>71</c:v>
                </c:pt>
                <c:pt idx="8786">
                  <c:v>1319</c:v>
                </c:pt>
                <c:pt idx="8787">
                  <c:v>173</c:v>
                </c:pt>
                <c:pt idx="8788">
                  <c:v>15</c:v>
                </c:pt>
                <c:pt idx="8789">
                  <c:v>188</c:v>
                </c:pt>
                <c:pt idx="8790">
                  <c:v>68</c:v>
                </c:pt>
                <c:pt idx="8791">
                  <c:v>93</c:v>
                </c:pt>
                <c:pt idx="8792">
                  <c:v>1066</c:v>
                </c:pt>
                <c:pt idx="8793">
                  <c:v>82</c:v>
                </c:pt>
                <c:pt idx="8794">
                  <c:v>75</c:v>
                </c:pt>
                <c:pt idx="8795">
                  <c:v>67</c:v>
                </c:pt>
                <c:pt idx="8796">
                  <c:v>229</c:v>
                </c:pt>
                <c:pt idx="8797">
                  <c:v>15</c:v>
                </c:pt>
                <c:pt idx="8798">
                  <c:v>500</c:v>
                </c:pt>
                <c:pt idx="8799">
                  <c:v>162</c:v>
                </c:pt>
                <c:pt idx="8800">
                  <c:v>304</c:v>
                </c:pt>
                <c:pt idx="8801">
                  <c:v>49</c:v>
                </c:pt>
                <c:pt idx="8802">
                  <c:v>255</c:v>
                </c:pt>
                <c:pt idx="8803">
                  <c:v>218</c:v>
                </c:pt>
                <c:pt idx="8804">
                  <c:v>642</c:v>
                </c:pt>
                <c:pt idx="8805">
                  <c:v>1155</c:v>
                </c:pt>
                <c:pt idx="8806">
                  <c:v>245</c:v>
                </c:pt>
                <c:pt idx="8807">
                  <c:v>621</c:v>
                </c:pt>
                <c:pt idx="8808">
                  <c:v>1583</c:v>
                </c:pt>
                <c:pt idx="8809">
                  <c:v>156</c:v>
                </c:pt>
                <c:pt idx="8810">
                  <c:v>788</c:v>
                </c:pt>
                <c:pt idx="8811">
                  <c:v>1090</c:v>
                </c:pt>
                <c:pt idx="8812">
                  <c:v>1420</c:v>
                </c:pt>
                <c:pt idx="8813">
                  <c:v>211</c:v>
                </c:pt>
                <c:pt idx="8814">
                  <c:v>49</c:v>
                </c:pt>
                <c:pt idx="8815">
                  <c:v>18</c:v>
                </c:pt>
                <c:pt idx="8816">
                  <c:v>1578</c:v>
                </c:pt>
                <c:pt idx="8817">
                  <c:v>98</c:v>
                </c:pt>
                <c:pt idx="8818">
                  <c:v>80</c:v>
                </c:pt>
                <c:pt idx="8819">
                  <c:v>167</c:v>
                </c:pt>
                <c:pt idx="8820">
                  <c:v>278</c:v>
                </c:pt>
                <c:pt idx="8821">
                  <c:v>83</c:v>
                </c:pt>
                <c:pt idx="8822">
                  <c:v>173</c:v>
                </c:pt>
                <c:pt idx="8823">
                  <c:v>161</c:v>
                </c:pt>
                <c:pt idx="8824">
                  <c:v>350</c:v>
                </c:pt>
                <c:pt idx="8825">
                  <c:v>1175</c:v>
                </c:pt>
                <c:pt idx="8826">
                  <c:v>1156</c:v>
                </c:pt>
                <c:pt idx="8827">
                  <c:v>280</c:v>
                </c:pt>
                <c:pt idx="8828">
                  <c:v>161</c:v>
                </c:pt>
                <c:pt idx="8829">
                  <c:v>1808</c:v>
                </c:pt>
                <c:pt idx="8830">
                  <c:v>752</c:v>
                </c:pt>
                <c:pt idx="8831">
                  <c:v>29</c:v>
                </c:pt>
                <c:pt idx="8832">
                  <c:v>197</c:v>
                </c:pt>
                <c:pt idx="8833">
                  <c:v>481</c:v>
                </c:pt>
                <c:pt idx="8834">
                  <c:v>56</c:v>
                </c:pt>
                <c:pt idx="8835">
                  <c:v>243</c:v>
                </c:pt>
                <c:pt idx="8836">
                  <c:v>582</c:v>
                </c:pt>
                <c:pt idx="8837">
                  <c:v>577</c:v>
                </c:pt>
                <c:pt idx="8838">
                  <c:v>551</c:v>
                </c:pt>
                <c:pt idx="8839">
                  <c:v>274</c:v>
                </c:pt>
                <c:pt idx="8840">
                  <c:v>28</c:v>
                </c:pt>
                <c:pt idx="8841">
                  <c:v>354</c:v>
                </c:pt>
                <c:pt idx="8842">
                  <c:v>104</c:v>
                </c:pt>
                <c:pt idx="8843">
                  <c:v>67</c:v>
                </c:pt>
                <c:pt idx="8844">
                  <c:v>743</c:v>
                </c:pt>
                <c:pt idx="8845">
                  <c:v>32</c:v>
                </c:pt>
                <c:pt idx="8846">
                  <c:v>31</c:v>
                </c:pt>
                <c:pt idx="8847">
                  <c:v>585</c:v>
                </c:pt>
                <c:pt idx="8848">
                  <c:v>9</c:v>
                </c:pt>
                <c:pt idx="8849">
                  <c:v>360</c:v>
                </c:pt>
                <c:pt idx="8850">
                  <c:v>73</c:v>
                </c:pt>
                <c:pt idx="8851">
                  <c:v>67</c:v>
                </c:pt>
                <c:pt idx="8852">
                  <c:v>13</c:v>
                </c:pt>
                <c:pt idx="8853">
                  <c:v>8</c:v>
                </c:pt>
                <c:pt idx="8854">
                  <c:v>156</c:v>
                </c:pt>
                <c:pt idx="8855">
                  <c:v>5</c:v>
                </c:pt>
                <c:pt idx="8856">
                  <c:v>805</c:v>
                </c:pt>
                <c:pt idx="8857">
                  <c:v>312</c:v>
                </c:pt>
                <c:pt idx="8858">
                  <c:v>199</c:v>
                </c:pt>
                <c:pt idx="8859">
                  <c:v>139</c:v>
                </c:pt>
                <c:pt idx="8860">
                  <c:v>208</c:v>
                </c:pt>
                <c:pt idx="8861">
                  <c:v>2</c:v>
                </c:pt>
                <c:pt idx="8862">
                  <c:v>86</c:v>
                </c:pt>
                <c:pt idx="8863">
                  <c:v>31</c:v>
                </c:pt>
                <c:pt idx="8864">
                  <c:v>1422</c:v>
                </c:pt>
                <c:pt idx="8865">
                  <c:v>1738</c:v>
                </c:pt>
                <c:pt idx="8866">
                  <c:v>1189</c:v>
                </c:pt>
                <c:pt idx="8867">
                  <c:v>323</c:v>
                </c:pt>
                <c:pt idx="8868">
                  <c:v>470</c:v>
                </c:pt>
                <c:pt idx="8869">
                  <c:v>197</c:v>
                </c:pt>
                <c:pt idx="8870">
                  <c:v>95</c:v>
                </c:pt>
                <c:pt idx="8871">
                  <c:v>100</c:v>
                </c:pt>
                <c:pt idx="8872">
                  <c:v>88</c:v>
                </c:pt>
                <c:pt idx="8873">
                  <c:v>77</c:v>
                </c:pt>
                <c:pt idx="8874">
                  <c:v>17</c:v>
                </c:pt>
                <c:pt idx="8875">
                  <c:v>52</c:v>
                </c:pt>
                <c:pt idx="8876">
                  <c:v>19</c:v>
                </c:pt>
                <c:pt idx="8877">
                  <c:v>22</c:v>
                </c:pt>
                <c:pt idx="8878">
                  <c:v>49</c:v>
                </c:pt>
                <c:pt idx="8879">
                  <c:v>22</c:v>
                </c:pt>
                <c:pt idx="8880">
                  <c:v>0</c:v>
                </c:pt>
                <c:pt idx="8881">
                  <c:v>4</c:v>
                </c:pt>
                <c:pt idx="8882">
                  <c:v>10</c:v>
                </c:pt>
                <c:pt idx="8883">
                  <c:v>3</c:v>
                </c:pt>
                <c:pt idx="8884">
                  <c:v>12</c:v>
                </c:pt>
                <c:pt idx="8885">
                  <c:v>187</c:v>
                </c:pt>
                <c:pt idx="8886">
                  <c:v>6</c:v>
                </c:pt>
                <c:pt idx="8887">
                  <c:v>410</c:v>
                </c:pt>
                <c:pt idx="8888">
                  <c:v>668</c:v>
                </c:pt>
                <c:pt idx="8889">
                  <c:v>358</c:v>
                </c:pt>
                <c:pt idx="8890">
                  <c:v>282</c:v>
                </c:pt>
                <c:pt idx="8891">
                  <c:v>270</c:v>
                </c:pt>
                <c:pt idx="8892">
                  <c:v>559</c:v>
                </c:pt>
                <c:pt idx="8893">
                  <c:v>343</c:v>
                </c:pt>
                <c:pt idx="8894">
                  <c:v>58</c:v>
                </c:pt>
                <c:pt idx="8895">
                  <c:v>74</c:v>
                </c:pt>
                <c:pt idx="8896">
                  <c:v>75</c:v>
                </c:pt>
                <c:pt idx="8897">
                  <c:v>40</c:v>
                </c:pt>
                <c:pt idx="8898">
                  <c:v>0</c:v>
                </c:pt>
                <c:pt idx="8899">
                  <c:v>4</c:v>
                </c:pt>
                <c:pt idx="8900">
                  <c:v>361</c:v>
                </c:pt>
                <c:pt idx="8901">
                  <c:v>368</c:v>
                </c:pt>
                <c:pt idx="8902">
                  <c:v>659</c:v>
                </c:pt>
                <c:pt idx="8903">
                  <c:v>435</c:v>
                </c:pt>
                <c:pt idx="8904">
                  <c:v>553</c:v>
                </c:pt>
                <c:pt idx="8905">
                  <c:v>14</c:v>
                </c:pt>
                <c:pt idx="8906">
                  <c:v>13</c:v>
                </c:pt>
                <c:pt idx="8907">
                  <c:v>201</c:v>
                </c:pt>
                <c:pt idx="8908">
                  <c:v>794</c:v>
                </c:pt>
                <c:pt idx="8909">
                  <c:v>672</c:v>
                </c:pt>
                <c:pt idx="8910">
                  <c:v>225</c:v>
                </c:pt>
                <c:pt idx="8911">
                  <c:v>310</c:v>
                </c:pt>
                <c:pt idx="8912">
                  <c:v>477</c:v>
                </c:pt>
                <c:pt idx="8913">
                  <c:v>417</c:v>
                </c:pt>
                <c:pt idx="8914">
                  <c:v>180</c:v>
                </c:pt>
                <c:pt idx="8915">
                  <c:v>148</c:v>
                </c:pt>
                <c:pt idx="8916">
                  <c:v>131</c:v>
                </c:pt>
                <c:pt idx="8917">
                  <c:v>85</c:v>
                </c:pt>
                <c:pt idx="8918">
                  <c:v>25</c:v>
                </c:pt>
                <c:pt idx="8919">
                  <c:v>88</c:v>
                </c:pt>
                <c:pt idx="8920">
                  <c:v>5</c:v>
                </c:pt>
                <c:pt idx="8921">
                  <c:v>3</c:v>
                </c:pt>
                <c:pt idx="8922">
                  <c:v>0</c:v>
                </c:pt>
                <c:pt idx="8923">
                  <c:v>293</c:v>
                </c:pt>
                <c:pt idx="8924">
                  <c:v>395</c:v>
                </c:pt>
                <c:pt idx="8925">
                  <c:v>428</c:v>
                </c:pt>
                <c:pt idx="8926">
                  <c:v>912</c:v>
                </c:pt>
                <c:pt idx="8927">
                  <c:v>440</c:v>
                </c:pt>
                <c:pt idx="8928">
                  <c:v>694</c:v>
                </c:pt>
                <c:pt idx="8929">
                  <c:v>740</c:v>
                </c:pt>
                <c:pt idx="8930">
                  <c:v>2</c:v>
                </c:pt>
                <c:pt idx="8931">
                  <c:v>0</c:v>
                </c:pt>
                <c:pt idx="8932">
                  <c:v>0</c:v>
                </c:pt>
                <c:pt idx="8933">
                  <c:v>20</c:v>
                </c:pt>
                <c:pt idx="8934">
                  <c:v>63</c:v>
                </c:pt>
                <c:pt idx="8935">
                  <c:v>118</c:v>
                </c:pt>
                <c:pt idx="8936">
                  <c:v>15</c:v>
                </c:pt>
                <c:pt idx="8937">
                  <c:v>4</c:v>
                </c:pt>
                <c:pt idx="8938">
                  <c:v>33</c:v>
                </c:pt>
                <c:pt idx="8939">
                  <c:v>3</c:v>
                </c:pt>
                <c:pt idx="8940">
                  <c:v>33</c:v>
                </c:pt>
                <c:pt idx="8941">
                  <c:v>4</c:v>
                </c:pt>
                <c:pt idx="8942">
                  <c:v>3</c:v>
                </c:pt>
                <c:pt idx="8943">
                  <c:v>4</c:v>
                </c:pt>
                <c:pt idx="8944">
                  <c:v>30</c:v>
                </c:pt>
                <c:pt idx="8945">
                  <c:v>20</c:v>
                </c:pt>
                <c:pt idx="8946">
                  <c:v>20</c:v>
                </c:pt>
                <c:pt idx="8947">
                  <c:v>12</c:v>
                </c:pt>
                <c:pt idx="8948">
                  <c:v>51</c:v>
                </c:pt>
                <c:pt idx="8949">
                  <c:v>8</c:v>
                </c:pt>
                <c:pt idx="8950">
                  <c:v>29</c:v>
                </c:pt>
                <c:pt idx="8951">
                  <c:v>22</c:v>
                </c:pt>
                <c:pt idx="8952">
                  <c:v>12</c:v>
                </c:pt>
                <c:pt idx="8953">
                  <c:v>51</c:v>
                </c:pt>
                <c:pt idx="8954">
                  <c:v>21</c:v>
                </c:pt>
                <c:pt idx="8955">
                  <c:v>2</c:v>
                </c:pt>
                <c:pt idx="8956">
                  <c:v>3</c:v>
                </c:pt>
                <c:pt idx="8957">
                  <c:v>7</c:v>
                </c:pt>
                <c:pt idx="8958">
                  <c:v>1</c:v>
                </c:pt>
                <c:pt idx="8959">
                  <c:v>6</c:v>
                </c:pt>
                <c:pt idx="8960">
                  <c:v>10</c:v>
                </c:pt>
                <c:pt idx="8961">
                  <c:v>16</c:v>
                </c:pt>
                <c:pt idx="8962">
                  <c:v>6</c:v>
                </c:pt>
                <c:pt idx="8963">
                  <c:v>3</c:v>
                </c:pt>
                <c:pt idx="8964">
                  <c:v>24</c:v>
                </c:pt>
                <c:pt idx="8965">
                  <c:v>4</c:v>
                </c:pt>
                <c:pt idx="8966">
                  <c:v>9</c:v>
                </c:pt>
                <c:pt idx="8967">
                  <c:v>15</c:v>
                </c:pt>
                <c:pt idx="8968">
                  <c:v>5</c:v>
                </c:pt>
                <c:pt idx="8969">
                  <c:v>1</c:v>
                </c:pt>
                <c:pt idx="8970">
                  <c:v>9</c:v>
                </c:pt>
                <c:pt idx="8971">
                  <c:v>3</c:v>
                </c:pt>
                <c:pt idx="8972">
                  <c:v>2</c:v>
                </c:pt>
                <c:pt idx="8973">
                  <c:v>2</c:v>
                </c:pt>
                <c:pt idx="8974">
                  <c:v>0</c:v>
                </c:pt>
                <c:pt idx="8975">
                  <c:v>6</c:v>
                </c:pt>
                <c:pt idx="8976">
                  <c:v>3</c:v>
                </c:pt>
                <c:pt idx="8977">
                  <c:v>6</c:v>
                </c:pt>
                <c:pt idx="8978">
                  <c:v>10</c:v>
                </c:pt>
                <c:pt idx="8979">
                  <c:v>2</c:v>
                </c:pt>
                <c:pt idx="8980">
                  <c:v>1</c:v>
                </c:pt>
                <c:pt idx="8981">
                  <c:v>5</c:v>
                </c:pt>
                <c:pt idx="8982">
                  <c:v>1</c:v>
                </c:pt>
                <c:pt idx="8983">
                  <c:v>0</c:v>
                </c:pt>
                <c:pt idx="8984">
                  <c:v>5</c:v>
                </c:pt>
                <c:pt idx="8985">
                  <c:v>1</c:v>
                </c:pt>
                <c:pt idx="8986">
                  <c:v>4</c:v>
                </c:pt>
                <c:pt idx="8987">
                  <c:v>17</c:v>
                </c:pt>
                <c:pt idx="8988">
                  <c:v>0</c:v>
                </c:pt>
                <c:pt idx="8989">
                  <c:v>0</c:v>
                </c:pt>
                <c:pt idx="8990">
                  <c:v>5</c:v>
                </c:pt>
                <c:pt idx="8991">
                  <c:v>3</c:v>
                </c:pt>
                <c:pt idx="8992">
                  <c:v>1</c:v>
                </c:pt>
                <c:pt idx="8993">
                  <c:v>6</c:v>
                </c:pt>
                <c:pt idx="8994">
                  <c:v>6</c:v>
                </c:pt>
                <c:pt idx="8995">
                  <c:v>2</c:v>
                </c:pt>
                <c:pt idx="8996">
                  <c:v>4</c:v>
                </c:pt>
                <c:pt idx="8997">
                  <c:v>7</c:v>
                </c:pt>
                <c:pt idx="8998">
                  <c:v>5</c:v>
                </c:pt>
                <c:pt idx="8999">
                  <c:v>0</c:v>
                </c:pt>
                <c:pt idx="9000">
                  <c:v>2</c:v>
                </c:pt>
                <c:pt idx="9001">
                  <c:v>0</c:v>
                </c:pt>
                <c:pt idx="9002">
                  <c:v>1</c:v>
                </c:pt>
                <c:pt idx="9003">
                  <c:v>0</c:v>
                </c:pt>
                <c:pt idx="9004">
                  <c:v>1</c:v>
                </c:pt>
                <c:pt idx="9005">
                  <c:v>2</c:v>
                </c:pt>
                <c:pt idx="9006">
                  <c:v>5</c:v>
                </c:pt>
                <c:pt idx="9007">
                  <c:v>0</c:v>
                </c:pt>
                <c:pt idx="9008">
                  <c:v>1</c:v>
                </c:pt>
                <c:pt idx="9009">
                  <c:v>0</c:v>
                </c:pt>
                <c:pt idx="9010">
                  <c:v>9</c:v>
                </c:pt>
                <c:pt idx="9011">
                  <c:v>0</c:v>
                </c:pt>
                <c:pt idx="9012">
                  <c:v>6</c:v>
                </c:pt>
                <c:pt idx="9013">
                  <c:v>6</c:v>
                </c:pt>
                <c:pt idx="9014">
                  <c:v>0</c:v>
                </c:pt>
                <c:pt idx="9015">
                  <c:v>3</c:v>
                </c:pt>
                <c:pt idx="9016">
                  <c:v>6</c:v>
                </c:pt>
                <c:pt idx="9017">
                  <c:v>5</c:v>
                </c:pt>
                <c:pt idx="9018">
                  <c:v>1</c:v>
                </c:pt>
                <c:pt idx="9019">
                  <c:v>0</c:v>
                </c:pt>
                <c:pt idx="9020">
                  <c:v>0</c:v>
                </c:pt>
                <c:pt idx="9021">
                  <c:v>7</c:v>
                </c:pt>
                <c:pt idx="9022">
                  <c:v>15</c:v>
                </c:pt>
                <c:pt idx="9023">
                  <c:v>1</c:v>
                </c:pt>
                <c:pt idx="9024">
                  <c:v>3</c:v>
                </c:pt>
                <c:pt idx="9025">
                  <c:v>0</c:v>
                </c:pt>
                <c:pt idx="9026">
                  <c:v>0</c:v>
                </c:pt>
                <c:pt idx="9027">
                  <c:v>1</c:v>
                </c:pt>
                <c:pt idx="9028">
                  <c:v>1</c:v>
                </c:pt>
                <c:pt idx="9029">
                  <c:v>10</c:v>
                </c:pt>
                <c:pt idx="9030">
                  <c:v>265</c:v>
                </c:pt>
                <c:pt idx="9031">
                  <c:v>157</c:v>
                </c:pt>
                <c:pt idx="9032">
                  <c:v>1913</c:v>
                </c:pt>
                <c:pt idx="9033">
                  <c:v>865</c:v>
                </c:pt>
                <c:pt idx="9034">
                  <c:v>286</c:v>
                </c:pt>
                <c:pt idx="9035">
                  <c:v>146</c:v>
                </c:pt>
                <c:pt idx="9036">
                  <c:v>10</c:v>
                </c:pt>
                <c:pt idx="9037">
                  <c:v>502</c:v>
                </c:pt>
                <c:pt idx="9038">
                  <c:v>902</c:v>
                </c:pt>
                <c:pt idx="9039">
                  <c:v>713</c:v>
                </c:pt>
                <c:pt idx="9040">
                  <c:v>824</c:v>
                </c:pt>
                <c:pt idx="9041">
                  <c:v>683</c:v>
                </c:pt>
                <c:pt idx="9042">
                  <c:v>655</c:v>
                </c:pt>
                <c:pt idx="9043">
                  <c:v>20</c:v>
                </c:pt>
                <c:pt idx="9044">
                  <c:v>305</c:v>
                </c:pt>
                <c:pt idx="9045">
                  <c:v>483</c:v>
                </c:pt>
                <c:pt idx="9046">
                  <c:v>19</c:v>
                </c:pt>
                <c:pt idx="9047">
                  <c:v>370</c:v>
                </c:pt>
                <c:pt idx="9048">
                  <c:v>595</c:v>
                </c:pt>
                <c:pt idx="9049">
                  <c:v>322</c:v>
                </c:pt>
                <c:pt idx="9050">
                  <c:v>490</c:v>
                </c:pt>
                <c:pt idx="9051">
                  <c:v>729</c:v>
                </c:pt>
                <c:pt idx="9052">
                  <c:v>596</c:v>
                </c:pt>
                <c:pt idx="9053">
                  <c:v>394</c:v>
                </c:pt>
                <c:pt idx="9054">
                  <c:v>40</c:v>
                </c:pt>
                <c:pt idx="9055">
                  <c:v>611</c:v>
                </c:pt>
                <c:pt idx="9056">
                  <c:v>937</c:v>
                </c:pt>
                <c:pt idx="9057">
                  <c:v>42</c:v>
                </c:pt>
                <c:pt idx="9058">
                  <c:v>278</c:v>
                </c:pt>
                <c:pt idx="9059">
                  <c:v>462</c:v>
                </c:pt>
                <c:pt idx="9060">
                  <c:v>306</c:v>
                </c:pt>
                <c:pt idx="9061">
                  <c:v>467</c:v>
                </c:pt>
                <c:pt idx="9062">
                  <c:v>129</c:v>
                </c:pt>
                <c:pt idx="9063">
                  <c:v>106</c:v>
                </c:pt>
                <c:pt idx="9064">
                  <c:v>11</c:v>
                </c:pt>
                <c:pt idx="9065">
                  <c:v>219</c:v>
                </c:pt>
                <c:pt idx="9066">
                  <c:v>672</c:v>
                </c:pt>
                <c:pt idx="9067">
                  <c:v>1214</c:v>
                </c:pt>
                <c:pt idx="9068">
                  <c:v>467</c:v>
                </c:pt>
                <c:pt idx="9069">
                  <c:v>1066</c:v>
                </c:pt>
                <c:pt idx="9070">
                  <c:v>578</c:v>
                </c:pt>
                <c:pt idx="9071">
                  <c:v>432</c:v>
                </c:pt>
                <c:pt idx="9072">
                  <c:v>183</c:v>
                </c:pt>
                <c:pt idx="9073">
                  <c:v>523</c:v>
                </c:pt>
                <c:pt idx="9074">
                  <c:v>669</c:v>
                </c:pt>
                <c:pt idx="9075">
                  <c:v>927</c:v>
                </c:pt>
                <c:pt idx="9076">
                  <c:v>266</c:v>
                </c:pt>
                <c:pt idx="9077">
                  <c:v>490</c:v>
                </c:pt>
                <c:pt idx="9078">
                  <c:v>163</c:v>
                </c:pt>
                <c:pt idx="9079">
                  <c:v>178</c:v>
                </c:pt>
                <c:pt idx="9080">
                  <c:v>13</c:v>
                </c:pt>
                <c:pt idx="9081">
                  <c:v>30</c:v>
                </c:pt>
                <c:pt idx="9082">
                  <c:v>135</c:v>
                </c:pt>
                <c:pt idx="9083">
                  <c:v>12</c:v>
                </c:pt>
                <c:pt idx="9084">
                  <c:v>58</c:v>
                </c:pt>
                <c:pt idx="9085">
                  <c:v>45</c:v>
                </c:pt>
                <c:pt idx="9086">
                  <c:v>12</c:v>
                </c:pt>
                <c:pt idx="9087">
                  <c:v>36</c:v>
                </c:pt>
                <c:pt idx="9088">
                  <c:v>75</c:v>
                </c:pt>
                <c:pt idx="9089">
                  <c:v>58</c:v>
                </c:pt>
                <c:pt idx="9090">
                  <c:v>60</c:v>
                </c:pt>
                <c:pt idx="9091">
                  <c:v>14</c:v>
                </c:pt>
                <c:pt idx="9092">
                  <c:v>22</c:v>
                </c:pt>
                <c:pt idx="9093">
                  <c:v>45</c:v>
                </c:pt>
                <c:pt idx="9094">
                  <c:v>10</c:v>
                </c:pt>
                <c:pt idx="9095">
                  <c:v>25</c:v>
                </c:pt>
                <c:pt idx="9096">
                  <c:v>10</c:v>
                </c:pt>
                <c:pt idx="9097">
                  <c:v>34</c:v>
                </c:pt>
                <c:pt idx="9098">
                  <c:v>43</c:v>
                </c:pt>
                <c:pt idx="9099">
                  <c:v>13</c:v>
                </c:pt>
                <c:pt idx="9100">
                  <c:v>10</c:v>
                </c:pt>
                <c:pt idx="9101">
                  <c:v>26</c:v>
                </c:pt>
                <c:pt idx="9102">
                  <c:v>25</c:v>
                </c:pt>
                <c:pt idx="9103">
                  <c:v>13</c:v>
                </c:pt>
                <c:pt idx="9104">
                  <c:v>5</c:v>
                </c:pt>
                <c:pt idx="9105">
                  <c:v>24</c:v>
                </c:pt>
                <c:pt idx="9106">
                  <c:v>4</c:v>
                </c:pt>
                <c:pt idx="9107">
                  <c:v>15</c:v>
                </c:pt>
                <c:pt idx="9108">
                  <c:v>11</c:v>
                </c:pt>
                <c:pt idx="9109">
                  <c:v>34</c:v>
                </c:pt>
                <c:pt idx="9110">
                  <c:v>23</c:v>
                </c:pt>
                <c:pt idx="9111">
                  <c:v>2</c:v>
                </c:pt>
                <c:pt idx="9112">
                  <c:v>17</c:v>
                </c:pt>
                <c:pt idx="9113">
                  <c:v>42</c:v>
                </c:pt>
                <c:pt idx="9114">
                  <c:v>21</c:v>
                </c:pt>
                <c:pt idx="9115">
                  <c:v>20</c:v>
                </c:pt>
                <c:pt idx="9116">
                  <c:v>19</c:v>
                </c:pt>
                <c:pt idx="9117">
                  <c:v>8</c:v>
                </c:pt>
                <c:pt idx="9118">
                  <c:v>5</c:v>
                </c:pt>
                <c:pt idx="9119">
                  <c:v>2</c:v>
                </c:pt>
                <c:pt idx="9120">
                  <c:v>1</c:v>
                </c:pt>
                <c:pt idx="9121">
                  <c:v>5</c:v>
                </c:pt>
                <c:pt idx="9122">
                  <c:v>8</c:v>
                </c:pt>
                <c:pt idx="9123">
                  <c:v>0</c:v>
                </c:pt>
                <c:pt idx="9124">
                  <c:v>103</c:v>
                </c:pt>
                <c:pt idx="9125">
                  <c:v>18</c:v>
                </c:pt>
                <c:pt idx="9126">
                  <c:v>38</c:v>
                </c:pt>
                <c:pt idx="9127">
                  <c:v>11</c:v>
                </c:pt>
                <c:pt idx="9128">
                  <c:v>22</c:v>
                </c:pt>
                <c:pt idx="9129">
                  <c:v>19</c:v>
                </c:pt>
                <c:pt idx="9130">
                  <c:v>15</c:v>
                </c:pt>
                <c:pt idx="9131">
                  <c:v>32</c:v>
                </c:pt>
                <c:pt idx="9132">
                  <c:v>11</c:v>
                </c:pt>
                <c:pt idx="9133">
                  <c:v>26</c:v>
                </c:pt>
                <c:pt idx="9134">
                  <c:v>38</c:v>
                </c:pt>
                <c:pt idx="9135">
                  <c:v>25</c:v>
                </c:pt>
                <c:pt idx="9136">
                  <c:v>14</c:v>
                </c:pt>
                <c:pt idx="9137">
                  <c:v>6</c:v>
                </c:pt>
                <c:pt idx="9138">
                  <c:v>19</c:v>
                </c:pt>
                <c:pt idx="9139">
                  <c:v>49</c:v>
                </c:pt>
                <c:pt idx="9140">
                  <c:v>53</c:v>
                </c:pt>
                <c:pt idx="9141">
                  <c:v>18</c:v>
                </c:pt>
                <c:pt idx="9142">
                  <c:v>8</c:v>
                </c:pt>
                <c:pt idx="9143">
                  <c:v>12</c:v>
                </c:pt>
                <c:pt idx="9144">
                  <c:v>6</c:v>
                </c:pt>
                <c:pt idx="9145">
                  <c:v>29</c:v>
                </c:pt>
                <c:pt idx="9146">
                  <c:v>1</c:v>
                </c:pt>
                <c:pt idx="9147">
                  <c:v>7</c:v>
                </c:pt>
                <c:pt idx="9148">
                  <c:v>5</c:v>
                </c:pt>
                <c:pt idx="9149">
                  <c:v>1</c:v>
                </c:pt>
                <c:pt idx="9150">
                  <c:v>27</c:v>
                </c:pt>
                <c:pt idx="9151">
                  <c:v>4</c:v>
                </c:pt>
                <c:pt idx="9152">
                  <c:v>37</c:v>
                </c:pt>
                <c:pt idx="9153">
                  <c:v>7</c:v>
                </c:pt>
                <c:pt idx="9154">
                  <c:v>3</c:v>
                </c:pt>
                <c:pt idx="9155">
                  <c:v>6</c:v>
                </c:pt>
                <c:pt idx="9156">
                  <c:v>10</c:v>
                </c:pt>
                <c:pt idx="9157">
                  <c:v>1</c:v>
                </c:pt>
                <c:pt idx="9158">
                  <c:v>12</c:v>
                </c:pt>
                <c:pt idx="9159">
                  <c:v>2</c:v>
                </c:pt>
                <c:pt idx="9160">
                  <c:v>6</c:v>
                </c:pt>
                <c:pt idx="9161">
                  <c:v>15</c:v>
                </c:pt>
                <c:pt idx="9162">
                  <c:v>1</c:v>
                </c:pt>
                <c:pt idx="9163">
                  <c:v>6</c:v>
                </c:pt>
                <c:pt idx="9164">
                  <c:v>8</c:v>
                </c:pt>
                <c:pt idx="9165">
                  <c:v>6</c:v>
                </c:pt>
                <c:pt idx="9166">
                  <c:v>2</c:v>
                </c:pt>
                <c:pt idx="9167">
                  <c:v>4</c:v>
                </c:pt>
                <c:pt idx="9168">
                  <c:v>0</c:v>
                </c:pt>
                <c:pt idx="9169">
                  <c:v>2</c:v>
                </c:pt>
                <c:pt idx="9170">
                  <c:v>0</c:v>
                </c:pt>
                <c:pt idx="9171">
                  <c:v>1</c:v>
                </c:pt>
                <c:pt idx="9172">
                  <c:v>53</c:v>
                </c:pt>
                <c:pt idx="9173">
                  <c:v>25</c:v>
                </c:pt>
                <c:pt idx="9174">
                  <c:v>46</c:v>
                </c:pt>
                <c:pt idx="9175">
                  <c:v>51</c:v>
                </c:pt>
                <c:pt idx="9176">
                  <c:v>43</c:v>
                </c:pt>
                <c:pt idx="9177">
                  <c:v>46</c:v>
                </c:pt>
                <c:pt idx="9178">
                  <c:v>29</c:v>
                </c:pt>
                <c:pt idx="9179">
                  <c:v>27</c:v>
                </c:pt>
                <c:pt idx="9180">
                  <c:v>8</c:v>
                </c:pt>
                <c:pt idx="9181">
                  <c:v>39</c:v>
                </c:pt>
                <c:pt idx="9182">
                  <c:v>8</c:v>
                </c:pt>
                <c:pt idx="9183">
                  <c:v>258</c:v>
                </c:pt>
                <c:pt idx="9184">
                  <c:v>772</c:v>
                </c:pt>
                <c:pt idx="9185">
                  <c:v>86</c:v>
                </c:pt>
                <c:pt idx="9186">
                  <c:v>383</c:v>
                </c:pt>
                <c:pt idx="9187">
                  <c:v>758</c:v>
                </c:pt>
                <c:pt idx="9188">
                  <c:v>186</c:v>
                </c:pt>
                <c:pt idx="9189">
                  <c:v>50</c:v>
                </c:pt>
                <c:pt idx="9190">
                  <c:v>226</c:v>
                </c:pt>
                <c:pt idx="9191">
                  <c:v>26</c:v>
                </c:pt>
                <c:pt idx="9192">
                  <c:v>744</c:v>
                </c:pt>
                <c:pt idx="9193">
                  <c:v>251</c:v>
                </c:pt>
                <c:pt idx="9194">
                  <c:v>503</c:v>
                </c:pt>
                <c:pt idx="9195">
                  <c:v>30</c:v>
                </c:pt>
                <c:pt idx="9196">
                  <c:v>597</c:v>
                </c:pt>
                <c:pt idx="9197">
                  <c:v>435</c:v>
                </c:pt>
                <c:pt idx="9198">
                  <c:v>139</c:v>
                </c:pt>
                <c:pt idx="9199">
                  <c:v>789</c:v>
                </c:pt>
                <c:pt idx="9200">
                  <c:v>420</c:v>
                </c:pt>
                <c:pt idx="9201">
                  <c:v>70</c:v>
                </c:pt>
                <c:pt idx="9202">
                  <c:v>632</c:v>
                </c:pt>
                <c:pt idx="9203">
                  <c:v>777</c:v>
                </c:pt>
                <c:pt idx="9204">
                  <c:v>30</c:v>
                </c:pt>
                <c:pt idx="9205">
                  <c:v>389</c:v>
                </c:pt>
                <c:pt idx="9206">
                  <c:v>408</c:v>
                </c:pt>
                <c:pt idx="9207">
                  <c:v>290</c:v>
                </c:pt>
                <c:pt idx="9208">
                  <c:v>198</c:v>
                </c:pt>
                <c:pt idx="9209">
                  <c:v>196</c:v>
                </c:pt>
                <c:pt idx="9210">
                  <c:v>49</c:v>
                </c:pt>
                <c:pt idx="9211">
                  <c:v>254</c:v>
                </c:pt>
                <c:pt idx="9212">
                  <c:v>169</c:v>
                </c:pt>
                <c:pt idx="9213">
                  <c:v>36</c:v>
                </c:pt>
                <c:pt idx="9214">
                  <c:v>70</c:v>
                </c:pt>
                <c:pt idx="9215">
                  <c:v>48</c:v>
                </c:pt>
                <c:pt idx="9216">
                  <c:v>420</c:v>
                </c:pt>
                <c:pt idx="9217">
                  <c:v>101</c:v>
                </c:pt>
                <c:pt idx="9218">
                  <c:v>595</c:v>
                </c:pt>
                <c:pt idx="9219">
                  <c:v>552</c:v>
                </c:pt>
                <c:pt idx="9220">
                  <c:v>642</c:v>
                </c:pt>
                <c:pt idx="9221">
                  <c:v>147</c:v>
                </c:pt>
                <c:pt idx="9222">
                  <c:v>408</c:v>
                </c:pt>
                <c:pt idx="9223">
                  <c:v>122</c:v>
                </c:pt>
                <c:pt idx="9224">
                  <c:v>257</c:v>
                </c:pt>
                <c:pt idx="9225">
                  <c:v>273</c:v>
                </c:pt>
                <c:pt idx="9226">
                  <c:v>307</c:v>
                </c:pt>
                <c:pt idx="9227">
                  <c:v>567</c:v>
                </c:pt>
                <c:pt idx="9228">
                  <c:v>493</c:v>
                </c:pt>
                <c:pt idx="9229">
                  <c:v>522</c:v>
                </c:pt>
                <c:pt idx="9230">
                  <c:v>156</c:v>
                </c:pt>
                <c:pt idx="9231">
                  <c:v>314</c:v>
                </c:pt>
                <c:pt idx="9232">
                  <c:v>25</c:v>
                </c:pt>
                <c:pt idx="9233">
                  <c:v>477</c:v>
                </c:pt>
                <c:pt idx="9234">
                  <c:v>271</c:v>
                </c:pt>
                <c:pt idx="9235">
                  <c:v>155</c:v>
                </c:pt>
                <c:pt idx="9236">
                  <c:v>177</c:v>
                </c:pt>
                <c:pt idx="9237">
                  <c:v>57</c:v>
                </c:pt>
                <c:pt idx="9238">
                  <c:v>137</c:v>
                </c:pt>
                <c:pt idx="9239">
                  <c:v>153</c:v>
                </c:pt>
                <c:pt idx="9240">
                  <c:v>37</c:v>
                </c:pt>
                <c:pt idx="9241">
                  <c:v>96</c:v>
                </c:pt>
                <c:pt idx="9242">
                  <c:v>128</c:v>
                </c:pt>
                <c:pt idx="9243">
                  <c:v>145</c:v>
                </c:pt>
                <c:pt idx="9244">
                  <c:v>29</c:v>
                </c:pt>
                <c:pt idx="9245">
                  <c:v>35</c:v>
                </c:pt>
                <c:pt idx="9246">
                  <c:v>64</c:v>
                </c:pt>
                <c:pt idx="9247">
                  <c:v>54</c:v>
                </c:pt>
                <c:pt idx="9248">
                  <c:v>35</c:v>
                </c:pt>
                <c:pt idx="9249">
                  <c:v>19</c:v>
                </c:pt>
                <c:pt idx="9250">
                  <c:v>76</c:v>
                </c:pt>
                <c:pt idx="9251">
                  <c:v>100</c:v>
                </c:pt>
                <c:pt idx="9252">
                  <c:v>11</c:v>
                </c:pt>
                <c:pt idx="9253">
                  <c:v>62</c:v>
                </c:pt>
                <c:pt idx="9254">
                  <c:v>104</c:v>
                </c:pt>
                <c:pt idx="9255">
                  <c:v>105</c:v>
                </c:pt>
                <c:pt idx="9256">
                  <c:v>100</c:v>
                </c:pt>
                <c:pt idx="9257">
                  <c:v>57</c:v>
                </c:pt>
                <c:pt idx="9258">
                  <c:v>37</c:v>
                </c:pt>
                <c:pt idx="9259">
                  <c:v>85</c:v>
                </c:pt>
                <c:pt idx="9260">
                  <c:v>34</c:v>
                </c:pt>
                <c:pt idx="9261">
                  <c:v>18</c:v>
                </c:pt>
                <c:pt idx="9262">
                  <c:v>30</c:v>
                </c:pt>
                <c:pt idx="9263">
                  <c:v>86</c:v>
                </c:pt>
                <c:pt idx="9264">
                  <c:v>18</c:v>
                </c:pt>
                <c:pt idx="9265">
                  <c:v>50</c:v>
                </c:pt>
                <c:pt idx="9266">
                  <c:v>109</c:v>
                </c:pt>
                <c:pt idx="9267">
                  <c:v>91</c:v>
                </c:pt>
                <c:pt idx="9268">
                  <c:v>8</c:v>
                </c:pt>
                <c:pt idx="9269">
                  <c:v>25</c:v>
                </c:pt>
                <c:pt idx="9270">
                  <c:v>9</c:v>
                </c:pt>
                <c:pt idx="9271">
                  <c:v>0</c:v>
                </c:pt>
                <c:pt idx="9272">
                  <c:v>14</c:v>
                </c:pt>
                <c:pt idx="9273">
                  <c:v>19</c:v>
                </c:pt>
                <c:pt idx="9274">
                  <c:v>17</c:v>
                </c:pt>
                <c:pt idx="9275">
                  <c:v>84</c:v>
                </c:pt>
                <c:pt idx="9276">
                  <c:v>1</c:v>
                </c:pt>
                <c:pt idx="9277">
                  <c:v>9</c:v>
                </c:pt>
                <c:pt idx="9278">
                  <c:v>5</c:v>
                </c:pt>
                <c:pt idx="9279">
                  <c:v>4</c:v>
                </c:pt>
                <c:pt idx="9280">
                  <c:v>9</c:v>
                </c:pt>
                <c:pt idx="9281">
                  <c:v>0</c:v>
                </c:pt>
                <c:pt idx="9282">
                  <c:v>2</c:v>
                </c:pt>
                <c:pt idx="9283">
                  <c:v>10</c:v>
                </c:pt>
                <c:pt idx="9284">
                  <c:v>8</c:v>
                </c:pt>
                <c:pt idx="9285">
                  <c:v>0</c:v>
                </c:pt>
                <c:pt idx="9286">
                  <c:v>0</c:v>
                </c:pt>
                <c:pt idx="9287">
                  <c:v>3</c:v>
                </c:pt>
                <c:pt idx="9288">
                  <c:v>82</c:v>
                </c:pt>
                <c:pt idx="9289">
                  <c:v>0</c:v>
                </c:pt>
                <c:pt idx="9290">
                  <c:v>2</c:v>
                </c:pt>
                <c:pt idx="9291">
                  <c:v>0</c:v>
                </c:pt>
                <c:pt idx="9292">
                  <c:v>1</c:v>
                </c:pt>
                <c:pt idx="9293">
                  <c:v>16</c:v>
                </c:pt>
                <c:pt idx="9294">
                  <c:v>81</c:v>
                </c:pt>
                <c:pt idx="9295">
                  <c:v>82</c:v>
                </c:pt>
                <c:pt idx="9296">
                  <c:v>4</c:v>
                </c:pt>
                <c:pt idx="9297">
                  <c:v>84</c:v>
                </c:pt>
                <c:pt idx="9298">
                  <c:v>0</c:v>
                </c:pt>
                <c:pt idx="9299">
                  <c:v>84</c:v>
                </c:pt>
                <c:pt idx="9300">
                  <c:v>0</c:v>
                </c:pt>
                <c:pt idx="9301">
                  <c:v>14</c:v>
                </c:pt>
                <c:pt idx="9302">
                  <c:v>2</c:v>
                </c:pt>
                <c:pt idx="9303">
                  <c:v>0</c:v>
                </c:pt>
                <c:pt idx="9304">
                  <c:v>0</c:v>
                </c:pt>
                <c:pt idx="9305">
                  <c:v>5</c:v>
                </c:pt>
                <c:pt idx="9306">
                  <c:v>0</c:v>
                </c:pt>
                <c:pt idx="9307">
                  <c:v>0</c:v>
                </c:pt>
                <c:pt idx="9308">
                  <c:v>104</c:v>
                </c:pt>
                <c:pt idx="9309">
                  <c:v>248</c:v>
                </c:pt>
                <c:pt idx="9310">
                  <c:v>61</c:v>
                </c:pt>
                <c:pt idx="9311">
                  <c:v>155</c:v>
                </c:pt>
                <c:pt idx="9312">
                  <c:v>33</c:v>
                </c:pt>
                <c:pt idx="9313">
                  <c:v>247</c:v>
                </c:pt>
                <c:pt idx="9314">
                  <c:v>165</c:v>
                </c:pt>
                <c:pt idx="9315">
                  <c:v>35</c:v>
                </c:pt>
                <c:pt idx="9316">
                  <c:v>110</c:v>
                </c:pt>
                <c:pt idx="9317">
                  <c:v>537</c:v>
                </c:pt>
                <c:pt idx="9318">
                  <c:v>18</c:v>
                </c:pt>
                <c:pt idx="9319">
                  <c:v>52</c:v>
                </c:pt>
                <c:pt idx="9320">
                  <c:v>140</c:v>
                </c:pt>
                <c:pt idx="9321">
                  <c:v>76</c:v>
                </c:pt>
                <c:pt idx="9322">
                  <c:v>11</c:v>
                </c:pt>
                <c:pt idx="9323">
                  <c:v>13</c:v>
                </c:pt>
                <c:pt idx="9324">
                  <c:v>194</c:v>
                </c:pt>
                <c:pt idx="9325">
                  <c:v>258</c:v>
                </c:pt>
                <c:pt idx="9326">
                  <c:v>72</c:v>
                </c:pt>
                <c:pt idx="9327">
                  <c:v>174</c:v>
                </c:pt>
                <c:pt idx="9328">
                  <c:v>41</c:v>
                </c:pt>
                <c:pt idx="9329">
                  <c:v>117</c:v>
                </c:pt>
                <c:pt idx="9330">
                  <c:v>14</c:v>
                </c:pt>
                <c:pt idx="9331">
                  <c:v>108</c:v>
                </c:pt>
                <c:pt idx="9332">
                  <c:v>457</c:v>
                </c:pt>
                <c:pt idx="9333">
                  <c:v>39</c:v>
                </c:pt>
                <c:pt idx="9334">
                  <c:v>368</c:v>
                </c:pt>
                <c:pt idx="9335">
                  <c:v>112</c:v>
                </c:pt>
                <c:pt idx="9336">
                  <c:v>273</c:v>
                </c:pt>
                <c:pt idx="9337">
                  <c:v>37</c:v>
                </c:pt>
                <c:pt idx="9338">
                  <c:v>24</c:v>
                </c:pt>
                <c:pt idx="9339">
                  <c:v>296</c:v>
                </c:pt>
                <c:pt idx="9340">
                  <c:v>71</c:v>
                </c:pt>
                <c:pt idx="9341">
                  <c:v>324</c:v>
                </c:pt>
                <c:pt idx="9342">
                  <c:v>10</c:v>
                </c:pt>
                <c:pt idx="9343">
                  <c:v>221</c:v>
                </c:pt>
                <c:pt idx="9344">
                  <c:v>40</c:v>
                </c:pt>
                <c:pt idx="9345">
                  <c:v>34</c:v>
                </c:pt>
                <c:pt idx="9346">
                  <c:v>14</c:v>
                </c:pt>
                <c:pt idx="9347">
                  <c:v>40</c:v>
                </c:pt>
                <c:pt idx="9348">
                  <c:v>413</c:v>
                </c:pt>
                <c:pt idx="9349">
                  <c:v>77</c:v>
                </c:pt>
                <c:pt idx="9350">
                  <c:v>109</c:v>
                </c:pt>
                <c:pt idx="9351">
                  <c:v>67</c:v>
                </c:pt>
                <c:pt idx="9352">
                  <c:v>170</c:v>
                </c:pt>
                <c:pt idx="9353">
                  <c:v>192</c:v>
                </c:pt>
                <c:pt idx="9354">
                  <c:v>36</c:v>
                </c:pt>
                <c:pt idx="9355">
                  <c:v>290</c:v>
                </c:pt>
                <c:pt idx="9356">
                  <c:v>216</c:v>
                </c:pt>
                <c:pt idx="9357">
                  <c:v>41</c:v>
                </c:pt>
                <c:pt idx="9358">
                  <c:v>128</c:v>
                </c:pt>
                <c:pt idx="9359">
                  <c:v>84</c:v>
                </c:pt>
                <c:pt idx="9360">
                  <c:v>37</c:v>
                </c:pt>
                <c:pt idx="9361">
                  <c:v>61</c:v>
                </c:pt>
                <c:pt idx="9362">
                  <c:v>124</c:v>
                </c:pt>
                <c:pt idx="9363">
                  <c:v>9</c:v>
                </c:pt>
                <c:pt idx="9364">
                  <c:v>26</c:v>
                </c:pt>
                <c:pt idx="9365">
                  <c:v>32</c:v>
                </c:pt>
                <c:pt idx="9366">
                  <c:v>27</c:v>
                </c:pt>
                <c:pt idx="9367">
                  <c:v>65</c:v>
                </c:pt>
                <c:pt idx="9368">
                  <c:v>10</c:v>
                </c:pt>
                <c:pt idx="9369">
                  <c:v>17</c:v>
                </c:pt>
                <c:pt idx="9370">
                  <c:v>50</c:v>
                </c:pt>
                <c:pt idx="9371">
                  <c:v>4</c:v>
                </c:pt>
                <c:pt idx="9372">
                  <c:v>12</c:v>
                </c:pt>
                <c:pt idx="9373">
                  <c:v>151</c:v>
                </c:pt>
                <c:pt idx="9374">
                  <c:v>14</c:v>
                </c:pt>
                <c:pt idx="9375">
                  <c:v>25</c:v>
                </c:pt>
                <c:pt idx="9376">
                  <c:v>39</c:v>
                </c:pt>
                <c:pt idx="9377">
                  <c:v>19</c:v>
                </c:pt>
                <c:pt idx="9378">
                  <c:v>34</c:v>
                </c:pt>
                <c:pt idx="9379">
                  <c:v>53</c:v>
                </c:pt>
                <c:pt idx="9380">
                  <c:v>41</c:v>
                </c:pt>
                <c:pt idx="9381">
                  <c:v>30</c:v>
                </c:pt>
                <c:pt idx="9382">
                  <c:v>65</c:v>
                </c:pt>
                <c:pt idx="9383">
                  <c:v>33</c:v>
                </c:pt>
                <c:pt idx="9384">
                  <c:v>8</c:v>
                </c:pt>
                <c:pt idx="9385">
                  <c:v>39</c:v>
                </c:pt>
                <c:pt idx="9386">
                  <c:v>46</c:v>
                </c:pt>
                <c:pt idx="9387">
                  <c:v>33</c:v>
                </c:pt>
                <c:pt idx="9388">
                  <c:v>21</c:v>
                </c:pt>
                <c:pt idx="9389">
                  <c:v>13</c:v>
                </c:pt>
                <c:pt idx="9390">
                  <c:v>14</c:v>
                </c:pt>
                <c:pt idx="9391">
                  <c:v>11</c:v>
                </c:pt>
                <c:pt idx="9392">
                  <c:v>28</c:v>
                </c:pt>
                <c:pt idx="9393">
                  <c:v>17</c:v>
                </c:pt>
                <c:pt idx="9394">
                  <c:v>40</c:v>
                </c:pt>
                <c:pt idx="9395">
                  <c:v>10</c:v>
                </c:pt>
                <c:pt idx="9396">
                  <c:v>6</c:v>
                </c:pt>
                <c:pt idx="9397">
                  <c:v>27</c:v>
                </c:pt>
                <c:pt idx="9398">
                  <c:v>6</c:v>
                </c:pt>
                <c:pt idx="9399">
                  <c:v>3</c:v>
                </c:pt>
                <c:pt idx="9400">
                  <c:v>41</c:v>
                </c:pt>
                <c:pt idx="9401">
                  <c:v>28</c:v>
                </c:pt>
                <c:pt idx="9402">
                  <c:v>3</c:v>
                </c:pt>
                <c:pt idx="9403">
                  <c:v>13</c:v>
                </c:pt>
                <c:pt idx="9404">
                  <c:v>30</c:v>
                </c:pt>
                <c:pt idx="9405">
                  <c:v>6</c:v>
                </c:pt>
                <c:pt idx="9406">
                  <c:v>4</c:v>
                </c:pt>
                <c:pt idx="9407">
                  <c:v>5</c:v>
                </c:pt>
                <c:pt idx="9408">
                  <c:v>2</c:v>
                </c:pt>
                <c:pt idx="9409">
                  <c:v>6</c:v>
                </c:pt>
                <c:pt idx="9410">
                  <c:v>4</c:v>
                </c:pt>
                <c:pt idx="9411">
                  <c:v>5</c:v>
                </c:pt>
                <c:pt idx="9412">
                  <c:v>13</c:v>
                </c:pt>
                <c:pt idx="9413">
                  <c:v>7</c:v>
                </c:pt>
                <c:pt idx="9414">
                  <c:v>2</c:v>
                </c:pt>
                <c:pt idx="9415">
                  <c:v>0</c:v>
                </c:pt>
                <c:pt idx="9416">
                  <c:v>3</c:v>
                </c:pt>
                <c:pt idx="9417">
                  <c:v>9</c:v>
                </c:pt>
                <c:pt idx="9418">
                  <c:v>232</c:v>
                </c:pt>
                <c:pt idx="9419">
                  <c:v>404</c:v>
                </c:pt>
                <c:pt idx="9420">
                  <c:v>412</c:v>
                </c:pt>
                <c:pt idx="9421">
                  <c:v>231</c:v>
                </c:pt>
                <c:pt idx="9422">
                  <c:v>621</c:v>
                </c:pt>
                <c:pt idx="9423">
                  <c:v>317</c:v>
                </c:pt>
                <c:pt idx="9424">
                  <c:v>164</c:v>
                </c:pt>
                <c:pt idx="9425">
                  <c:v>247</c:v>
                </c:pt>
                <c:pt idx="9426">
                  <c:v>470</c:v>
                </c:pt>
                <c:pt idx="9427">
                  <c:v>737</c:v>
                </c:pt>
                <c:pt idx="9428">
                  <c:v>109</c:v>
                </c:pt>
                <c:pt idx="9429">
                  <c:v>220</c:v>
                </c:pt>
                <c:pt idx="9430">
                  <c:v>240</c:v>
                </c:pt>
                <c:pt idx="9431">
                  <c:v>128</c:v>
                </c:pt>
                <c:pt idx="9432">
                  <c:v>172</c:v>
                </c:pt>
                <c:pt idx="9433">
                  <c:v>249</c:v>
                </c:pt>
                <c:pt idx="9434">
                  <c:v>276</c:v>
                </c:pt>
                <c:pt idx="9435">
                  <c:v>185</c:v>
                </c:pt>
                <c:pt idx="9436">
                  <c:v>153</c:v>
                </c:pt>
                <c:pt idx="9437">
                  <c:v>16</c:v>
                </c:pt>
                <c:pt idx="9438">
                  <c:v>63</c:v>
                </c:pt>
                <c:pt idx="9439">
                  <c:v>231</c:v>
                </c:pt>
                <c:pt idx="9440">
                  <c:v>112</c:v>
                </c:pt>
                <c:pt idx="9441">
                  <c:v>26</c:v>
                </c:pt>
                <c:pt idx="9442">
                  <c:v>789</c:v>
                </c:pt>
                <c:pt idx="9443">
                  <c:v>100</c:v>
                </c:pt>
                <c:pt idx="9444">
                  <c:v>114</c:v>
                </c:pt>
                <c:pt idx="9445">
                  <c:v>58</c:v>
                </c:pt>
                <c:pt idx="9446">
                  <c:v>154</c:v>
                </c:pt>
                <c:pt idx="9447">
                  <c:v>97</c:v>
                </c:pt>
                <c:pt idx="9448">
                  <c:v>91</c:v>
                </c:pt>
                <c:pt idx="9449">
                  <c:v>154</c:v>
                </c:pt>
                <c:pt idx="9450">
                  <c:v>33</c:v>
                </c:pt>
                <c:pt idx="9451">
                  <c:v>79</c:v>
                </c:pt>
                <c:pt idx="9452">
                  <c:v>114</c:v>
                </c:pt>
                <c:pt idx="9453">
                  <c:v>129</c:v>
                </c:pt>
                <c:pt idx="9454">
                  <c:v>108</c:v>
                </c:pt>
                <c:pt idx="9455">
                  <c:v>105</c:v>
                </c:pt>
                <c:pt idx="9456">
                  <c:v>158</c:v>
                </c:pt>
                <c:pt idx="9457">
                  <c:v>233</c:v>
                </c:pt>
                <c:pt idx="9458">
                  <c:v>98</c:v>
                </c:pt>
                <c:pt idx="9459">
                  <c:v>11</c:v>
                </c:pt>
                <c:pt idx="9460">
                  <c:v>90</c:v>
                </c:pt>
                <c:pt idx="9461">
                  <c:v>100</c:v>
                </c:pt>
                <c:pt idx="9462">
                  <c:v>27</c:v>
                </c:pt>
                <c:pt idx="9463">
                  <c:v>50</c:v>
                </c:pt>
                <c:pt idx="9464">
                  <c:v>71</c:v>
                </c:pt>
                <c:pt idx="9465">
                  <c:v>40</c:v>
                </c:pt>
                <c:pt idx="9466">
                  <c:v>98</c:v>
                </c:pt>
                <c:pt idx="9467">
                  <c:v>98</c:v>
                </c:pt>
                <c:pt idx="9468">
                  <c:v>183</c:v>
                </c:pt>
                <c:pt idx="9469">
                  <c:v>23</c:v>
                </c:pt>
                <c:pt idx="9470">
                  <c:v>16</c:v>
                </c:pt>
                <c:pt idx="9471">
                  <c:v>43</c:v>
                </c:pt>
                <c:pt idx="9472">
                  <c:v>62</c:v>
                </c:pt>
                <c:pt idx="9473">
                  <c:v>17</c:v>
                </c:pt>
                <c:pt idx="9474">
                  <c:v>17</c:v>
                </c:pt>
                <c:pt idx="9475">
                  <c:v>86</c:v>
                </c:pt>
                <c:pt idx="9476">
                  <c:v>144</c:v>
                </c:pt>
                <c:pt idx="9477">
                  <c:v>109</c:v>
                </c:pt>
                <c:pt idx="9478">
                  <c:v>69</c:v>
                </c:pt>
                <c:pt idx="9479">
                  <c:v>71</c:v>
                </c:pt>
                <c:pt idx="9480">
                  <c:v>26</c:v>
                </c:pt>
                <c:pt idx="9481">
                  <c:v>27</c:v>
                </c:pt>
                <c:pt idx="9482">
                  <c:v>50</c:v>
                </c:pt>
                <c:pt idx="9483">
                  <c:v>53</c:v>
                </c:pt>
                <c:pt idx="9484">
                  <c:v>10</c:v>
                </c:pt>
                <c:pt idx="9485">
                  <c:v>38</c:v>
                </c:pt>
                <c:pt idx="9486">
                  <c:v>26</c:v>
                </c:pt>
                <c:pt idx="9487">
                  <c:v>9</c:v>
                </c:pt>
                <c:pt idx="9488">
                  <c:v>29</c:v>
                </c:pt>
                <c:pt idx="9489">
                  <c:v>24</c:v>
                </c:pt>
                <c:pt idx="9490">
                  <c:v>36</c:v>
                </c:pt>
                <c:pt idx="9491">
                  <c:v>51</c:v>
                </c:pt>
                <c:pt idx="9492">
                  <c:v>65</c:v>
                </c:pt>
                <c:pt idx="9493">
                  <c:v>27</c:v>
                </c:pt>
                <c:pt idx="9494">
                  <c:v>8</c:v>
                </c:pt>
                <c:pt idx="9495">
                  <c:v>36</c:v>
                </c:pt>
                <c:pt idx="9496">
                  <c:v>635</c:v>
                </c:pt>
                <c:pt idx="9497">
                  <c:v>939</c:v>
                </c:pt>
                <c:pt idx="9498">
                  <c:v>893</c:v>
                </c:pt>
                <c:pt idx="9499">
                  <c:v>250</c:v>
                </c:pt>
                <c:pt idx="9500">
                  <c:v>566</c:v>
                </c:pt>
                <c:pt idx="9501">
                  <c:v>650</c:v>
                </c:pt>
                <c:pt idx="9502">
                  <c:v>390</c:v>
                </c:pt>
                <c:pt idx="9503">
                  <c:v>287</c:v>
                </c:pt>
                <c:pt idx="9504">
                  <c:v>368</c:v>
                </c:pt>
                <c:pt idx="9505">
                  <c:v>1019</c:v>
                </c:pt>
                <c:pt idx="9506">
                  <c:v>148</c:v>
                </c:pt>
                <c:pt idx="9507">
                  <c:v>731</c:v>
                </c:pt>
                <c:pt idx="9508">
                  <c:v>230</c:v>
                </c:pt>
                <c:pt idx="9509">
                  <c:v>375</c:v>
                </c:pt>
                <c:pt idx="9510">
                  <c:v>177</c:v>
                </c:pt>
                <c:pt idx="9511">
                  <c:v>242</c:v>
                </c:pt>
                <c:pt idx="9512">
                  <c:v>230</c:v>
                </c:pt>
                <c:pt idx="9513">
                  <c:v>219</c:v>
                </c:pt>
                <c:pt idx="9514">
                  <c:v>97</c:v>
                </c:pt>
                <c:pt idx="9515">
                  <c:v>115</c:v>
                </c:pt>
                <c:pt idx="9516">
                  <c:v>632</c:v>
                </c:pt>
                <c:pt idx="9517">
                  <c:v>100</c:v>
                </c:pt>
                <c:pt idx="9518">
                  <c:v>147</c:v>
                </c:pt>
                <c:pt idx="9519">
                  <c:v>110</c:v>
                </c:pt>
                <c:pt idx="9520">
                  <c:v>68</c:v>
                </c:pt>
                <c:pt idx="9521">
                  <c:v>56</c:v>
                </c:pt>
                <c:pt idx="9522">
                  <c:v>112</c:v>
                </c:pt>
                <c:pt idx="9523">
                  <c:v>101</c:v>
                </c:pt>
                <c:pt idx="9524">
                  <c:v>13</c:v>
                </c:pt>
                <c:pt idx="9525">
                  <c:v>107</c:v>
                </c:pt>
                <c:pt idx="9526">
                  <c:v>84</c:v>
                </c:pt>
                <c:pt idx="9527">
                  <c:v>92</c:v>
                </c:pt>
                <c:pt idx="9528">
                  <c:v>101</c:v>
                </c:pt>
                <c:pt idx="9529">
                  <c:v>54</c:v>
                </c:pt>
                <c:pt idx="9530">
                  <c:v>116</c:v>
                </c:pt>
                <c:pt idx="9531">
                  <c:v>35</c:v>
                </c:pt>
                <c:pt idx="9532">
                  <c:v>95</c:v>
                </c:pt>
                <c:pt idx="9533">
                  <c:v>89</c:v>
                </c:pt>
                <c:pt idx="9534">
                  <c:v>65</c:v>
                </c:pt>
                <c:pt idx="9535">
                  <c:v>84</c:v>
                </c:pt>
                <c:pt idx="9536">
                  <c:v>12</c:v>
                </c:pt>
                <c:pt idx="9537">
                  <c:v>87</c:v>
                </c:pt>
                <c:pt idx="9538">
                  <c:v>14</c:v>
                </c:pt>
                <c:pt idx="9539">
                  <c:v>101</c:v>
                </c:pt>
                <c:pt idx="9540">
                  <c:v>97</c:v>
                </c:pt>
                <c:pt idx="9541">
                  <c:v>112</c:v>
                </c:pt>
                <c:pt idx="9542">
                  <c:v>88</c:v>
                </c:pt>
                <c:pt idx="9543">
                  <c:v>66</c:v>
                </c:pt>
                <c:pt idx="9544">
                  <c:v>51</c:v>
                </c:pt>
                <c:pt idx="9545">
                  <c:v>3</c:v>
                </c:pt>
                <c:pt idx="9546">
                  <c:v>71</c:v>
                </c:pt>
                <c:pt idx="9547">
                  <c:v>87</c:v>
                </c:pt>
                <c:pt idx="9548">
                  <c:v>8</c:v>
                </c:pt>
                <c:pt idx="9549">
                  <c:v>26</c:v>
                </c:pt>
                <c:pt idx="9550">
                  <c:v>56</c:v>
                </c:pt>
                <c:pt idx="9551">
                  <c:v>268</c:v>
                </c:pt>
                <c:pt idx="9552">
                  <c:v>125</c:v>
                </c:pt>
                <c:pt idx="9553">
                  <c:v>121</c:v>
                </c:pt>
                <c:pt idx="9554">
                  <c:v>91</c:v>
                </c:pt>
                <c:pt idx="9555">
                  <c:v>33</c:v>
                </c:pt>
                <c:pt idx="9556">
                  <c:v>14</c:v>
                </c:pt>
                <c:pt idx="9557">
                  <c:v>4</c:v>
                </c:pt>
                <c:pt idx="9558">
                  <c:v>15</c:v>
                </c:pt>
                <c:pt idx="9559">
                  <c:v>9</c:v>
                </c:pt>
                <c:pt idx="9560">
                  <c:v>8</c:v>
                </c:pt>
                <c:pt idx="9561">
                  <c:v>6</c:v>
                </c:pt>
                <c:pt idx="9562">
                  <c:v>15</c:v>
                </c:pt>
                <c:pt idx="9563">
                  <c:v>4</c:v>
                </c:pt>
                <c:pt idx="9564">
                  <c:v>369</c:v>
                </c:pt>
                <c:pt idx="9565">
                  <c:v>272</c:v>
                </c:pt>
                <c:pt idx="9566">
                  <c:v>283</c:v>
                </c:pt>
                <c:pt idx="9567">
                  <c:v>248</c:v>
                </c:pt>
                <c:pt idx="9568">
                  <c:v>125</c:v>
                </c:pt>
                <c:pt idx="9569">
                  <c:v>120</c:v>
                </c:pt>
                <c:pt idx="9570">
                  <c:v>120</c:v>
                </c:pt>
                <c:pt idx="9571">
                  <c:v>56</c:v>
                </c:pt>
                <c:pt idx="9572">
                  <c:v>178</c:v>
                </c:pt>
                <c:pt idx="9573">
                  <c:v>95</c:v>
                </c:pt>
                <c:pt idx="9574">
                  <c:v>65</c:v>
                </c:pt>
                <c:pt idx="9575">
                  <c:v>110</c:v>
                </c:pt>
                <c:pt idx="9576">
                  <c:v>128</c:v>
                </c:pt>
                <c:pt idx="9577">
                  <c:v>82</c:v>
                </c:pt>
                <c:pt idx="9578">
                  <c:v>78</c:v>
                </c:pt>
                <c:pt idx="9579">
                  <c:v>71</c:v>
                </c:pt>
                <c:pt idx="9580">
                  <c:v>89</c:v>
                </c:pt>
                <c:pt idx="9581">
                  <c:v>103</c:v>
                </c:pt>
                <c:pt idx="9582">
                  <c:v>36</c:v>
                </c:pt>
                <c:pt idx="9583">
                  <c:v>34</c:v>
                </c:pt>
                <c:pt idx="9584">
                  <c:v>22</c:v>
                </c:pt>
                <c:pt idx="9585">
                  <c:v>29</c:v>
                </c:pt>
                <c:pt idx="9586">
                  <c:v>32</c:v>
                </c:pt>
                <c:pt idx="9587">
                  <c:v>30</c:v>
                </c:pt>
                <c:pt idx="9588">
                  <c:v>20</c:v>
                </c:pt>
                <c:pt idx="9589">
                  <c:v>13</c:v>
                </c:pt>
                <c:pt idx="9590">
                  <c:v>24</c:v>
                </c:pt>
                <c:pt idx="9591">
                  <c:v>9</c:v>
                </c:pt>
                <c:pt idx="9592">
                  <c:v>18</c:v>
                </c:pt>
                <c:pt idx="9593">
                  <c:v>1</c:v>
                </c:pt>
                <c:pt idx="9594">
                  <c:v>17</c:v>
                </c:pt>
                <c:pt idx="9595">
                  <c:v>1</c:v>
                </c:pt>
                <c:pt idx="9596">
                  <c:v>33</c:v>
                </c:pt>
                <c:pt idx="9597">
                  <c:v>4</c:v>
                </c:pt>
                <c:pt idx="9598">
                  <c:v>5</c:v>
                </c:pt>
                <c:pt idx="9599">
                  <c:v>6</c:v>
                </c:pt>
                <c:pt idx="9600">
                  <c:v>0</c:v>
                </c:pt>
                <c:pt idx="9601">
                  <c:v>24</c:v>
                </c:pt>
                <c:pt idx="9602">
                  <c:v>1</c:v>
                </c:pt>
                <c:pt idx="9603">
                  <c:v>4</c:v>
                </c:pt>
                <c:pt idx="9604">
                  <c:v>5</c:v>
                </c:pt>
                <c:pt idx="9605">
                  <c:v>4</c:v>
                </c:pt>
                <c:pt idx="9606">
                  <c:v>3</c:v>
                </c:pt>
                <c:pt idx="9607">
                  <c:v>20</c:v>
                </c:pt>
                <c:pt idx="9608">
                  <c:v>0</c:v>
                </c:pt>
                <c:pt idx="9609">
                  <c:v>194</c:v>
                </c:pt>
                <c:pt idx="9610">
                  <c:v>113</c:v>
                </c:pt>
                <c:pt idx="9611">
                  <c:v>8</c:v>
                </c:pt>
                <c:pt idx="9612">
                  <c:v>2</c:v>
                </c:pt>
                <c:pt idx="9613">
                  <c:v>58</c:v>
                </c:pt>
                <c:pt idx="9614">
                  <c:v>107</c:v>
                </c:pt>
                <c:pt idx="9615">
                  <c:v>5</c:v>
                </c:pt>
                <c:pt idx="9616">
                  <c:v>15</c:v>
                </c:pt>
                <c:pt idx="9617">
                  <c:v>8</c:v>
                </c:pt>
                <c:pt idx="9618">
                  <c:v>12</c:v>
                </c:pt>
                <c:pt idx="9619">
                  <c:v>7</c:v>
                </c:pt>
                <c:pt idx="9620">
                  <c:v>13</c:v>
                </c:pt>
                <c:pt idx="9621">
                  <c:v>2</c:v>
                </c:pt>
                <c:pt idx="9622">
                  <c:v>6</c:v>
                </c:pt>
                <c:pt idx="9623">
                  <c:v>11</c:v>
                </c:pt>
                <c:pt idx="9624">
                  <c:v>5</c:v>
                </c:pt>
                <c:pt idx="9625">
                  <c:v>6</c:v>
                </c:pt>
                <c:pt idx="9626">
                  <c:v>7</c:v>
                </c:pt>
                <c:pt idx="9627">
                  <c:v>19</c:v>
                </c:pt>
                <c:pt idx="9628">
                  <c:v>22</c:v>
                </c:pt>
                <c:pt idx="9629">
                  <c:v>14</c:v>
                </c:pt>
                <c:pt idx="9630">
                  <c:v>12</c:v>
                </c:pt>
                <c:pt idx="9631">
                  <c:v>7</c:v>
                </c:pt>
                <c:pt idx="9632">
                  <c:v>14</c:v>
                </c:pt>
                <c:pt idx="9633">
                  <c:v>2</c:v>
                </c:pt>
                <c:pt idx="9634">
                  <c:v>2</c:v>
                </c:pt>
                <c:pt idx="9635">
                  <c:v>0</c:v>
                </c:pt>
                <c:pt idx="9636">
                  <c:v>16</c:v>
                </c:pt>
                <c:pt idx="9637">
                  <c:v>2</c:v>
                </c:pt>
                <c:pt idx="9638">
                  <c:v>3</c:v>
                </c:pt>
                <c:pt idx="9639">
                  <c:v>11</c:v>
                </c:pt>
                <c:pt idx="9640">
                  <c:v>6</c:v>
                </c:pt>
                <c:pt idx="9641">
                  <c:v>0</c:v>
                </c:pt>
                <c:pt idx="9642">
                  <c:v>5</c:v>
                </c:pt>
                <c:pt idx="9643">
                  <c:v>4</c:v>
                </c:pt>
                <c:pt idx="9644">
                  <c:v>3</c:v>
                </c:pt>
                <c:pt idx="9645">
                  <c:v>0</c:v>
                </c:pt>
                <c:pt idx="9646">
                  <c:v>4</c:v>
                </c:pt>
                <c:pt idx="9647">
                  <c:v>1</c:v>
                </c:pt>
                <c:pt idx="9648">
                  <c:v>2</c:v>
                </c:pt>
                <c:pt idx="9649">
                  <c:v>1</c:v>
                </c:pt>
                <c:pt idx="9650">
                  <c:v>3</c:v>
                </c:pt>
                <c:pt idx="9651">
                  <c:v>2</c:v>
                </c:pt>
                <c:pt idx="9652">
                  <c:v>0</c:v>
                </c:pt>
                <c:pt idx="9653">
                  <c:v>1</c:v>
                </c:pt>
                <c:pt idx="9654">
                  <c:v>3</c:v>
                </c:pt>
                <c:pt idx="9655">
                  <c:v>0</c:v>
                </c:pt>
                <c:pt idx="9656">
                  <c:v>3</c:v>
                </c:pt>
                <c:pt idx="9657">
                  <c:v>1</c:v>
                </c:pt>
                <c:pt idx="9658">
                  <c:v>0</c:v>
                </c:pt>
                <c:pt idx="9659">
                  <c:v>0</c:v>
                </c:pt>
                <c:pt idx="9660">
                  <c:v>1</c:v>
                </c:pt>
                <c:pt idx="9661">
                  <c:v>3</c:v>
                </c:pt>
                <c:pt idx="9662">
                  <c:v>1</c:v>
                </c:pt>
                <c:pt idx="9663">
                  <c:v>2</c:v>
                </c:pt>
                <c:pt idx="9664">
                  <c:v>0</c:v>
                </c:pt>
                <c:pt idx="9665">
                  <c:v>1</c:v>
                </c:pt>
                <c:pt idx="9666">
                  <c:v>1</c:v>
                </c:pt>
                <c:pt idx="9667">
                  <c:v>1</c:v>
                </c:pt>
                <c:pt idx="9668">
                  <c:v>0</c:v>
                </c:pt>
                <c:pt idx="9669">
                  <c:v>1</c:v>
                </c:pt>
                <c:pt idx="9670">
                  <c:v>1</c:v>
                </c:pt>
                <c:pt idx="9671">
                  <c:v>1</c:v>
                </c:pt>
                <c:pt idx="9672">
                  <c:v>1</c:v>
                </c:pt>
                <c:pt idx="9673">
                  <c:v>1</c:v>
                </c:pt>
                <c:pt idx="9674">
                  <c:v>1</c:v>
                </c:pt>
                <c:pt idx="9675">
                  <c:v>0</c:v>
                </c:pt>
                <c:pt idx="9676">
                  <c:v>1</c:v>
                </c:pt>
                <c:pt idx="9677">
                  <c:v>0</c:v>
                </c:pt>
                <c:pt idx="9678">
                  <c:v>1</c:v>
                </c:pt>
                <c:pt idx="9679">
                  <c:v>0</c:v>
                </c:pt>
                <c:pt idx="9680">
                  <c:v>1</c:v>
                </c:pt>
                <c:pt idx="9681">
                  <c:v>0</c:v>
                </c:pt>
                <c:pt idx="9682">
                  <c:v>0</c:v>
                </c:pt>
                <c:pt idx="9683">
                  <c:v>0</c:v>
                </c:pt>
                <c:pt idx="9684">
                  <c:v>0</c:v>
                </c:pt>
                <c:pt idx="9685">
                  <c:v>1</c:v>
                </c:pt>
                <c:pt idx="9686">
                  <c:v>0</c:v>
                </c:pt>
                <c:pt idx="9687">
                  <c:v>1</c:v>
                </c:pt>
                <c:pt idx="9688">
                  <c:v>0</c:v>
                </c:pt>
                <c:pt idx="9689">
                  <c:v>1</c:v>
                </c:pt>
                <c:pt idx="9690">
                  <c:v>0</c:v>
                </c:pt>
                <c:pt idx="9691">
                  <c:v>72</c:v>
                </c:pt>
                <c:pt idx="9692">
                  <c:v>133</c:v>
                </c:pt>
                <c:pt idx="9693">
                  <c:v>39</c:v>
                </c:pt>
                <c:pt idx="9694">
                  <c:v>41</c:v>
                </c:pt>
                <c:pt idx="9695">
                  <c:v>37</c:v>
                </c:pt>
                <c:pt idx="9696">
                  <c:v>11</c:v>
                </c:pt>
                <c:pt idx="9697">
                  <c:v>47</c:v>
                </c:pt>
                <c:pt idx="9698">
                  <c:v>13</c:v>
                </c:pt>
                <c:pt idx="9699">
                  <c:v>39</c:v>
                </c:pt>
                <c:pt idx="9700">
                  <c:v>38</c:v>
                </c:pt>
                <c:pt idx="9701">
                  <c:v>21</c:v>
                </c:pt>
                <c:pt idx="9702">
                  <c:v>42</c:v>
                </c:pt>
                <c:pt idx="9703">
                  <c:v>37</c:v>
                </c:pt>
                <c:pt idx="9704">
                  <c:v>5</c:v>
                </c:pt>
                <c:pt idx="9705">
                  <c:v>40</c:v>
                </c:pt>
                <c:pt idx="9706">
                  <c:v>36</c:v>
                </c:pt>
                <c:pt idx="9707">
                  <c:v>6</c:v>
                </c:pt>
                <c:pt idx="9708">
                  <c:v>2</c:v>
                </c:pt>
                <c:pt idx="9709">
                  <c:v>2</c:v>
                </c:pt>
                <c:pt idx="9710">
                  <c:v>42</c:v>
                </c:pt>
                <c:pt idx="9711">
                  <c:v>1</c:v>
                </c:pt>
                <c:pt idx="9712">
                  <c:v>495</c:v>
                </c:pt>
                <c:pt idx="9713">
                  <c:v>12</c:v>
                </c:pt>
                <c:pt idx="9714">
                  <c:v>5</c:v>
                </c:pt>
                <c:pt idx="9715">
                  <c:v>5</c:v>
                </c:pt>
                <c:pt idx="9716">
                  <c:v>181</c:v>
                </c:pt>
                <c:pt idx="9717">
                  <c:v>12</c:v>
                </c:pt>
                <c:pt idx="9718">
                  <c:v>8</c:v>
                </c:pt>
                <c:pt idx="9719">
                  <c:v>18</c:v>
                </c:pt>
                <c:pt idx="9720">
                  <c:v>16</c:v>
                </c:pt>
                <c:pt idx="9721">
                  <c:v>11</c:v>
                </c:pt>
                <c:pt idx="9722">
                  <c:v>31</c:v>
                </c:pt>
                <c:pt idx="9723">
                  <c:v>12</c:v>
                </c:pt>
                <c:pt idx="9724">
                  <c:v>45</c:v>
                </c:pt>
                <c:pt idx="9725">
                  <c:v>4</c:v>
                </c:pt>
                <c:pt idx="9726">
                  <c:v>9</c:v>
                </c:pt>
                <c:pt idx="9727">
                  <c:v>16</c:v>
                </c:pt>
                <c:pt idx="9728">
                  <c:v>29</c:v>
                </c:pt>
                <c:pt idx="9729">
                  <c:v>3</c:v>
                </c:pt>
                <c:pt idx="9730">
                  <c:v>8</c:v>
                </c:pt>
                <c:pt idx="9731">
                  <c:v>4</c:v>
                </c:pt>
                <c:pt idx="9732">
                  <c:v>10</c:v>
                </c:pt>
                <c:pt idx="9733">
                  <c:v>8</c:v>
                </c:pt>
                <c:pt idx="9734">
                  <c:v>13</c:v>
                </c:pt>
                <c:pt idx="9735">
                  <c:v>18</c:v>
                </c:pt>
                <c:pt idx="9736">
                  <c:v>8</c:v>
                </c:pt>
                <c:pt idx="9737">
                  <c:v>22</c:v>
                </c:pt>
                <c:pt idx="9738">
                  <c:v>4</c:v>
                </c:pt>
                <c:pt idx="9739">
                  <c:v>4</c:v>
                </c:pt>
                <c:pt idx="9740">
                  <c:v>5</c:v>
                </c:pt>
                <c:pt idx="9741">
                  <c:v>8</c:v>
                </c:pt>
                <c:pt idx="9742">
                  <c:v>6</c:v>
                </c:pt>
                <c:pt idx="9743">
                  <c:v>6</c:v>
                </c:pt>
                <c:pt idx="9744">
                  <c:v>8</c:v>
                </c:pt>
                <c:pt idx="9745">
                  <c:v>3</c:v>
                </c:pt>
                <c:pt idx="9746">
                  <c:v>11</c:v>
                </c:pt>
                <c:pt idx="9747">
                  <c:v>5</c:v>
                </c:pt>
                <c:pt idx="9748">
                  <c:v>16</c:v>
                </c:pt>
                <c:pt idx="9749">
                  <c:v>4</c:v>
                </c:pt>
                <c:pt idx="9750">
                  <c:v>8</c:v>
                </c:pt>
                <c:pt idx="9751">
                  <c:v>4</c:v>
                </c:pt>
                <c:pt idx="9752">
                  <c:v>4</c:v>
                </c:pt>
                <c:pt idx="9753">
                  <c:v>12</c:v>
                </c:pt>
                <c:pt idx="9754">
                  <c:v>5</c:v>
                </c:pt>
                <c:pt idx="9755">
                  <c:v>13</c:v>
                </c:pt>
                <c:pt idx="9756">
                  <c:v>13</c:v>
                </c:pt>
                <c:pt idx="9757">
                  <c:v>13</c:v>
                </c:pt>
                <c:pt idx="9758">
                  <c:v>9</c:v>
                </c:pt>
                <c:pt idx="9759">
                  <c:v>13</c:v>
                </c:pt>
                <c:pt idx="9760">
                  <c:v>5</c:v>
                </c:pt>
                <c:pt idx="9761">
                  <c:v>0</c:v>
                </c:pt>
                <c:pt idx="9762">
                  <c:v>10</c:v>
                </c:pt>
                <c:pt idx="9763">
                  <c:v>3</c:v>
                </c:pt>
                <c:pt idx="9764">
                  <c:v>6</c:v>
                </c:pt>
                <c:pt idx="9765">
                  <c:v>0</c:v>
                </c:pt>
                <c:pt idx="9766">
                  <c:v>12</c:v>
                </c:pt>
                <c:pt idx="9767">
                  <c:v>1</c:v>
                </c:pt>
                <c:pt idx="9768">
                  <c:v>1</c:v>
                </c:pt>
                <c:pt idx="9769">
                  <c:v>5</c:v>
                </c:pt>
                <c:pt idx="9770">
                  <c:v>14</c:v>
                </c:pt>
                <c:pt idx="9771">
                  <c:v>6</c:v>
                </c:pt>
                <c:pt idx="9772">
                  <c:v>7</c:v>
                </c:pt>
                <c:pt idx="9773">
                  <c:v>5</c:v>
                </c:pt>
                <c:pt idx="9774">
                  <c:v>3</c:v>
                </c:pt>
                <c:pt idx="9775">
                  <c:v>12</c:v>
                </c:pt>
                <c:pt idx="9776">
                  <c:v>3</c:v>
                </c:pt>
                <c:pt idx="9777">
                  <c:v>3</c:v>
                </c:pt>
                <c:pt idx="9778">
                  <c:v>4</c:v>
                </c:pt>
                <c:pt idx="9779">
                  <c:v>5</c:v>
                </c:pt>
                <c:pt idx="9780">
                  <c:v>3</c:v>
                </c:pt>
                <c:pt idx="9781">
                  <c:v>5</c:v>
                </c:pt>
                <c:pt idx="9782">
                  <c:v>6</c:v>
                </c:pt>
                <c:pt idx="9783">
                  <c:v>6</c:v>
                </c:pt>
                <c:pt idx="9784">
                  <c:v>3</c:v>
                </c:pt>
                <c:pt idx="9785">
                  <c:v>3</c:v>
                </c:pt>
                <c:pt idx="9786">
                  <c:v>1</c:v>
                </c:pt>
                <c:pt idx="9787">
                  <c:v>5</c:v>
                </c:pt>
                <c:pt idx="9788">
                  <c:v>5</c:v>
                </c:pt>
                <c:pt idx="9789">
                  <c:v>5</c:v>
                </c:pt>
                <c:pt idx="9790">
                  <c:v>5</c:v>
                </c:pt>
                <c:pt idx="9791">
                  <c:v>4</c:v>
                </c:pt>
                <c:pt idx="9792">
                  <c:v>4</c:v>
                </c:pt>
                <c:pt idx="9793">
                  <c:v>2</c:v>
                </c:pt>
                <c:pt idx="9794">
                  <c:v>2</c:v>
                </c:pt>
                <c:pt idx="9795">
                  <c:v>2</c:v>
                </c:pt>
                <c:pt idx="9796">
                  <c:v>0</c:v>
                </c:pt>
                <c:pt idx="9797">
                  <c:v>8</c:v>
                </c:pt>
                <c:pt idx="9798">
                  <c:v>3</c:v>
                </c:pt>
                <c:pt idx="9799">
                  <c:v>5</c:v>
                </c:pt>
                <c:pt idx="9800">
                  <c:v>3</c:v>
                </c:pt>
                <c:pt idx="9801">
                  <c:v>0</c:v>
                </c:pt>
                <c:pt idx="9802">
                  <c:v>6</c:v>
                </c:pt>
                <c:pt idx="9803">
                  <c:v>2</c:v>
                </c:pt>
                <c:pt idx="9804">
                  <c:v>7</c:v>
                </c:pt>
                <c:pt idx="9805">
                  <c:v>1</c:v>
                </c:pt>
                <c:pt idx="9806">
                  <c:v>3</c:v>
                </c:pt>
                <c:pt idx="9807">
                  <c:v>1</c:v>
                </c:pt>
                <c:pt idx="9808">
                  <c:v>3</c:v>
                </c:pt>
                <c:pt idx="9809">
                  <c:v>116</c:v>
                </c:pt>
                <c:pt idx="9810">
                  <c:v>4</c:v>
                </c:pt>
                <c:pt idx="9811">
                  <c:v>12</c:v>
                </c:pt>
                <c:pt idx="9812">
                  <c:v>4</c:v>
                </c:pt>
                <c:pt idx="9813">
                  <c:v>25</c:v>
                </c:pt>
                <c:pt idx="9814">
                  <c:v>119</c:v>
                </c:pt>
                <c:pt idx="9815">
                  <c:v>208</c:v>
                </c:pt>
                <c:pt idx="9816">
                  <c:v>44</c:v>
                </c:pt>
                <c:pt idx="9817">
                  <c:v>54</c:v>
                </c:pt>
                <c:pt idx="9818">
                  <c:v>99</c:v>
                </c:pt>
                <c:pt idx="9819">
                  <c:v>140</c:v>
                </c:pt>
                <c:pt idx="9820">
                  <c:v>26</c:v>
                </c:pt>
                <c:pt idx="9821">
                  <c:v>52</c:v>
                </c:pt>
                <c:pt idx="9822">
                  <c:v>102</c:v>
                </c:pt>
                <c:pt idx="9823">
                  <c:v>77</c:v>
                </c:pt>
                <c:pt idx="9824">
                  <c:v>61</c:v>
                </c:pt>
                <c:pt idx="9825">
                  <c:v>54</c:v>
                </c:pt>
                <c:pt idx="9826">
                  <c:v>16</c:v>
                </c:pt>
                <c:pt idx="9827">
                  <c:v>55</c:v>
                </c:pt>
                <c:pt idx="9828">
                  <c:v>34</c:v>
                </c:pt>
                <c:pt idx="9829">
                  <c:v>28</c:v>
                </c:pt>
                <c:pt idx="9830">
                  <c:v>8</c:v>
                </c:pt>
                <c:pt idx="9831">
                  <c:v>9</c:v>
                </c:pt>
                <c:pt idx="9832">
                  <c:v>13</c:v>
                </c:pt>
                <c:pt idx="9833">
                  <c:v>32</c:v>
                </c:pt>
                <c:pt idx="9834">
                  <c:v>6</c:v>
                </c:pt>
                <c:pt idx="9835">
                  <c:v>9</c:v>
                </c:pt>
                <c:pt idx="9836">
                  <c:v>10</c:v>
                </c:pt>
                <c:pt idx="9837">
                  <c:v>12</c:v>
                </c:pt>
                <c:pt idx="9838">
                  <c:v>23</c:v>
                </c:pt>
                <c:pt idx="9839">
                  <c:v>1</c:v>
                </c:pt>
                <c:pt idx="9840">
                  <c:v>24</c:v>
                </c:pt>
                <c:pt idx="9841">
                  <c:v>6</c:v>
                </c:pt>
                <c:pt idx="9842">
                  <c:v>6</c:v>
                </c:pt>
                <c:pt idx="9843">
                  <c:v>0</c:v>
                </c:pt>
                <c:pt idx="9844">
                  <c:v>2</c:v>
                </c:pt>
                <c:pt idx="9845">
                  <c:v>1</c:v>
                </c:pt>
                <c:pt idx="9846">
                  <c:v>2</c:v>
                </c:pt>
                <c:pt idx="9847">
                  <c:v>18</c:v>
                </c:pt>
                <c:pt idx="9848">
                  <c:v>2</c:v>
                </c:pt>
                <c:pt idx="9849">
                  <c:v>1</c:v>
                </c:pt>
                <c:pt idx="9850">
                  <c:v>2</c:v>
                </c:pt>
                <c:pt idx="9851">
                  <c:v>2</c:v>
                </c:pt>
                <c:pt idx="9852">
                  <c:v>1</c:v>
                </c:pt>
                <c:pt idx="9853">
                  <c:v>1</c:v>
                </c:pt>
                <c:pt idx="9854">
                  <c:v>1</c:v>
                </c:pt>
                <c:pt idx="9855">
                  <c:v>1</c:v>
                </c:pt>
                <c:pt idx="9856">
                  <c:v>6</c:v>
                </c:pt>
                <c:pt idx="9857">
                  <c:v>18</c:v>
                </c:pt>
                <c:pt idx="9858">
                  <c:v>39</c:v>
                </c:pt>
                <c:pt idx="9859">
                  <c:v>19</c:v>
                </c:pt>
                <c:pt idx="9860">
                  <c:v>12</c:v>
                </c:pt>
                <c:pt idx="9861">
                  <c:v>11</c:v>
                </c:pt>
                <c:pt idx="9862">
                  <c:v>4</c:v>
                </c:pt>
                <c:pt idx="9863">
                  <c:v>2</c:v>
                </c:pt>
                <c:pt idx="9864">
                  <c:v>3</c:v>
                </c:pt>
                <c:pt idx="9865">
                  <c:v>1</c:v>
                </c:pt>
                <c:pt idx="9866">
                  <c:v>2</c:v>
                </c:pt>
                <c:pt idx="9867">
                  <c:v>1</c:v>
                </c:pt>
                <c:pt idx="9868">
                  <c:v>2</c:v>
                </c:pt>
                <c:pt idx="9869">
                  <c:v>2</c:v>
                </c:pt>
                <c:pt idx="9870">
                  <c:v>0</c:v>
                </c:pt>
                <c:pt idx="9871">
                  <c:v>1</c:v>
                </c:pt>
                <c:pt idx="9872">
                  <c:v>1</c:v>
                </c:pt>
                <c:pt idx="9873">
                  <c:v>0</c:v>
                </c:pt>
                <c:pt idx="9874">
                  <c:v>1</c:v>
                </c:pt>
                <c:pt idx="9875">
                  <c:v>0</c:v>
                </c:pt>
                <c:pt idx="9876">
                  <c:v>0</c:v>
                </c:pt>
                <c:pt idx="9877">
                  <c:v>3</c:v>
                </c:pt>
                <c:pt idx="9878">
                  <c:v>1</c:v>
                </c:pt>
                <c:pt idx="9879">
                  <c:v>1</c:v>
                </c:pt>
                <c:pt idx="9880">
                  <c:v>25</c:v>
                </c:pt>
                <c:pt idx="9881">
                  <c:v>11</c:v>
                </c:pt>
                <c:pt idx="9882">
                  <c:v>3</c:v>
                </c:pt>
                <c:pt idx="9883">
                  <c:v>6</c:v>
                </c:pt>
                <c:pt idx="9884">
                  <c:v>2</c:v>
                </c:pt>
                <c:pt idx="9885">
                  <c:v>5</c:v>
                </c:pt>
                <c:pt idx="9886">
                  <c:v>8</c:v>
                </c:pt>
                <c:pt idx="9887">
                  <c:v>22</c:v>
                </c:pt>
                <c:pt idx="9888">
                  <c:v>17</c:v>
                </c:pt>
                <c:pt idx="9889">
                  <c:v>1</c:v>
                </c:pt>
                <c:pt idx="9890">
                  <c:v>9</c:v>
                </c:pt>
                <c:pt idx="9891">
                  <c:v>2</c:v>
                </c:pt>
                <c:pt idx="9892">
                  <c:v>0</c:v>
                </c:pt>
                <c:pt idx="9893">
                  <c:v>1</c:v>
                </c:pt>
                <c:pt idx="9894">
                  <c:v>4</c:v>
                </c:pt>
                <c:pt idx="9895">
                  <c:v>0</c:v>
                </c:pt>
                <c:pt idx="9896">
                  <c:v>2</c:v>
                </c:pt>
                <c:pt idx="9897">
                  <c:v>2</c:v>
                </c:pt>
                <c:pt idx="9898">
                  <c:v>0</c:v>
                </c:pt>
                <c:pt idx="9899">
                  <c:v>3</c:v>
                </c:pt>
                <c:pt idx="9900">
                  <c:v>0</c:v>
                </c:pt>
                <c:pt idx="9901">
                  <c:v>0</c:v>
                </c:pt>
                <c:pt idx="9902">
                  <c:v>0</c:v>
                </c:pt>
                <c:pt idx="9903">
                  <c:v>3</c:v>
                </c:pt>
                <c:pt idx="9904">
                  <c:v>1</c:v>
                </c:pt>
                <c:pt idx="9905">
                  <c:v>1</c:v>
                </c:pt>
                <c:pt idx="9906">
                  <c:v>1</c:v>
                </c:pt>
                <c:pt idx="9907">
                  <c:v>0</c:v>
                </c:pt>
                <c:pt idx="9908">
                  <c:v>1</c:v>
                </c:pt>
                <c:pt idx="9909">
                  <c:v>630</c:v>
                </c:pt>
                <c:pt idx="9910">
                  <c:v>9</c:v>
                </c:pt>
                <c:pt idx="9911">
                  <c:v>3</c:v>
                </c:pt>
                <c:pt idx="9912">
                  <c:v>7</c:v>
                </c:pt>
                <c:pt idx="9913">
                  <c:v>1</c:v>
                </c:pt>
                <c:pt idx="9914">
                  <c:v>0</c:v>
                </c:pt>
                <c:pt idx="9915">
                  <c:v>2</c:v>
                </c:pt>
                <c:pt idx="9916">
                  <c:v>1</c:v>
                </c:pt>
                <c:pt idx="9917">
                  <c:v>0</c:v>
                </c:pt>
                <c:pt idx="9918">
                  <c:v>0</c:v>
                </c:pt>
                <c:pt idx="9919">
                  <c:v>1</c:v>
                </c:pt>
                <c:pt idx="9920">
                  <c:v>12</c:v>
                </c:pt>
                <c:pt idx="9921">
                  <c:v>1</c:v>
                </c:pt>
                <c:pt idx="9922">
                  <c:v>0</c:v>
                </c:pt>
                <c:pt idx="9923">
                  <c:v>272</c:v>
                </c:pt>
                <c:pt idx="9924">
                  <c:v>0</c:v>
                </c:pt>
                <c:pt idx="9925">
                  <c:v>124</c:v>
                </c:pt>
                <c:pt idx="9926">
                  <c:v>127</c:v>
                </c:pt>
                <c:pt idx="9927">
                  <c:v>79</c:v>
                </c:pt>
                <c:pt idx="9928">
                  <c:v>75</c:v>
                </c:pt>
                <c:pt idx="9929">
                  <c:v>19</c:v>
                </c:pt>
                <c:pt idx="9930">
                  <c:v>41</c:v>
                </c:pt>
                <c:pt idx="9931">
                  <c:v>19</c:v>
                </c:pt>
                <c:pt idx="9932">
                  <c:v>56</c:v>
                </c:pt>
                <c:pt idx="9933">
                  <c:v>21</c:v>
                </c:pt>
                <c:pt idx="9934">
                  <c:v>59</c:v>
                </c:pt>
                <c:pt idx="9935">
                  <c:v>106</c:v>
                </c:pt>
                <c:pt idx="9936">
                  <c:v>101</c:v>
                </c:pt>
                <c:pt idx="9937">
                  <c:v>335</c:v>
                </c:pt>
                <c:pt idx="9938">
                  <c:v>3</c:v>
                </c:pt>
                <c:pt idx="9939">
                  <c:v>14</c:v>
                </c:pt>
                <c:pt idx="9940">
                  <c:v>81</c:v>
                </c:pt>
                <c:pt idx="9941">
                  <c:v>10</c:v>
                </c:pt>
                <c:pt idx="9942">
                  <c:v>15</c:v>
                </c:pt>
                <c:pt idx="9943">
                  <c:v>9</c:v>
                </c:pt>
                <c:pt idx="9944">
                  <c:v>42</c:v>
                </c:pt>
                <c:pt idx="9945">
                  <c:v>127</c:v>
                </c:pt>
                <c:pt idx="9946">
                  <c:v>50</c:v>
                </c:pt>
                <c:pt idx="9947">
                  <c:v>99</c:v>
                </c:pt>
                <c:pt idx="9948">
                  <c:v>40</c:v>
                </c:pt>
                <c:pt idx="9949">
                  <c:v>12</c:v>
                </c:pt>
                <c:pt idx="9950">
                  <c:v>122</c:v>
                </c:pt>
                <c:pt idx="9951">
                  <c:v>90</c:v>
                </c:pt>
                <c:pt idx="9952">
                  <c:v>33</c:v>
                </c:pt>
                <c:pt idx="9953">
                  <c:v>496</c:v>
                </c:pt>
                <c:pt idx="9954">
                  <c:v>224</c:v>
                </c:pt>
                <c:pt idx="9955">
                  <c:v>362</c:v>
                </c:pt>
                <c:pt idx="9956">
                  <c:v>219</c:v>
                </c:pt>
                <c:pt idx="9957">
                  <c:v>201</c:v>
                </c:pt>
                <c:pt idx="9958">
                  <c:v>276</c:v>
                </c:pt>
                <c:pt idx="9959">
                  <c:v>487</c:v>
                </c:pt>
                <c:pt idx="9960">
                  <c:v>270</c:v>
                </c:pt>
                <c:pt idx="9961">
                  <c:v>109</c:v>
                </c:pt>
                <c:pt idx="9962">
                  <c:v>217</c:v>
                </c:pt>
                <c:pt idx="9963">
                  <c:v>44</c:v>
                </c:pt>
                <c:pt idx="9964">
                  <c:v>72</c:v>
                </c:pt>
                <c:pt idx="9965">
                  <c:v>203</c:v>
                </c:pt>
                <c:pt idx="9966">
                  <c:v>17</c:v>
                </c:pt>
                <c:pt idx="9967">
                  <c:v>15</c:v>
                </c:pt>
                <c:pt idx="9968">
                  <c:v>125</c:v>
                </c:pt>
                <c:pt idx="9969">
                  <c:v>82</c:v>
                </c:pt>
                <c:pt idx="9970">
                  <c:v>143</c:v>
                </c:pt>
                <c:pt idx="9971">
                  <c:v>46</c:v>
                </c:pt>
                <c:pt idx="9972">
                  <c:v>18</c:v>
                </c:pt>
                <c:pt idx="9973">
                  <c:v>37</c:v>
                </c:pt>
                <c:pt idx="9974">
                  <c:v>10</c:v>
                </c:pt>
                <c:pt idx="9975">
                  <c:v>76</c:v>
                </c:pt>
                <c:pt idx="9976">
                  <c:v>56</c:v>
                </c:pt>
                <c:pt idx="9977">
                  <c:v>336</c:v>
                </c:pt>
                <c:pt idx="9978">
                  <c:v>37</c:v>
                </c:pt>
                <c:pt idx="9979">
                  <c:v>449</c:v>
                </c:pt>
                <c:pt idx="9980">
                  <c:v>17</c:v>
                </c:pt>
                <c:pt idx="9981">
                  <c:v>16</c:v>
                </c:pt>
                <c:pt idx="9982">
                  <c:v>18</c:v>
                </c:pt>
                <c:pt idx="9983">
                  <c:v>34</c:v>
                </c:pt>
                <c:pt idx="9984">
                  <c:v>70</c:v>
                </c:pt>
                <c:pt idx="9985">
                  <c:v>44</c:v>
                </c:pt>
                <c:pt idx="9986">
                  <c:v>75</c:v>
                </c:pt>
                <c:pt idx="9987">
                  <c:v>107</c:v>
                </c:pt>
                <c:pt idx="9988">
                  <c:v>32</c:v>
                </c:pt>
                <c:pt idx="9989">
                  <c:v>70</c:v>
                </c:pt>
                <c:pt idx="9990">
                  <c:v>96</c:v>
                </c:pt>
                <c:pt idx="9991">
                  <c:v>91</c:v>
                </c:pt>
                <c:pt idx="9992">
                  <c:v>55</c:v>
                </c:pt>
                <c:pt idx="9993">
                  <c:v>93</c:v>
                </c:pt>
                <c:pt idx="9994">
                  <c:v>27</c:v>
                </c:pt>
                <c:pt idx="9995">
                  <c:v>62</c:v>
                </c:pt>
                <c:pt idx="9996">
                  <c:v>87</c:v>
                </c:pt>
                <c:pt idx="9997">
                  <c:v>88</c:v>
                </c:pt>
                <c:pt idx="9998">
                  <c:v>86</c:v>
                </c:pt>
                <c:pt idx="9999">
                  <c:v>77</c:v>
                </c:pt>
                <c:pt idx="10000">
                  <c:v>19</c:v>
                </c:pt>
                <c:pt idx="10001">
                  <c:v>53</c:v>
                </c:pt>
                <c:pt idx="10002">
                  <c:v>16</c:v>
                </c:pt>
                <c:pt idx="10003">
                  <c:v>55</c:v>
                </c:pt>
                <c:pt idx="10004">
                  <c:v>335</c:v>
                </c:pt>
                <c:pt idx="10005">
                  <c:v>41</c:v>
                </c:pt>
                <c:pt idx="10006">
                  <c:v>82</c:v>
                </c:pt>
                <c:pt idx="10007">
                  <c:v>56</c:v>
                </c:pt>
                <c:pt idx="10008">
                  <c:v>117</c:v>
                </c:pt>
                <c:pt idx="10009">
                  <c:v>50</c:v>
                </c:pt>
                <c:pt idx="10010">
                  <c:v>41</c:v>
                </c:pt>
                <c:pt idx="10011">
                  <c:v>34</c:v>
                </c:pt>
                <c:pt idx="10012">
                  <c:v>392</c:v>
                </c:pt>
                <c:pt idx="10013">
                  <c:v>184</c:v>
                </c:pt>
                <c:pt idx="10014">
                  <c:v>140</c:v>
                </c:pt>
                <c:pt idx="10015">
                  <c:v>362</c:v>
                </c:pt>
                <c:pt idx="10016">
                  <c:v>80</c:v>
                </c:pt>
                <c:pt idx="10017">
                  <c:v>63</c:v>
                </c:pt>
                <c:pt idx="10018">
                  <c:v>48</c:v>
                </c:pt>
                <c:pt idx="10019">
                  <c:v>16</c:v>
                </c:pt>
                <c:pt idx="10020">
                  <c:v>30</c:v>
                </c:pt>
                <c:pt idx="10021">
                  <c:v>95</c:v>
                </c:pt>
                <c:pt idx="10022">
                  <c:v>148</c:v>
                </c:pt>
                <c:pt idx="10023">
                  <c:v>322</c:v>
                </c:pt>
                <c:pt idx="10024">
                  <c:v>137</c:v>
                </c:pt>
                <c:pt idx="10025">
                  <c:v>174</c:v>
                </c:pt>
                <c:pt idx="10026">
                  <c:v>34</c:v>
                </c:pt>
                <c:pt idx="10027">
                  <c:v>91</c:v>
                </c:pt>
                <c:pt idx="10028">
                  <c:v>38</c:v>
                </c:pt>
                <c:pt idx="10029">
                  <c:v>126</c:v>
                </c:pt>
                <c:pt idx="10030">
                  <c:v>24</c:v>
                </c:pt>
                <c:pt idx="10031">
                  <c:v>50</c:v>
                </c:pt>
                <c:pt idx="10032">
                  <c:v>57</c:v>
                </c:pt>
                <c:pt idx="10033">
                  <c:v>18</c:v>
                </c:pt>
                <c:pt idx="10034">
                  <c:v>46</c:v>
                </c:pt>
                <c:pt idx="10035">
                  <c:v>100</c:v>
                </c:pt>
                <c:pt idx="10036">
                  <c:v>42</c:v>
                </c:pt>
                <c:pt idx="10037">
                  <c:v>20</c:v>
                </c:pt>
                <c:pt idx="10038">
                  <c:v>92</c:v>
                </c:pt>
                <c:pt idx="10039">
                  <c:v>27</c:v>
                </c:pt>
                <c:pt idx="10040">
                  <c:v>48</c:v>
                </c:pt>
                <c:pt idx="10041">
                  <c:v>16</c:v>
                </c:pt>
                <c:pt idx="10042">
                  <c:v>2</c:v>
                </c:pt>
                <c:pt idx="10043">
                  <c:v>6</c:v>
                </c:pt>
                <c:pt idx="10044">
                  <c:v>1952</c:v>
                </c:pt>
                <c:pt idx="10045">
                  <c:v>902</c:v>
                </c:pt>
                <c:pt idx="10046">
                  <c:v>1724</c:v>
                </c:pt>
                <c:pt idx="10047">
                  <c:v>278</c:v>
                </c:pt>
                <c:pt idx="10048">
                  <c:v>2199</c:v>
                </c:pt>
                <c:pt idx="10049">
                  <c:v>344</c:v>
                </c:pt>
                <c:pt idx="10050">
                  <c:v>753</c:v>
                </c:pt>
                <c:pt idx="10051">
                  <c:v>657</c:v>
                </c:pt>
                <c:pt idx="10052">
                  <c:v>2441</c:v>
                </c:pt>
                <c:pt idx="10053">
                  <c:v>670</c:v>
                </c:pt>
                <c:pt idx="10054">
                  <c:v>301</c:v>
                </c:pt>
                <c:pt idx="10055">
                  <c:v>173</c:v>
                </c:pt>
                <c:pt idx="10056">
                  <c:v>598</c:v>
                </c:pt>
                <c:pt idx="10057">
                  <c:v>363</c:v>
                </c:pt>
                <c:pt idx="10058">
                  <c:v>873</c:v>
                </c:pt>
                <c:pt idx="10059">
                  <c:v>20</c:v>
                </c:pt>
                <c:pt idx="10060">
                  <c:v>135</c:v>
                </c:pt>
                <c:pt idx="10061">
                  <c:v>853</c:v>
                </c:pt>
                <c:pt idx="10062">
                  <c:v>257</c:v>
                </c:pt>
                <c:pt idx="10063">
                  <c:v>1473</c:v>
                </c:pt>
                <c:pt idx="10064">
                  <c:v>1121</c:v>
                </c:pt>
                <c:pt idx="10065">
                  <c:v>1273</c:v>
                </c:pt>
                <c:pt idx="10066">
                  <c:v>1217</c:v>
                </c:pt>
                <c:pt idx="10067">
                  <c:v>786</c:v>
                </c:pt>
                <c:pt idx="10068">
                  <c:v>967</c:v>
                </c:pt>
                <c:pt idx="10069">
                  <c:v>1091</c:v>
                </c:pt>
                <c:pt idx="10070">
                  <c:v>736</c:v>
                </c:pt>
                <c:pt idx="10071">
                  <c:v>556</c:v>
                </c:pt>
                <c:pt idx="10072">
                  <c:v>8</c:v>
                </c:pt>
                <c:pt idx="10073">
                  <c:v>853</c:v>
                </c:pt>
                <c:pt idx="10074">
                  <c:v>367</c:v>
                </c:pt>
                <c:pt idx="10075">
                  <c:v>180</c:v>
                </c:pt>
                <c:pt idx="10076">
                  <c:v>328</c:v>
                </c:pt>
                <c:pt idx="10077">
                  <c:v>645</c:v>
                </c:pt>
                <c:pt idx="10078">
                  <c:v>2197</c:v>
                </c:pt>
                <c:pt idx="10079">
                  <c:v>5</c:v>
                </c:pt>
                <c:pt idx="10080">
                  <c:v>412</c:v>
                </c:pt>
                <c:pt idx="10081">
                  <c:v>388</c:v>
                </c:pt>
                <c:pt idx="10082">
                  <c:v>1401</c:v>
                </c:pt>
                <c:pt idx="10083">
                  <c:v>6</c:v>
                </c:pt>
                <c:pt idx="10084">
                  <c:v>487</c:v>
                </c:pt>
                <c:pt idx="10085">
                  <c:v>1988</c:v>
                </c:pt>
                <c:pt idx="10086">
                  <c:v>386</c:v>
                </c:pt>
                <c:pt idx="10087">
                  <c:v>866</c:v>
                </c:pt>
                <c:pt idx="10088">
                  <c:v>294</c:v>
                </c:pt>
                <c:pt idx="10089">
                  <c:v>1473</c:v>
                </c:pt>
                <c:pt idx="10090">
                  <c:v>805</c:v>
                </c:pt>
                <c:pt idx="10091">
                  <c:v>102</c:v>
                </c:pt>
                <c:pt idx="10092">
                  <c:v>1507</c:v>
                </c:pt>
                <c:pt idx="10093">
                  <c:v>527</c:v>
                </c:pt>
                <c:pt idx="10094">
                  <c:v>266</c:v>
                </c:pt>
                <c:pt idx="10095">
                  <c:v>199</c:v>
                </c:pt>
                <c:pt idx="10096">
                  <c:v>1349</c:v>
                </c:pt>
                <c:pt idx="10097">
                  <c:v>921</c:v>
                </c:pt>
                <c:pt idx="10098">
                  <c:v>372</c:v>
                </c:pt>
                <c:pt idx="10099">
                  <c:v>1029</c:v>
                </c:pt>
                <c:pt idx="10100">
                  <c:v>765</c:v>
                </c:pt>
                <c:pt idx="10101">
                  <c:v>2333</c:v>
                </c:pt>
                <c:pt idx="10102">
                  <c:v>1705</c:v>
                </c:pt>
                <c:pt idx="10103">
                  <c:v>291</c:v>
                </c:pt>
                <c:pt idx="10104">
                  <c:v>358</c:v>
                </c:pt>
                <c:pt idx="10105">
                  <c:v>313</c:v>
                </c:pt>
                <c:pt idx="10106">
                  <c:v>609</c:v>
                </c:pt>
                <c:pt idx="10107">
                  <c:v>169</c:v>
                </c:pt>
                <c:pt idx="10108">
                  <c:v>483</c:v>
                </c:pt>
                <c:pt idx="10109">
                  <c:v>1303</c:v>
                </c:pt>
                <c:pt idx="10110">
                  <c:v>89</c:v>
                </c:pt>
                <c:pt idx="10111">
                  <c:v>837</c:v>
                </c:pt>
                <c:pt idx="10112">
                  <c:v>1373</c:v>
                </c:pt>
                <c:pt idx="10113">
                  <c:v>2576</c:v>
                </c:pt>
                <c:pt idx="10114">
                  <c:v>266</c:v>
                </c:pt>
                <c:pt idx="10115">
                  <c:v>332</c:v>
                </c:pt>
                <c:pt idx="10116">
                  <c:v>775</c:v>
                </c:pt>
                <c:pt idx="10117">
                  <c:v>255</c:v>
                </c:pt>
                <c:pt idx="10118">
                  <c:v>1558</c:v>
                </c:pt>
                <c:pt idx="10119">
                  <c:v>598</c:v>
                </c:pt>
                <c:pt idx="10120">
                  <c:v>1594</c:v>
                </c:pt>
                <c:pt idx="10121">
                  <c:v>104</c:v>
                </c:pt>
                <c:pt idx="10122">
                  <c:v>2089</c:v>
                </c:pt>
                <c:pt idx="10123">
                  <c:v>1175</c:v>
                </c:pt>
                <c:pt idx="10124">
                  <c:v>244</c:v>
                </c:pt>
                <c:pt idx="10125">
                  <c:v>275</c:v>
                </c:pt>
                <c:pt idx="10126">
                  <c:v>2098</c:v>
                </c:pt>
                <c:pt idx="10127">
                  <c:v>247</c:v>
                </c:pt>
                <c:pt idx="10128">
                  <c:v>1376</c:v>
                </c:pt>
                <c:pt idx="10129">
                  <c:v>585</c:v>
                </c:pt>
                <c:pt idx="10130">
                  <c:v>446</c:v>
                </c:pt>
                <c:pt idx="10131">
                  <c:v>437</c:v>
                </c:pt>
                <c:pt idx="10132">
                  <c:v>1741</c:v>
                </c:pt>
                <c:pt idx="10133">
                  <c:v>620</c:v>
                </c:pt>
                <c:pt idx="10134">
                  <c:v>289</c:v>
                </c:pt>
                <c:pt idx="10135">
                  <c:v>656</c:v>
                </c:pt>
                <c:pt idx="10136">
                  <c:v>377</c:v>
                </c:pt>
                <c:pt idx="10137">
                  <c:v>1850</c:v>
                </c:pt>
                <c:pt idx="10138">
                  <c:v>1149</c:v>
                </c:pt>
                <c:pt idx="10139">
                  <c:v>216</c:v>
                </c:pt>
                <c:pt idx="10140">
                  <c:v>541</c:v>
                </c:pt>
                <c:pt idx="10141">
                  <c:v>2255</c:v>
                </c:pt>
                <c:pt idx="10142">
                  <c:v>763</c:v>
                </c:pt>
                <c:pt idx="10143">
                  <c:v>410</c:v>
                </c:pt>
                <c:pt idx="10144">
                  <c:v>474</c:v>
                </c:pt>
                <c:pt idx="10145">
                  <c:v>957</c:v>
                </c:pt>
                <c:pt idx="10146">
                  <c:v>712</c:v>
                </c:pt>
                <c:pt idx="10147">
                  <c:v>231</c:v>
                </c:pt>
                <c:pt idx="10148">
                  <c:v>544</c:v>
                </c:pt>
                <c:pt idx="10149">
                  <c:v>275</c:v>
                </c:pt>
                <c:pt idx="10150">
                  <c:v>392</c:v>
                </c:pt>
                <c:pt idx="10151">
                  <c:v>253</c:v>
                </c:pt>
                <c:pt idx="10152">
                  <c:v>375</c:v>
                </c:pt>
                <c:pt idx="10153">
                  <c:v>174</c:v>
                </c:pt>
                <c:pt idx="10154">
                  <c:v>462</c:v>
                </c:pt>
                <c:pt idx="10155">
                  <c:v>221</c:v>
                </c:pt>
                <c:pt idx="10156">
                  <c:v>377</c:v>
                </c:pt>
                <c:pt idx="10157">
                  <c:v>181</c:v>
                </c:pt>
                <c:pt idx="10158">
                  <c:v>305</c:v>
                </c:pt>
                <c:pt idx="10159">
                  <c:v>207</c:v>
                </c:pt>
                <c:pt idx="10160">
                  <c:v>139</c:v>
                </c:pt>
                <c:pt idx="10161">
                  <c:v>75</c:v>
                </c:pt>
                <c:pt idx="10162">
                  <c:v>326</c:v>
                </c:pt>
                <c:pt idx="10163">
                  <c:v>129</c:v>
                </c:pt>
                <c:pt idx="10164">
                  <c:v>244</c:v>
                </c:pt>
                <c:pt idx="10165">
                  <c:v>162</c:v>
                </c:pt>
                <c:pt idx="10166">
                  <c:v>102</c:v>
                </c:pt>
                <c:pt idx="10167">
                  <c:v>234</c:v>
                </c:pt>
                <c:pt idx="10168">
                  <c:v>82</c:v>
                </c:pt>
                <c:pt idx="10169">
                  <c:v>1680</c:v>
                </c:pt>
                <c:pt idx="10170">
                  <c:v>65</c:v>
                </c:pt>
                <c:pt idx="10171">
                  <c:v>93</c:v>
                </c:pt>
                <c:pt idx="10172">
                  <c:v>128</c:v>
                </c:pt>
                <c:pt idx="10173">
                  <c:v>78</c:v>
                </c:pt>
                <c:pt idx="10174">
                  <c:v>178</c:v>
                </c:pt>
                <c:pt idx="10175">
                  <c:v>121</c:v>
                </c:pt>
                <c:pt idx="10176">
                  <c:v>175</c:v>
                </c:pt>
                <c:pt idx="10177">
                  <c:v>94</c:v>
                </c:pt>
                <c:pt idx="10178">
                  <c:v>129</c:v>
                </c:pt>
                <c:pt idx="10179">
                  <c:v>48</c:v>
                </c:pt>
                <c:pt idx="10180">
                  <c:v>125</c:v>
                </c:pt>
                <c:pt idx="10181">
                  <c:v>193</c:v>
                </c:pt>
                <c:pt idx="10182">
                  <c:v>101</c:v>
                </c:pt>
                <c:pt idx="10183">
                  <c:v>79</c:v>
                </c:pt>
                <c:pt idx="10184">
                  <c:v>101</c:v>
                </c:pt>
                <c:pt idx="10185">
                  <c:v>75</c:v>
                </c:pt>
                <c:pt idx="10186">
                  <c:v>131</c:v>
                </c:pt>
                <c:pt idx="10187">
                  <c:v>238</c:v>
                </c:pt>
                <c:pt idx="10188">
                  <c:v>93</c:v>
                </c:pt>
                <c:pt idx="10189">
                  <c:v>132</c:v>
                </c:pt>
                <c:pt idx="10190">
                  <c:v>60</c:v>
                </c:pt>
                <c:pt idx="10191">
                  <c:v>169</c:v>
                </c:pt>
                <c:pt idx="10192">
                  <c:v>65</c:v>
                </c:pt>
                <c:pt idx="10193">
                  <c:v>1556</c:v>
                </c:pt>
                <c:pt idx="10194">
                  <c:v>56</c:v>
                </c:pt>
                <c:pt idx="10195">
                  <c:v>73</c:v>
                </c:pt>
                <c:pt idx="10196">
                  <c:v>63</c:v>
                </c:pt>
                <c:pt idx="10197">
                  <c:v>74</c:v>
                </c:pt>
                <c:pt idx="10198">
                  <c:v>48</c:v>
                </c:pt>
                <c:pt idx="10199">
                  <c:v>122</c:v>
                </c:pt>
                <c:pt idx="10200">
                  <c:v>34</c:v>
                </c:pt>
                <c:pt idx="10201">
                  <c:v>164</c:v>
                </c:pt>
                <c:pt idx="10202">
                  <c:v>94</c:v>
                </c:pt>
                <c:pt idx="10203">
                  <c:v>5</c:v>
                </c:pt>
                <c:pt idx="10204">
                  <c:v>70</c:v>
                </c:pt>
                <c:pt idx="10205">
                  <c:v>68</c:v>
                </c:pt>
                <c:pt idx="10206">
                  <c:v>74</c:v>
                </c:pt>
                <c:pt idx="10207">
                  <c:v>74</c:v>
                </c:pt>
                <c:pt idx="10208">
                  <c:v>98</c:v>
                </c:pt>
                <c:pt idx="10209">
                  <c:v>74</c:v>
                </c:pt>
                <c:pt idx="10210">
                  <c:v>75</c:v>
                </c:pt>
                <c:pt idx="10211">
                  <c:v>131</c:v>
                </c:pt>
                <c:pt idx="10212">
                  <c:v>1541</c:v>
                </c:pt>
                <c:pt idx="10213">
                  <c:v>84</c:v>
                </c:pt>
                <c:pt idx="10214">
                  <c:v>84</c:v>
                </c:pt>
                <c:pt idx="10215">
                  <c:v>80</c:v>
                </c:pt>
                <c:pt idx="10216">
                  <c:v>1539</c:v>
                </c:pt>
                <c:pt idx="10217">
                  <c:v>39</c:v>
                </c:pt>
                <c:pt idx="10218">
                  <c:v>67</c:v>
                </c:pt>
                <c:pt idx="10219">
                  <c:v>54</c:v>
                </c:pt>
                <c:pt idx="10220">
                  <c:v>80</c:v>
                </c:pt>
                <c:pt idx="10221">
                  <c:v>75</c:v>
                </c:pt>
                <c:pt idx="10222">
                  <c:v>22</c:v>
                </c:pt>
                <c:pt idx="10223">
                  <c:v>113</c:v>
                </c:pt>
                <c:pt idx="10224">
                  <c:v>78</c:v>
                </c:pt>
                <c:pt idx="10225">
                  <c:v>17</c:v>
                </c:pt>
                <c:pt idx="10226">
                  <c:v>34</c:v>
                </c:pt>
                <c:pt idx="10227">
                  <c:v>56</c:v>
                </c:pt>
                <c:pt idx="10228">
                  <c:v>47</c:v>
                </c:pt>
                <c:pt idx="10229">
                  <c:v>15</c:v>
                </c:pt>
                <c:pt idx="10230">
                  <c:v>143</c:v>
                </c:pt>
                <c:pt idx="10231">
                  <c:v>28</c:v>
                </c:pt>
                <c:pt idx="10232">
                  <c:v>57</c:v>
                </c:pt>
                <c:pt idx="10233">
                  <c:v>36</c:v>
                </c:pt>
                <c:pt idx="10234">
                  <c:v>39</c:v>
                </c:pt>
                <c:pt idx="10235">
                  <c:v>18</c:v>
                </c:pt>
                <c:pt idx="10236">
                  <c:v>50</c:v>
                </c:pt>
                <c:pt idx="10237">
                  <c:v>71</c:v>
                </c:pt>
                <c:pt idx="10238">
                  <c:v>49</c:v>
                </c:pt>
                <c:pt idx="10239">
                  <c:v>59</c:v>
                </c:pt>
                <c:pt idx="10240">
                  <c:v>299</c:v>
                </c:pt>
                <c:pt idx="10241">
                  <c:v>707</c:v>
                </c:pt>
                <c:pt idx="10242">
                  <c:v>185</c:v>
                </c:pt>
                <c:pt idx="10243">
                  <c:v>486</c:v>
                </c:pt>
                <c:pt idx="10244">
                  <c:v>191</c:v>
                </c:pt>
                <c:pt idx="10245">
                  <c:v>55</c:v>
                </c:pt>
                <c:pt idx="10246">
                  <c:v>277</c:v>
                </c:pt>
                <c:pt idx="10247">
                  <c:v>527</c:v>
                </c:pt>
                <c:pt idx="10248">
                  <c:v>12</c:v>
                </c:pt>
                <c:pt idx="10249">
                  <c:v>81</c:v>
                </c:pt>
                <c:pt idx="10250">
                  <c:v>30</c:v>
                </c:pt>
                <c:pt idx="10251">
                  <c:v>108</c:v>
                </c:pt>
                <c:pt idx="10252">
                  <c:v>144</c:v>
                </c:pt>
                <c:pt idx="10253">
                  <c:v>156</c:v>
                </c:pt>
                <c:pt idx="10254">
                  <c:v>352</c:v>
                </c:pt>
                <c:pt idx="10255">
                  <c:v>402</c:v>
                </c:pt>
                <c:pt idx="10256">
                  <c:v>108</c:v>
                </c:pt>
                <c:pt idx="10257">
                  <c:v>73</c:v>
                </c:pt>
                <c:pt idx="10258">
                  <c:v>480</c:v>
                </c:pt>
                <c:pt idx="10259">
                  <c:v>434</c:v>
                </c:pt>
                <c:pt idx="10260">
                  <c:v>160</c:v>
                </c:pt>
                <c:pt idx="10261">
                  <c:v>72</c:v>
                </c:pt>
                <c:pt idx="10262">
                  <c:v>68</c:v>
                </c:pt>
                <c:pt idx="10263">
                  <c:v>737</c:v>
                </c:pt>
                <c:pt idx="10264">
                  <c:v>34</c:v>
                </c:pt>
                <c:pt idx="10265">
                  <c:v>591</c:v>
                </c:pt>
                <c:pt idx="10266">
                  <c:v>28</c:v>
                </c:pt>
                <c:pt idx="10267">
                  <c:v>313</c:v>
                </c:pt>
                <c:pt idx="10268">
                  <c:v>119</c:v>
                </c:pt>
                <c:pt idx="10269">
                  <c:v>15</c:v>
                </c:pt>
                <c:pt idx="10270">
                  <c:v>314</c:v>
                </c:pt>
                <c:pt idx="10271">
                  <c:v>58</c:v>
                </c:pt>
                <c:pt idx="10272">
                  <c:v>101</c:v>
                </c:pt>
                <c:pt idx="10273">
                  <c:v>153</c:v>
                </c:pt>
                <c:pt idx="10274">
                  <c:v>90</c:v>
                </c:pt>
                <c:pt idx="10275">
                  <c:v>739</c:v>
                </c:pt>
                <c:pt idx="10276">
                  <c:v>399</c:v>
                </c:pt>
                <c:pt idx="10277">
                  <c:v>114</c:v>
                </c:pt>
                <c:pt idx="10278">
                  <c:v>49</c:v>
                </c:pt>
                <c:pt idx="10279">
                  <c:v>195</c:v>
                </c:pt>
                <c:pt idx="10280">
                  <c:v>291</c:v>
                </c:pt>
                <c:pt idx="10281">
                  <c:v>173</c:v>
                </c:pt>
                <c:pt idx="10282">
                  <c:v>312</c:v>
                </c:pt>
                <c:pt idx="10283">
                  <c:v>402</c:v>
                </c:pt>
                <c:pt idx="10284">
                  <c:v>831</c:v>
                </c:pt>
                <c:pt idx="10285">
                  <c:v>99</c:v>
                </c:pt>
                <c:pt idx="10286">
                  <c:v>14</c:v>
                </c:pt>
                <c:pt idx="10287">
                  <c:v>644</c:v>
                </c:pt>
                <c:pt idx="10288">
                  <c:v>297</c:v>
                </c:pt>
                <c:pt idx="10289">
                  <c:v>248</c:v>
                </c:pt>
                <c:pt idx="10290">
                  <c:v>1147</c:v>
                </c:pt>
                <c:pt idx="10291">
                  <c:v>493</c:v>
                </c:pt>
                <c:pt idx="10292">
                  <c:v>62</c:v>
                </c:pt>
                <c:pt idx="10293">
                  <c:v>153</c:v>
                </c:pt>
                <c:pt idx="10294">
                  <c:v>187</c:v>
                </c:pt>
                <c:pt idx="10295">
                  <c:v>249</c:v>
                </c:pt>
                <c:pt idx="10296">
                  <c:v>662</c:v>
                </c:pt>
                <c:pt idx="10297">
                  <c:v>190</c:v>
                </c:pt>
                <c:pt idx="10298">
                  <c:v>232</c:v>
                </c:pt>
                <c:pt idx="10299">
                  <c:v>339</c:v>
                </c:pt>
                <c:pt idx="10300">
                  <c:v>107</c:v>
                </c:pt>
                <c:pt idx="10301">
                  <c:v>203</c:v>
                </c:pt>
                <c:pt idx="10302">
                  <c:v>34</c:v>
                </c:pt>
                <c:pt idx="10303">
                  <c:v>66</c:v>
                </c:pt>
                <c:pt idx="10304">
                  <c:v>351</c:v>
                </c:pt>
                <c:pt idx="10305">
                  <c:v>51</c:v>
                </c:pt>
                <c:pt idx="10306">
                  <c:v>51</c:v>
                </c:pt>
                <c:pt idx="10307">
                  <c:v>74</c:v>
                </c:pt>
                <c:pt idx="10308">
                  <c:v>343</c:v>
                </c:pt>
                <c:pt idx="10309">
                  <c:v>49</c:v>
                </c:pt>
                <c:pt idx="10310">
                  <c:v>507</c:v>
                </c:pt>
                <c:pt idx="10311">
                  <c:v>179</c:v>
                </c:pt>
                <c:pt idx="10312">
                  <c:v>767</c:v>
                </c:pt>
                <c:pt idx="10313">
                  <c:v>14</c:v>
                </c:pt>
                <c:pt idx="10314">
                  <c:v>111</c:v>
                </c:pt>
                <c:pt idx="10315">
                  <c:v>12</c:v>
                </c:pt>
                <c:pt idx="10316">
                  <c:v>230</c:v>
                </c:pt>
                <c:pt idx="10317">
                  <c:v>105</c:v>
                </c:pt>
                <c:pt idx="10318">
                  <c:v>88</c:v>
                </c:pt>
                <c:pt idx="10319">
                  <c:v>220</c:v>
                </c:pt>
                <c:pt idx="10320">
                  <c:v>84</c:v>
                </c:pt>
                <c:pt idx="10321">
                  <c:v>23</c:v>
                </c:pt>
                <c:pt idx="10322">
                  <c:v>17</c:v>
                </c:pt>
                <c:pt idx="10323">
                  <c:v>112</c:v>
                </c:pt>
                <c:pt idx="10324">
                  <c:v>118</c:v>
                </c:pt>
                <c:pt idx="10325">
                  <c:v>64</c:v>
                </c:pt>
                <c:pt idx="10326">
                  <c:v>1629</c:v>
                </c:pt>
                <c:pt idx="10327">
                  <c:v>1031</c:v>
                </c:pt>
                <c:pt idx="10328">
                  <c:v>1105</c:v>
                </c:pt>
                <c:pt idx="10329">
                  <c:v>1868</c:v>
                </c:pt>
                <c:pt idx="10330">
                  <c:v>499</c:v>
                </c:pt>
                <c:pt idx="10331">
                  <c:v>1609</c:v>
                </c:pt>
                <c:pt idx="10332">
                  <c:v>914</c:v>
                </c:pt>
                <c:pt idx="10333">
                  <c:v>1649</c:v>
                </c:pt>
                <c:pt idx="10334">
                  <c:v>1034</c:v>
                </c:pt>
                <c:pt idx="10335">
                  <c:v>872</c:v>
                </c:pt>
                <c:pt idx="10336">
                  <c:v>1117</c:v>
                </c:pt>
                <c:pt idx="10337">
                  <c:v>687</c:v>
                </c:pt>
                <c:pt idx="10338">
                  <c:v>1127</c:v>
                </c:pt>
                <c:pt idx="10339">
                  <c:v>808</c:v>
                </c:pt>
                <c:pt idx="10340">
                  <c:v>457</c:v>
                </c:pt>
                <c:pt idx="10341">
                  <c:v>929</c:v>
                </c:pt>
                <c:pt idx="10342">
                  <c:v>954</c:v>
                </c:pt>
                <c:pt idx="10343">
                  <c:v>496</c:v>
                </c:pt>
                <c:pt idx="10344">
                  <c:v>432</c:v>
                </c:pt>
                <c:pt idx="10345">
                  <c:v>711</c:v>
                </c:pt>
                <c:pt idx="10346">
                  <c:v>465</c:v>
                </c:pt>
                <c:pt idx="10347">
                  <c:v>1380</c:v>
                </c:pt>
                <c:pt idx="10348">
                  <c:v>549</c:v>
                </c:pt>
                <c:pt idx="10349">
                  <c:v>775</c:v>
                </c:pt>
                <c:pt idx="10350">
                  <c:v>568</c:v>
                </c:pt>
                <c:pt idx="10351">
                  <c:v>387</c:v>
                </c:pt>
                <c:pt idx="10352">
                  <c:v>535</c:v>
                </c:pt>
                <c:pt idx="10353">
                  <c:v>453</c:v>
                </c:pt>
                <c:pt idx="10354">
                  <c:v>524</c:v>
                </c:pt>
                <c:pt idx="10355">
                  <c:v>371</c:v>
                </c:pt>
                <c:pt idx="10356">
                  <c:v>639</c:v>
                </c:pt>
                <c:pt idx="10357">
                  <c:v>334</c:v>
                </c:pt>
                <c:pt idx="10358">
                  <c:v>300</c:v>
                </c:pt>
                <c:pt idx="10359">
                  <c:v>164</c:v>
                </c:pt>
                <c:pt idx="10360">
                  <c:v>646</c:v>
                </c:pt>
                <c:pt idx="10361">
                  <c:v>544</c:v>
                </c:pt>
                <c:pt idx="10362">
                  <c:v>729</c:v>
                </c:pt>
                <c:pt idx="10363">
                  <c:v>389</c:v>
                </c:pt>
                <c:pt idx="10364">
                  <c:v>365</c:v>
                </c:pt>
                <c:pt idx="10365">
                  <c:v>568</c:v>
                </c:pt>
                <c:pt idx="10366">
                  <c:v>395</c:v>
                </c:pt>
                <c:pt idx="10367">
                  <c:v>800</c:v>
                </c:pt>
                <c:pt idx="10368">
                  <c:v>544</c:v>
                </c:pt>
                <c:pt idx="10369">
                  <c:v>247</c:v>
                </c:pt>
                <c:pt idx="10370">
                  <c:v>413</c:v>
                </c:pt>
                <c:pt idx="10371">
                  <c:v>57</c:v>
                </c:pt>
                <c:pt idx="10372">
                  <c:v>504</c:v>
                </c:pt>
                <c:pt idx="10373">
                  <c:v>391</c:v>
                </c:pt>
                <c:pt idx="10374">
                  <c:v>237</c:v>
                </c:pt>
                <c:pt idx="10375">
                  <c:v>348</c:v>
                </c:pt>
                <c:pt idx="10376">
                  <c:v>513</c:v>
                </c:pt>
                <c:pt idx="10377">
                  <c:v>406</c:v>
                </c:pt>
                <c:pt idx="10378">
                  <c:v>365</c:v>
                </c:pt>
                <c:pt idx="10379">
                  <c:v>716</c:v>
                </c:pt>
                <c:pt idx="10380">
                  <c:v>367</c:v>
                </c:pt>
                <c:pt idx="10381">
                  <c:v>301</c:v>
                </c:pt>
                <c:pt idx="10382">
                  <c:v>409</c:v>
                </c:pt>
                <c:pt idx="10383">
                  <c:v>190</c:v>
                </c:pt>
                <c:pt idx="10384">
                  <c:v>412</c:v>
                </c:pt>
                <c:pt idx="10385">
                  <c:v>297</c:v>
                </c:pt>
                <c:pt idx="10386">
                  <c:v>357</c:v>
                </c:pt>
                <c:pt idx="10387">
                  <c:v>212</c:v>
                </c:pt>
                <c:pt idx="10388">
                  <c:v>531</c:v>
                </c:pt>
                <c:pt idx="10389">
                  <c:v>178</c:v>
                </c:pt>
                <c:pt idx="10390">
                  <c:v>297</c:v>
                </c:pt>
                <c:pt idx="10391">
                  <c:v>230</c:v>
                </c:pt>
                <c:pt idx="10392">
                  <c:v>439</c:v>
                </c:pt>
                <c:pt idx="10393">
                  <c:v>219</c:v>
                </c:pt>
                <c:pt idx="10394">
                  <c:v>185</c:v>
                </c:pt>
                <c:pt idx="10395">
                  <c:v>410</c:v>
                </c:pt>
                <c:pt idx="10396">
                  <c:v>273</c:v>
                </c:pt>
                <c:pt idx="10397">
                  <c:v>175</c:v>
                </c:pt>
                <c:pt idx="10398">
                  <c:v>505</c:v>
                </c:pt>
                <c:pt idx="10399">
                  <c:v>154</c:v>
                </c:pt>
                <c:pt idx="10400">
                  <c:v>167</c:v>
                </c:pt>
                <c:pt idx="10401">
                  <c:v>123</c:v>
                </c:pt>
                <c:pt idx="10402">
                  <c:v>295</c:v>
                </c:pt>
                <c:pt idx="10403">
                  <c:v>159</c:v>
                </c:pt>
                <c:pt idx="10404">
                  <c:v>235</c:v>
                </c:pt>
                <c:pt idx="10405">
                  <c:v>2</c:v>
                </c:pt>
                <c:pt idx="10406">
                  <c:v>66</c:v>
                </c:pt>
                <c:pt idx="10407">
                  <c:v>10</c:v>
                </c:pt>
                <c:pt idx="10408">
                  <c:v>56</c:v>
                </c:pt>
                <c:pt idx="10409">
                  <c:v>96</c:v>
                </c:pt>
                <c:pt idx="10410">
                  <c:v>16</c:v>
                </c:pt>
                <c:pt idx="10411">
                  <c:v>30</c:v>
                </c:pt>
                <c:pt idx="10412">
                  <c:v>88</c:v>
                </c:pt>
                <c:pt idx="10413">
                  <c:v>19</c:v>
                </c:pt>
                <c:pt idx="10414">
                  <c:v>48</c:v>
                </c:pt>
                <c:pt idx="10415">
                  <c:v>24</c:v>
                </c:pt>
                <c:pt idx="10416">
                  <c:v>21</c:v>
                </c:pt>
                <c:pt idx="10417">
                  <c:v>34</c:v>
                </c:pt>
                <c:pt idx="10418">
                  <c:v>43</c:v>
                </c:pt>
                <c:pt idx="10419">
                  <c:v>52</c:v>
                </c:pt>
                <c:pt idx="10420">
                  <c:v>9</c:v>
                </c:pt>
                <c:pt idx="10421">
                  <c:v>33</c:v>
                </c:pt>
                <c:pt idx="10422">
                  <c:v>52</c:v>
                </c:pt>
                <c:pt idx="10423">
                  <c:v>18</c:v>
                </c:pt>
                <c:pt idx="10424">
                  <c:v>34</c:v>
                </c:pt>
                <c:pt idx="10425">
                  <c:v>3</c:v>
                </c:pt>
                <c:pt idx="10426">
                  <c:v>11</c:v>
                </c:pt>
                <c:pt idx="10427">
                  <c:v>11</c:v>
                </c:pt>
                <c:pt idx="10428">
                  <c:v>8</c:v>
                </c:pt>
                <c:pt idx="10429">
                  <c:v>11</c:v>
                </c:pt>
                <c:pt idx="10430">
                  <c:v>26</c:v>
                </c:pt>
                <c:pt idx="10431">
                  <c:v>26</c:v>
                </c:pt>
                <c:pt idx="10432">
                  <c:v>10</c:v>
                </c:pt>
                <c:pt idx="10433">
                  <c:v>26</c:v>
                </c:pt>
                <c:pt idx="10434">
                  <c:v>16</c:v>
                </c:pt>
                <c:pt idx="10435">
                  <c:v>16</c:v>
                </c:pt>
                <c:pt idx="10436">
                  <c:v>3</c:v>
                </c:pt>
                <c:pt idx="10437">
                  <c:v>17</c:v>
                </c:pt>
                <c:pt idx="10438">
                  <c:v>17</c:v>
                </c:pt>
                <c:pt idx="10439">
                  <c:v>27</c:v>
                </c:pt>
                <c:pt idx="10440">
                  <c:v>13</c:v>
                </c:pt>
                <c:pt idx="10441">
                  <c:v>8</c:v>
                </c:pt>
                <c:pt idx="10442">
                  <c:v>21</c:v>
                </c:pt>
                <c:pt idx="10443">
                  <c:v>26</c:v>
                </c:pt>
                <c:pt idx="10444">
                  <c:v>10</c:v>
                </c:pt>
                <c:pt idx="10445">
                  <c:v>11</c:v>
                </c:pt>
                <c:pt idx="10446">
                  <c:v>2</c:v>
                </c:pt>
                <c:pt idx="10447">
                  <c:v>4</c:v>
                </c:pt>
                <c:pt idx="10448">
                  <c:v>20</c:v>
                </c:pt>
                <c:pt idx="10449">
                  <c:v>5</c:v>
                </c:pt>
                <c:pt idx="10450">
                  <c:v>16</c:v>
                </c:pt>
                <c:pt idx="10451">
                  <c:v>17</c:v>
                </c:pt>
                <c:pt idx="10452">
                  <c:v>2</c:v>
                </c:pt>
                <c:pt idx="10453">
                  <c:v>0</c:v>
                </c:pt>
                <c:pt idx="10454">
                  <c:v>2</c:v>
                </c:pt>
                <c:pt idx="10455">
                  <c:v>12</c:v>
                </c:pt>
                <c:pt idx="10456">
                  <c:v>6</c:v>
                </c:pt>
                <c:pt idx="10457">
                  <c:v>23</c:v>
                </c:pt>
                <c:pt idx="10458">
                  <c:v>0</c:v>
                </c:pt>
                <c:pt idx="10459">
                  <c:v>1</c:v>
                </c:pt>
                <c:pt idx="10460">
                  <c:v>41</c:v>
                </c:pt>
                <c:pt idx="10461">
                  <c:v>1</c:v>
                </c:pt>
                <c:pt idx="10462">
                  <c:v>3</c:v>
                </c:pt>
                <c:pt idx="10463">
                  <c:v>5</c:v>
                </c:pt>
                <c:pt idx="10464">
                  <c:v>10</c:v>
                </c:pt>
                <c:pt idx="10465">
                  <c:v>20</c:v>
                </c:pt>
                <c:pt idx="10466">
                  <c:v>7</c:v>
                </c:pt>
                <c:pt idx="10467">
                  <c:v>4</c:v>
                </c:pt>
                <c:pt idx="10468">
                  <c:v>6</c:v>
                </c:pt>
                <c:pt idx="10469">
                  <c:v>12</c:v>
                </c:pt>
                <c:pt idx="10470">
                  <c:v>5</c:v>
                </c:pt>
                <c:pt idx="10471">
                  <c:v>3</c:v>
                </c:pt>
                <c:pt idx="10472">
                  <c:v>9</c:v>
                </c:pt>
                <c:pt idx="10473">
                  <c:v>7</c:v>
                </c:pt>
                <c:pt idx="10474">
                  <c:v>2</c:v>
                </c:pt>
                <c:pt idx="10475">
                  <c:v>0</c:v>
                </c:pt>
                <c:pt idx="10476">
                  <c:v>0</c:v>
                </c:pt>
                <c:pt idx="10477">
                  <c:v>10</c:v>
                </c:pt>
                <c:pt idx="10478">
                  <c:v>4</c:v>
                </c:pt>
                <c:pt idx="10479">
                  <c:v>3</c:v>
                </c:pt>
                <c:pt idx="10480">
                  <c:v>14</c:v>
                </c:pt>
                <c:pt idx="10481">
                  <c:v>3</c:v>
                </c:pt>
                <c:pt idx="10482">
                  <c:v>9</c:v>
                </c:pt>
                <c:pt idx="10483">
                  <c:v>2</c:v>
                </c:pt>
                <c:pt idx="10484">
                  <c:v>4</c:v>
                </c:pt>
                <c:pt idx="10485">
                  <c:v>1</c:v>
                </c:pt>
                <c:pt idx="10486">
                  <c:v>8</c:v>
                </c:pt>
                <c:pt idx="10487">
                  <c:v>5</c:v>
                </c:pt>
                <c:pt idx="10488">
                  <c:v>3</c:v>
                </c:pt>
                <c:pt idx="10489">
                  <c:v>5</c:v>
                </c:pt>
                <c:pt idx="10490">
                  <c:v>1</c:v>
                </c:pt>
                <c:pt idx="10491">
                  <c:v>3</c:v>
                </c:pt>
                <c:pt idx="10492">
                  <c:v>2</c:v>
                </c:pt>
                <c:pt idx="10493">
                  <c:v>1</c:v>
                </c:pt>
                <c:pt idx="10494">
                  <c:v>9</c:v>
                </c:pt>
                <c:pt idx="10495">
                  <c:v>7</c:v>
                </c:pt>
                <c:pt idx="10496">
                  <c:v>6</c:v>
                </c:pt>
                <c:pt idx="10497">
                  <c:v>1</c:v>
                </c:pt>
                <c:pt idx="10498">
                  <c:v>2</c:v>
                </c:pt>
                <c:pt idx="10499">
                  <c:v>0</c:v>
                </c:pt>
                <c:pt idx="10500">
                  <c:v>6</c:v>
                </c:pt>
                <c:pt idx="10501">
                  <c:v>9</c:v>
                </c:pt>
                <c:pt idx="10502">
                  <c:v>5</c:v>
                </c:pt>
                <c:pt idx="10503">
                  <c:v>8</c:v>
                </c:pt>
                <c:pt idx="10504">
                  <c:v>761</c:v>
                </c:pt>
                <c:pt idx="10505">
                  <c:v>1604</c:v>
                </c:pt>
                <c:pt idx="10506">
                  <c:v>1104</c:v>
                </c:pt>
                <c:pt idx="10507">
                  <c:v>1018</c:v>
                </c:pt>
                <c:pt idx="10508">
                  <c:v>1071</c:v>
                </c:pt>
                <c:pt idx="10509">
                  <c:v>735</c:v>
                </c:pt>
                <c:pt idx="10510">
                  <c:v>1164</c:v>
                </c:pt>
                <c:pt idx="10511">
                  <c:v>470</c:v>
                </c:pt>
                <c:pt idx="10512">
                  <c:v>705</c:v>
                </c:pt>
                <c:pt idx="10513">
                  <c:v>518</c:v>
                </c:pt>
                <c:pt idx="10514">
                  <c:v>518</c:v>
                </c:pt>
                <c:pt idx="10515">
                  <c:v>221</c:v>
                </c:pt>
                <c:pt idx="10516">
                  <c:v>682</c:v>
                </c:pt>
                <c:pt idx="10517">
                  <c:v>299</c:v>
                </c:pt>
                <c:pt idx="10518">
                  <c:v>221</c:v>
                </c:pt>
                <c:pt idx="10519">
                  <c:v>206</c:v>
                </c:pt>
                <c:pt idx="10520">
                  <c:v>279</c:v>
                </c:pt>
                <c:pt idx="10521">
                  <c:v>635</c:v>
                </c:pt>
                <c:pt idx="10522">
                  <c:v>318</c:v>
                </c:pt>
                <c:pt idx="10523">
                  <c:v>199</c:v>
                </c:pt>
                <c:pt idx="10524">
                  <c:v>320</c:v>
                </c:pt>
                <c:pt idx="10525">
                  <c:v>259</c:v>
                </c:pt>
                <c:pt idx="10526">
                  <c:v>241</c:v>
                </c:pt>
                <c:pt idx="10527">
                  <c:v>320</c:v>
                </c:pt>
                <c:pt idx="10528">
                  <c:v>579</c:v>
                </c:pt>
                <c:pt idx="10529">
                  <c:v>338</c:v>
                </c:pt>
                <c:pt idx="10530">
                  <c:v>154</c:v>
                </c:pt>
                <c:pt idx="10531">
                  <c:v>290</c:v>
                </c:pt>
                <c:pt idx="10532">
                  <c:v>300</c:v>
                </c:pt>
                <c:pt idx="10533">
                  <c:v>601</c:v>
                </c:pt>
                <c:pt idx="10534">
                  <c:v>145</c:v>
                </c:pt>
                <c:pt idx="10535">
                  <c:v>174</c:v>
                </c:pt>
                <c:pt idx="10536">
                  <c:v>196</c:v>
                </c:pt>
                <c:pt idx="10537">
                  <c:v>165</c:v>
                </c:pt>
                <c:pt idx="10538">
                  <c:v>429</c:v>
                </c:pt>
                <c:pt idx="10539">
                  <c:v>194</c:v>
                </c:pt>
                <c:pt idx="10540">
                  <c:v>179</c:v>
                </c:pt>
                <c:pt idx="10541">
                  <c:v>114</c:v>
                </c:pt>
                <c:pt idx="10542">
                  <c:v>236</c:v>
                </c:pt>
                <c:pt idx="10543">
                  <c:v>135</c:v>
                </c:pt>
                <c:pt idx="10544">
                  <c:v>154</c:v>
                </c:pt>
                <c:pt idx="10545">
                  <c:v>216</c:v>
                </c:pt>
                <c:pt idx="10546">
                  <c:v>176</c:v>
                </c:pt>
                <c:pt idx="10547">
                  <c:v>142</c:v>
                </c:pt>
                <c:pt idx="10548">
                  <c:v>203</c:v>
                </c:pt>
                <c:pt idx="10549">
                  <c:v>198</c:v>
                </c:pt>
                <c:pt idx="10550">
                  <c:v>127</c:v>
                </c:pt>
                <c:pt idx="10551">
                  <c:v>178</c:v>
                </c:pt>
                <c:pt idx="10552">
                  <c:v>187</c:v>
                </c:pt>
                <c:pt idx="10553">
                  <c:v>143</c:v>
                </c:pt>
                <c:pt idx="10554">
                  <c:v>151</c:v>
                </c:pt>
                <c:pt idx="10555">
                  <c:v>190</c:v>
                </c:pt>
                <c:pt idx="10556">
                  <c:v>121</c:v>
                </c:pt>
                <c:pt idx="10557">
                  <c:v>135</c:v>
                </c:pt>
                <c:pt idx="10558">
                  <c:v>55</c:v>
                </c:pt>
                <c:pt idx="10559">
                  <c:v>140</c:v>
                </c:pt>
                <c:pt idx="10560">
                  <c:v>188</c:v>
                </c:pt>
                <c:pt idx="10561">
                  <c:v>119</c:v>
                </c:pt>
                <c:pt idx="10562">
                  <c:v>107</c:v>
                </c:pt>
                <c:pt idx="10563">
                  <c:v>97</c:v>
                </c:pt>
                <c:pt idx="10564">
                  <c:v>138</c:v>
                </c:pt>
                <c:pt idx="10565">
                  <c:v>108</c:v>
                </c:pt>
                <c:pt idx="10566">
                  <c:v>117</c:v>
                </c:pt>
                <c:pt idx="10567">
                  <c:v>82</c:v>
                </c:pt>
                <c:pt idx="10568">
                  <c:v>85</c:v>
                </c:pt>
                <c:pt idx="10569">
                  <c:v>115</c:v>
                </c:pt>
                <c:pt idx="10570">
                  <c:v>84</c:v>
                </c:pt>
                <c:pt idx="10571">
                  <c:v>58</c:v>
                </c:pt>
                <c:pt idx="10572">
                  <c:v>224</c:v>
                </c:pt>
                <c:pt idx="10573">
                  <c:v>96</c:v>
                </c:pt>
                <c:pt idx="10574">
                  <c:v>69</c:v>
                </c:pt>
                <c:pt idx="10575">
                  <c:v>82</c:v>
                </c:pt>
                <c:pt idx="10576">
                  <c:v>66</c:v>
                </c:pt>
                <c:pt idx="10577">
                  <c:v>102</c:v>
                </c:pt>
                <c:pt idx="10578">
                  <c:v>95</c:v>
                </c:pt>
                <c:pt idx="10579">
                  <c:v>85</c:v>
                </c:pt>
                <c:pt idx="10580">
                  <c:v>215</c:v>
                </c:pt>
                <c:pt idx="10581">
                  <c:v>172</c:v>
                </c:pt>
                <c:pt idx="10582">
                  <c:v>178</c:v>
                </c:pt>
                <c:pt idx="10583">
                  <c:v>227</c:v>
                </c:pt>
                <c:pt idx="10584">
                  <c:v>349</c:v>
                </c:pt>
                <c:pt idx="10585">
                  <c:v>136</c:v>
                </c:pt>
                <c:pt idx="10586">
                  <c:v>244</c:v>
                </c:pt>
                <c:pt idx="10587">
                  <c:v>130</c:v>
                </c:pt>
                <c:pt idx="10588">
                  <c:v>130</c:v>
                </c:pt>
                <c:pt idx="10589">
                  <c:v>453</c:v>
                </c:pt>
                <c:pt idx="10590">
                  <c:v>87</c:v>
                </c:pt>
                <c:pt idx="10591">
                  <c:v>197</c:v>
                </c:pt>
                <c:pt idx="10592">
                  <c:v>240</c:v>
                </c:pt>
                <c:pt idx="10593">
                  <c:v>115</c:v>
                </c:pt>
                <c:pt idx="10594">
                  <c:v>134</c:v>
                </c:pt>
                <c:pt idx="10595">
                  <c:v>116</c:v>
                </c:pt>
                <c:pt idx="10596">
                  <c:v>155</c:v>
                </c:pt>
                <c:pt idx="10597">
                  <c:v>67</c:v>
                </c:pt>
                <c:pt idx="10598">
                  <c:v>86</c:v>
                </c:pt>
                <c:pt idx="10599">
                  <c:v>77</c:v>
                </c:pt>
                <c:pt idx="10600">
                  <c:v>139</c:v>
                </c:pt>
                <c:pt idx="10601">
                  <c:v>127</c:v>
                </c:pt>
                <c:pt idx="10602">
                  <c:v>81</c:v>
                </c:pt>
                <c:pt idx="10603">
                  <c:v>85</c:v>
                </c:pt>
                <c:pt idx="10604">
                  <c:v>124</c:v>
                </c:pt>
                <c:pt idx="10605">
                  <c:v>146</c:v>
                </c:pt>
                <c:pt idx="10606">
                  <c:v>114</c:v>
                </c:pt>
                <c:pt idx="10607">
                  <c:v>62</c:v>
                </c:pt>
                <c:pt idx="10608">
                  <c:v>95</c:v>
                </c:pt>
                <c:pt idx="10609">
                  <c:v>69</c:v>
                </c:pt>
                <c:pt idx="10610">
                  <c:v>108</c:v>
                </c:pt>
                <c:pt idx="10611">
                  <c:v>99</c:v>
                </c:pt>
                <c:pt idx="10612">
                  <c:v>221</c:v>
                </c:pt>
                <c:pt idx="10613">
                  <c:v>50</c:v>
                </c:pt>
                <c:pt idx="10614">
                  <c:v>118</c:v>
                </c:pt>
                <c:pt idx="10615">
                  <c:v>104</c:v>
                </c:pt>
                <c:pt idx="10616">
                  <c:v>192</c:v>
                </c:pt>
                <c:pt idx="10617">
                  <c:v>45</c:v>
                </c:pt>
                <c:pt idx="10618">
                  <c:v>34</c:v>
                </c:pt>
                <c:pt idx="10619">
                  <c:v>103</c:v>
                </c:pt>
                <c:pt idx="10620">
                  <c:v>69</c:v>
                </c:pt>
                <c:pt idx="10621">
                  <c:v>81</c:v>
                </c:pt>
                <c:pt idx="10622">
                  <c:v>164</c:v>
                </c:pt>
                <c:pt idx="10623">
                  <c:v>84</c:v>
                </c:pt>
                <c:pt idx="10624">
                  <c:v>48</c:v>
                </c:pt>
                <c:pt idx="10625">
                  <c:v>76</c:v>
                </c:pt>
                <c:pt idx="10626">
                  <c:v>14</c:v>
                </c:pt>
                <c:pt idx="10627">
                  <c:v>58</c:v>
                </c:pt>
                <c:pt idx="10628">
                  <c:v>72</c:v>
                </c:pt>
                <c:pt idx="10629">
                  <c:v>67</c:v>
                </c:pt>
                <c:pt idx="10630">
                  <c:v>55</c:v>
                </c:pt>
                <c:pt idx="10631">
                  <c:v>205</c:v>
                </c:pt>
                <c:pt idx="10632">
                  <c:v>55</c:v>
                </c:pt>
                <c:pt idx="10633">
                  <c:v>79</c:v>
                </c:pt>
                <c:pt idx="10634">
                  <c:v>63</c:v>
                </c:pt>
                <c:pt idx="10635">
                  <c:v>34</c:v>
                </c:pt>
                <c:pt idx="10636">
                  <c:v>31</c:v>
                </c:pt>
                <c:pt idx="10637">
                  <c:v>7</c:v>
                </c:pt>
                <c:pt idx="10638">
                  <c:v>44</c:v>
                </c:pt>
                <c:pt idx="10639">
                  <c:v>68</c:v>
                </c:pt>
                <c:pt idx="10640">
                  <c:v>50</c:v>
                </c:pt>
                <c:pt idx="10641">
                  <c:v>15</c:v>
                </c:pt>
                <c:pt idx="10642">
                  <c:v>183</c:v>
                </c:pt>
                <c:pt idx="10643">
                  <c:v>36</c:v>
                </c:pt>
                <c:pt idx="10644">
                  <c:v>102</c:v>
                </c:pt>
                <c:pt idx="10645">
                  <c:v>74</c:v>
                </c:pt>
                <c:pt idx="10646">
                  <c:v>228</c:v>
                </c:pt>
                <c:pt idx="10647">
                  <c:v>199</c:v>
                </c:pt>
                <c:pt idx="10648">
                  <c:v>49</c:v>
                </c:pt>
                <c:pt idx="10649">
                  <c:v>11</c:v>
                </c:pt>
                <c:pt idx="10650">
                  <c:v>69</c:v>
                </c:pt>
                <c:pt idx="10651">
                  <c:v>59</c:v>
                </c:pt>
                <c:pt idx="10652">
                  <c:v>35</c:v>
                </c:pt>
                <c:pt idx="10653">
                  <c:v>74</c:v>
                </c:pt>
                <c:pt idx="10654">
                  <c:v>12</c:v>
                </c:pt>
                <c:pt idx="10655">
                  <c:v>58</c:v>
                </c:pt>
                <c:pt idx="10656">
                  <c:v>65</c:v>
                </c:pt>
                <c:pt idx="10657">
                  <c:v>58</c:v>
                </c:pt>
                <c:pt idx="10658">
                  <c:v>27</c:v>
                </c:pt>
                <c:pt idx="10659">
                  <c:v>10</c:v>
                </c:pt>
                <c:pt idx="10660">
                  <c:v>40</c:v>
                </c:pt>
                <c:pt idx="10661">
                  <c:v>200</c:v>
                </c:pt>
                <c:pt idx="10662">
                  <c:v>23</c:v>
                </c:pt>
                <c:pt idx="10663">
                  <c:v>8</c:v>
                </c:pt>
                <c:pt idx="10664">
                  <c:v>60</c:v>
                </c:pt>
                <c:pt idx="10665">
                  <c:v>56</c:v>
                </c:pt>
                <c:pt idx="10666">
                  <c:v>66</c:v>
                </c:pt>
                <c:pt idx="10667">
                  <c:v>35</c:v>
                </c:pt>
                <c:pt idx="10668">
                  <c:v>52</c:v>
                </c:pt>
                <c:pt idx="10669">
                  <c:v>21</c:v>
                </c:pt>
                <c:pt idx="10670">
                  <c:v>15</c:v>
                </c:pt>
                <c:pt idx="10671">
                  <c:v>29</c:v>
                </c:pt>
                <c:pt idx="10672">
                  <c:v>41</c:v>
                </c:pt>
                <c:pt idx="10673">
                  <c:v>615</c:v>
                </c:pt>
                <c:pt idx="10674">
                  <c:v>517</c:v>
                </c:pt>
                <c:pt idx="10675">
                  <c:v>811</c:v>
                </c:pt>
                <c:pt idx="10676">
                  <c:v>1234</c:v>
                </c:pt>
                <c:pt idx="10677">
                  <c:v>781</c:v>
                </c:pt>
                <c:pt idx="10678">
                  <c:v>1103</c:v>
                </c:pt>
                <c:pt idx="10679">
                  <c:v>1532</c:v>
                </c:pt>
                <c:pt idx="10680">
                  <c:v>833</c:v>
                </c:pt>
                <c:pt idx="10681">
                  <c:v>1256</c:v>
                </c:pt>
                <c:pt idx="10682">
                  <c:v>830</c:v>
                </c:pt>
                <c:pt idx="10683">
                  <c:v>737</c:v>
                </c:pt>
                <c:pt idx="10684">
                  <c:v>177</c:v>
                </c:pt>
                <c:pt idx="10685">
                  <c:v>239</c:v>
                </c:pt>
                <c:pt idx="10686">
                  <c:v>331</c:v>
                </c:pt>
                <c:pt idx="10687">
                  <c:v>1477</c:v>
                </c:pt>
                <c:pt idx="10688">
                  <c:v>604</c:v>
                </c:pt>
                <c:pt idx="10689">
                  <c:v>556</c:v>
                </c:pt>
                <c:pt idx="10690">
                  <c:v>295</c:v>
                </c:pt>
                <c:pt idx="10691">
                  <c:v>176</c:v>
                </c:pt>
                <c:pt idx="10692">
                  <c:v>2017</c:v>
                </c:pt>
                <c:pt idx="10693">
                  <c:v>245</c:v>
                </c:pt>
                <c:pt idx="10694">
                  <c:v>448</c:v>
                </c:pt>
                <c:pt idx="10695">
                  <c:v>347</c:v>
                </c:pt>
                <c:pt idx="10696">
                  <c:v>796</c:v>
                </c:pt>
                <c:pt idx="10697">
                  <c:v>405</c:v>
                </c:pt>
                <c:pt idx="10698">
                  <c:v>625</c:v>
                </c:pt>
                <c:pt idx="10699">
                  <c:v>435</c:v>
                </c:pt>
                <c:pt idx="10700">
                  <c:v>314</c:v>
                </c:pt>
                <c:pt idx="10701">
                  <c:v>553</c:v>
                </c:pt>
                <c:pt idx="10702">
                  <c:v>202</c:v>
                </c:pt>
                <c:pt idx="10703">
                  <c:v>563</c:v>
                </c:pt>
                <c:pt idx="10704">
                  <c:v>289</c:v>
                </c:pt>
                <c:pt idx="10705">
                  <c:v>285</c:v>
                </c:pt>
                <c:pt idx="10706">
                  <c:v>332</c:v>
                </c:pt>
                <c:pt idx="10707">
                  <c:v>613</c:v>
                </c:pt>
                <c:pt idx="10708">
                  <c:v>527</c:v>
                </c:pt>
                <c:pt idx="10709">
                  <c:v>330</c:v>
                </c:pt>
                <c:pt idx="10710">
                  <c:v>549</c:v>
                </c:pt>
                <c:pt idx="10711">
                  <c:v>467</c:v>
                </c:pt>
                <c:pt idx="10712">
                  <c:v>314</c:v>
                </c:pt>
                <c:pt idx="10713">
                  <c:v>467</c:v>
                </c:pt>
                <c:pt idx="10714">
                  <c:v>201</c:v>
                </c:pt>
                <c:pt idx="10715">
                  <c:v>185</c:v>
                </c:pt>
                <c:pt idx="10716">
                  <c:v>818</c:v>
                </c:pt>
                <c:pt idx="10717">
                  <c:v>328</c:v>
                </c:pt>
                <c:pt idx="10718">
                  <c:v>268</c:v>
                </c:pt>
                <c:pt idx="10719">
                  <c:v>219</c:v>
                </c:pt>
                <c:pt idx="10720">
                  <c:v>261</c:v>
                </c:pt>
                <c:pt idx="10721">
                  <c:v>234</c:v>
                </c:pt>
                <c:pt idx="10722">
                  <c:v>321</c:v>
                </c:pt>
                <c:pt idx="10723">
                  <c:v>476</c:v>
                </c:pt>
                <c:pt idx="10724">
                  <c:v>390</c:v>
                </c:pt>
                <c:pt idx="10725">
                  <c:v>175</c:v>
                </c:pt>
                <c:pt idx="10726">
                  <c:v>227</c:v>
                </c:pt>
                <c:pt idx="10727">
                  <c:v>293</c:v>
                </c:pt>
                <c:pt idx="10728">
                  <c:v>307</c:v>
                </c:pt>
                <c:pt idx="10729">
                  <c:v>382</c:v>
                </c:pt>
                <c:pt idx="10730">
                  <c:v>388</c:v>
                </c:pt>
                <c:pt idx="10731">
                  <c:v>167</c:v>
                </c:pt>
                <c:pt idx="10732">
                  <c:v>247</c:v>
                </c:pt>
                <c:pt idx="10733">
                  <c:v>510</c:v>
                </c:pt>
                <c:pt idx="10734">
                  <c:v>355</c:v>
                </c:pt>
                <c:pt idx="10735">
                  <c:v>126</c:v>
                </c:pt>
                <c:pt idx="10736">
                  <c:v>262</c:v>
                </c:pt>
                <c:pt idx="10737">
                  <c:v>252</c:v>
                </c:pt>
                <c:pt idx="10738">
                  <c:v>265</c:v>
                </c:pt>
                <c:pt idx="10739">
                  <c:v>256</c:v>
                </c:pt>
                <c:pt idx="10740">
                  <c:v>87</c:v>
                </c:pt>
                <c:pt idx="10741">
                  <c:v>214</c:v>
                </c:pt>
                <c:pt idx="10742">
                  <c:v>428</c:v>
                </c:pt>
                <c:pt idx="10743">
                  <c:v>276</c:v>
                </c:pt>
                <c:pt idx="10744">
                  <c:v>572</c:v>
                </c:pt>
                <c:pt idx="10745">
                  <c:v>228</c:v>
                </c:pt>
                <c:pt idx="10746">
                  <c:v>110</c:v>
                </c:pt>
                <c:pt idx="10747">
                  <c:v>216</c:v>
                </c:pt>
                <c:pt idx="10748">
                  <c:v>68</c:v>
                </c:pt>
                <c:pt idx="10749">
                  <c:v>192</c:v>
                </c:pt>
                <c:pt idx="10750">
                  <c:v>232</c:v>
                </c:pt>
                <c:pt idx="10751">
                  <c:v>196</c:v>
                </c:pt>
                <c:pt idx="10752">
                  <c:v>14</c:v>
                </c:pt>
                <c:pt idx="10753">
                  <c:v>126</c:v>
                </c:pt>
                <c:pt idx="10754">
                  <c:v>299</c:v>
                </c:pt>
                <c:pt idx="10755">
                  <c:v>116</c:v>
                </c:pt>
                <c:pt idx="10756">
                  <c:v>138</c:v>
                </c:pt>
                <c:pt idx="10757">
                  <c:v>154</c:v>
                </c:pt>
                <c:pt idx="10758">
                  <c:v>80</c:v>
                </c:pt>
                <c:pt idx="10759">
                  <c:v>37</c:v>
                </c:pt>
                <c:pt idx="10760">
                  <c:v>180</c:v>
                </c:pt>
                <c:pt idx="10761">
                  <c:v>71</c:v>
                </c:pt>
                <c:pt idx="10762">
                  <c:v>30</c:v>
                </c:pt>
                <c:pt idx="10763">
                  <c:v>93</c:v>
                </c:pt>
                <c:pt idx="10764">
                  <c:v>70</c:v>
                </c:pt>
                <c:pt idx="10765">
                  <c:v>75</c:v>
                </c:pt>
                <c:pt idx="10766">
                  <c:v>37</c:v>
                </c:pt>
                <c:pt idx="10767">
                  <c:v>20</c:v>
                </c:pt>
                <c:pt idx="10768">
                  <c:v>46</c:v>
                </c:pt>
                <c:pt idx="10769">
                  <c:v>496</c:v>
                </c:pt>
                <c:pt idx="10770">
                  <c:v>207</c:v>
                </c:pt>
                <c:pt idx="10771">
                  <c:v>220</c:v>
                </c:pt>
                <c:pt idx="10772">
                  <c:v>129</c:v>
                </c:pt>
                <c:pt idx="10773">
                  <c:v>98</c:v>
                </c:pt>
                <c:pt idx="10774">
                  <c:v>127</c:v>
                </c:pt>
                <c:pt idx="10775">
                  <c:v>205</c:v>
                </c:pt>
                <c:pt idx="10776">
                  <c:v>178</c:v>
                </c:pt>
                <c:pt idx="10777">
                  <c:v>97</c:v>
                </c:pt>
                <c:pt idx="10778">
                  <c:v>62</c:v>
                </c:pt>
                <c:pt idx="10779">
                  <c:v>71</c:v>
                </c:pt>
                <c:pt idx="10780">
                  <c:v>52</c:v>
                </c:pt>
                <c:pt idx="10781">
                  <c:v>81</c:v>
                </c:pt>
                <c:pt idx="10782">
                  <c:v>99</c:v>
                </c:pt>
                <c:pt idx="10783">
                  <c:v>63</c:v>
                </c:pt>
                <c:pt idx="10784">
                  <c:v>95</c:v>
                </c:pt>
                <c:pt idx="10785">
                  <c:v>40</c:v>
                </c:pt>
                <c:pt idx="10786">
                  <c:v>70</c:v>
                </c:pt>
                <c:pt idx="10787">
                  <c:v>37</c:v>
                </c:pt>
                <c:pt idx="10788">
                  <c:v>58</c:v>
                </c:pt>
                <c:pt idx="10789">
                  <c:v>76</c:v>
                </c:pt>
                <c:pt idx="10790">
                  <c:v>44</c:v>
                </c:pt>
                <c:pt idx="10791">
                  <c:v>76</c:v>
                </c:pt>
                <c:pt idx="10792">
                  <c:v>58</c:v>
                </c:pt>
                <c:pt idx="10793">
                  <c:v>48</c:v>
                </c:pt>
                <c:pt idx="10794">
                  <c:v>54</c:v>
                </c:pt>
                <c:pt idx="10795">
                  <c:v>22</c:v>
                </c:pt>
                <c:pt idx="10796">
                  <c:v>40</c:v>
                </c:pt>
                <c:pt idx="10797">
                  <c:v>30</c:v>
                </c:pt>
                <c:pt idx="10798">
                  <c:v>18</c:v>
                </c:pt>
                <c:pt idx="10799">
                  <c:v>26</c:v>
                </c:pt>
                <c:pt idx="10800">
                  <c:v>9</c:v>
                </c:pt>
                <c:pt idx="10801">
                  <c:v>38</c:v>
                </c:pt>
                <c:pt idx="10802">
                  <c:v>6</c:v>
                </c:pt>
                <c:pt idx="10803">
                  <c:v>12</c:v>
                </c:pt>
                <c:pt idx="10804">
                  <c:v>20</c:v>
                </c:pt>
                <c:pt idx="10805">
                  <c:v>13</c:v>
                </c:pt>
                <c:pt idx="10806">
                  <c:v>19</c:v>
                </c:pt>
                <c:pt idx="10807">
                  <c:v>107</c:v>
                </c:pt>
                <c:pt idx="10808">
                  <c:v>10</c:v>
                </c:pt>
                <c:pt idx="10809">
                  <c:v>20</c:v>
                </c:pt>
                <c:pt idx="10810">
                  <c:v>6</c:v>
                </c:pt>
                <c:pt idx="10811">
                  <c:v>8</c:v>
                </c:pt>
                <c:pt idx="10812">
                  <c:v>31</c:v>
                </c:pt>
                <c:pt idx="10813">
                  <c:v>2</c:v>
                </c:pt>
                <c:pt idx="10814">
                  <c:v>16</c:v>
                </c:pt>
                <c:pt idx="10815">
                  <c:v>7</c:v>
                </c:pt>
                <c:pt idx="10816">
                  <c:v>11</c:v>
                </c:pt>
                <c:pt idx="10817">
                  <c:v>28</c:v>
                </c:pt>
                <c:pt idx="10818">
                  <c:v>4</c:v>
                </c:pt>
                <c:pt idx="10819">
                  <c:v>2</c:v>
                </c:pt>
                <c:pt idx="10820">
                  <c:v>0</c:v>
                </c:pt>
                <c:pt idx="10821">
                  <c:v>3</c:v>
                </c:pt>
                <c:pt idx="10822">
                  <c:v>8</c:v>
                </c:pt>
                <c:pt idx="10823">
                  <c:v>4</c:v>
                </c:pt>
                <c:pt idx="10824">
                  <c:v>6</c:v>
                </c:pt>
                <c:pt idx="10825">
                  <c:v>7</c:v>
                </c:pt>
                <c:pt idx="10826">
                  <c:v>7</c:v>
                </c:pt>
                <c:pt idx="10827">
                  <c:v>2</c:v>
                </c:pt>
                <c:pt idx="10828">
                  <c:v>2</c:v>
                </c:pt>
                <c:pt idx="10829">
                  <c:v>2</c:v>
                </c:pt>
                <c:pt idx="10830">
                  <c:v>1</c:v>
                </c:pt>
                <c:pt idx="10831">
                  <c:v>0</c:v>
                </c:pt>
                <c:pt idx="10832">
                  <c:v>3</c:v>
                </c:pt>
                <c:pt idx="10833">
                  <c:v>2</c:v>
                </c:pt>
                <c:pt idx="10834">
                  <c:v>2</c:v>
                </c:pt>
                <c:pt idx="10835">
                  <c:v>0</c:v>
                </c:pt>
                <c:pt idx="10836">
                  <c:v>2</c:v>
                </c:pt>
                <c:pt idx="10837">
                  <c:v>22</c:v>
                </c:pt>
                <c:pt idx="10838">
                  <c:v>0</c:v>
                </c:pt>
                <c:pt idx="10839">
                  <c:v>36</c:v>
                </c:pt>
                <c:pt idx="10840">
                  <c:v>1</c:v>
                </c:pt>
                <c:pt idx="10841">
                  <c:v>4</c:v>
                </c:pt>
                <c:pt idx="10842">
                  <c:v>1</c:v>
                </c:pt>
                <c:pt idx="10843">
                  <c:v>0</c:v>
                </c:pt>
                <c:pt idx="10844">
                  <c:v>0</c:v>
                </c:pt>
                <c:pt idx="10845">
                  <c:v>0</c:v>
                </c:pt>
                <c:pt idx="10846">
                  <c:v>0</c:v>
                </c:pt>
                <c:pt idx="10847">
                  <c:v>0</c:v>
                </c:pt>
                <c:pt idx="10848">
                  <c:v>0</c:v>
                </c:pt>
                <c:pt idx="10849">
                  <c:v>0</c:v>
                </c:pt>
                <c:pt idx="10850">
                  <c:v>0</c:v>
                </c:pt>
                <c:pt idx="10851">
                  <c:v>0</c:v>
                </c:pt>
                <c:pt idx="10852">
                  <c:v>0</c:v>
                </c:pt>
                <c:pt idx="10853">
                  <c:v>503</c:v>
                </c:pt>
                <c:pt idx="10854">
                  <c:v>412</c:v>
                </c:pt>
                <c:pt idx="10855">
                  <c:v>109</c:v>
                </c:pt>
                <c:pt idx="10856">
                  <c:v>983</c:v>
                </c:pt>
                <c:pt idx="10857">
                  <c:v>74</c:v>
                </c:pt>
                <c:pt idx="10858">
                  <c:v>52</c:v>
                </c:pt>
                <c:pt idx="10859">
                  <c:v>48</c:v>
                </c:pt>
                <c:pt idx="10860">
                  <c:v>40</c:v>
                </c:pt>
                <c:pt idx="10861">
                  <c:v>65</c:v>
                </c:pt>
                <c:pt idx="10862">
                  <c:v>42</c:v>
                </c:pt>
                <c:pt idx="10863">
                  <c:v>52</c:v>
                </c:pt>
                <c:pt idx="10864">
                  <c:v>23</c:v>
                </c:pt>
                <c:pt idx="10865">
                  <c:v>91</c:v>
                </c:pt>
                <c:pt idx="10866">
                  <c:v>12</c:v>
                </c:pt>
                <c:pt idx="10867">
                  <c:v>34</c:v>
                </c:pt>
                <c:pt idx="10868">
                  <c:v>24</c:v>
                </c:pt>
                <c:pt idx="10869">
                  <c:v>31</c:v>
                </c:pt>
                <c:pt idx="10870">
                  <c:v>30</c:v>
                </c:pt>
                <c:pt idx="10871">
                  <c:v>58</c:v>
                </c:pt>
                <c:pt idx="10872">
                  <c:v>17</c:v>
                </c:pt>
                <c:pt idx="10873">
                  <c:v>18</c:v>
                </c:pt>
                <c:pt idx="10874">
                  <c:v>14</c:v>
                </c:pt>
                <c:pt idx="10875">
                  <c:v>13</c:v>
                </c:pt>
                <c:pt idx="10876">
                  <c:v>48</c:v>
                </c:pt>
                <c:pt idx="10877">
                  <c:v>53</c:v>
                </c:pt>
                <c:pt idx="10878">
                  <c:v>13</c:v>
                </c:pt>
                <c:pt idx="10879">
                  <c:v>52</c:v>
                </c:pt>
                <c:pt idx="10880">
                  <c:v>17</c:v>
                </c:pt>
                <c:pt idx="10881">
                  <c:v>9</c:v>
                </c:pt>
                <c:pt idx="10882">
                  <c:v>36</c:v>
                </c:pt>
                <c:pt idx="10883">
                  <c:v>9</c:v>
                </c:pt>
                <c:pt idx="10884">
                  <c:v>15</c:v>
                </c:pt>
                <c:pt idx="10885">
                  <c:v>22</c:v>
                </c:pt>
                <c:pt idx="10886">
                  <c:v>32</c:v>
                </c:pt>
                <c:pt idx="10887">
                  <c:v>21</c:v>
                </c:pt>
                <c:pt idx="10888">
                  <c:v>5</c:v>
                </c:pt>
                <c:pt idx="10889">
                  <c:v>4</c:v>
                </c:pt>
                <c:pt idx="10890">
                  <c:v>6</c:v>
                </c:pt>
                <c:pt idx="10891">
                  <c:v>0</c:v>
                </c:pt>
                <c:pt idx="10892">
                  <c:v>478</c:v>
                </c:pt>
                <c:pt idx="10893">
                  <c:v>274</c:v>
                </c:pt>
                <c:pt idx="10894">
                  <c:v>340</c:v>
                </c:pt>
                <c:pt idx="10895">
                  <c:v>345</c:v>
                </c:pt>
                <c:pt idx="10896">
                  <c:v>84</c:v>
                </c:pt>
                <c:pt idx="10897">
                  <c:v>41</c:v>
                </c:pt>
                <c:pt idx="10898">
                  <c:v>111</c:v>
                </c:pt>
                <c:pt idx="10899">
                  <c:v>44</c:v>
                </c:pt>
                <c:pt idx="10900">
                  <c:v>43</c:v>
                </c:pt>
                <c:pt idx="10901">
                  <c:v>99</c:v>
                </c:pt>
                <c:pt idx="10902">
                  <c:v>42</c:v>
                </c:pt>
                <c:pt idx="10903">
                  <c:v>44</c:v>
                </c:pt>
                <c:pt idx="10904">
                  <c:v>54</c:v>
                </c:pt>
                <c:pt idx="10905">
                  <c:v>77</c:v>
                </c:pt>
                <c:pt idx="10906">
                  <c:v>13</c:v>
                </c:pt>
                <c:pt idx="10907">
                  <c:v>5</c:v>
                </c:pt>
                <c:pt idx="10908">
                  <c:v>18</c:v>
                </c:pt>
                <c:pt idx="10909">
                  <c:v>15</c:v>
                </c:pt>
                <c:pt idx="10910">
                  <c:v>7</c:v>
                </c:pt>
                <c:pt idx="10911">
                  <c:v>3</c:v>
                </c:pt>
                <c:pt idx="10912">
                  <c:v>3</c:v>
                </c:pt>
                <c:pt idx="10913">
                  <c:v>5</c:v>
                </c:pt>
                <c:pt idx="10914">
                  <c:v>5</c:v>
                </c:pt>
                <c:pt idx="10915">
                  <c:v>192</c:v>
                </c:pt>
                <c:pt idx="10916">
                  <c:v>263</c:v>
                </c:pt>
                <c:pt idx="10917">
                  <c:v>238</c:v>
                </c:pt>
                <c:pt idx="10918">
                  <c:v>206</c:v>
                </c:pt>
                <c:pt idx="10919">
                  <c:v>216</c:v>
                </c:pt>
                <c:pt idx="10920">
                  <c:v>297</c:v>
                </c:pt>
                <c:pt idx="10921">
                  <c:v>174</c:v>
                </c:pt>
                <c:pt idx="10922">
                  <c:v>71</c:v>
                </c:pt>
                <c:pt idx="10923">
                  <c:v>183</c:v>
                </c:pt>
                <c:pt idx="10924">
                  <c:v>186</c:v>
                </c:pt>
                <c:pt idx="10925">
                  <c:v>193</c:v>
                </c:pt>
                <c:pt idx="10926">
                  <c:v>117</c:v>
                </c:pt>
                <c:pt idx="10927">
                  <c:v>37</c:v>
                </c:pt>
                <c:pt idx="10928">
                  <c:v>374</c:v>
                </c:pt>
                <c:pt idx="10929">
                  <c:v>120</c:v>
                </c:pt>
                <c:pt idx="10930">
                  <c:v>127</c:v>
                </c:pt>
                <c:pt idx="10931">
                  <c:v>11</c:v>
                </c:pt>
                <c:pt idx="10932">
                  <c:v>165</c:v>
                </c:pt>
                <c:pt idx="10933">
                  <c:v>86</c:v>
                </c:pt>
                <c:pt idx="10934">
                  <c:v>109</c:v>
                </c:pt>
                <c:pt idx="10935">
                  <c:v>66</c:v>
                </c:pt>
                <c:pt idx="10936">
                  <c:v>75</c:v>
                </c:pt>
                <c:pt idx="10937">
                  <c:v>127</c:v>
                </c:pt>
                <c:pt idx="10938">
                  <c:v>92</c:v>
                </c:pt>
                <c:pt idx="10939">
                  <c:v>27</c:v>
                </c:pt>
                <c:pt idx="10940">
                  <c:v>105</c:v>
                </c:pt>
                <c:pt idx="10941">
                  <c:v>97</c:v>
                </c:pt>
                <c:pt idx="10942">
                  <c:v>98</c:v>
                </c:pt>
                <c:pt idx="10943">
                  <c:v>57</c:v>
                </c:pt>
                <c:pt idx="10944">
                  <c:v>75</c:v>
                </c:pt>
                <c:pt idx="10945">
                  <c:v>18</c:v>
                </c:pt>
                <c:pt idx="10946">
                  <c:v>68</c:v>
                </c:pt>
                <c:pt idx="10947">
                  <c:v>13</c:v>
                </c:pt>
                <c:pt idx="10948">
                  <c:v>83</c:v>
                </c:pt>
                <c:pt idx="10949">
                  <c:v>94</c:v>
                </c:pt>
                <c:pt idx="10950">
                  <c:v>84</c:v>
                </c:pt>
                <c:pt idx="10951">
                  <c:v>65</c:v>
                </c:pt>
                <c:pt idx="10952">
                  <c:v>94</c:v>
                </c:pt>
                <c:pt idx="10953">
                  <c:v>96</c:v>
                </c:pt>
                <c:pt idx="10954">
                  <c:v>28</c:v>
                </c:pt>
                <c:pt idx="10955">
                  <c:v>96</c:v>
                </c:pt>
                <c:pt idx="10956">
                  <c:v>15</c:v>
                </c:pt>
                <c:pt idx="10957">
                  <c:v>58</c:v>
                </c:pt>
                <c:pt idx="10958">
                  <c:v>41</c:v>
                </c:pt>
                <c:pt idx="10959">
                  <c:v>55</c:v>
                </c:pt>
                <c:pt idx="10960">
                  <c:v>35</c:v>
                </c:pt>
                <c:pt idx="10961">
                  <c:v>20</c:v>
                </c:pt>
                <c:pt idx="10962">
                  <c:v>40</c:v>
                </c:pt>
                <c:pt idx="10963">
                  <c:v>59</c:v>
                </c:pt>
                <c:pt idx="10964">
                  <c:v>67</c:v>
                </c:pt>
                <c:pt idx="10965">
                  <c:v>61</c:v>
                </c:pt>
                <c:pt idx="10966">
                  <c:v>44</c:v>
                </c:pt>
                <c:pt idx="10967">
                  <c:v>71</c:v>
                </c:pt>
                <c:pt idx="10968">
                  <c:v>32</c:v>
                </c:pt>
                <c:pt idx="10969">
                  <c:v>22</c:v>
                </c:pt>
                <c:pt idx="10970">
                  <c:v>65</c:v>
                </c:pt>
                <c:pt idx="10971">
                  <c:v>106</c:v>
                </c:pt>
                <c:pt idx="10972">
                  <c:v>37</c:v>
                </c:pt>
                <c:pt idx="10973">
                  <c:v>43</c:v>
                </c:pt>
                <c:pt idx="10974">
                  <c:v>67</c:v>
                </c:pt>
                <c:pt idx="10975">
                  <c:v>34</c:v>
                </c:pt>
                <c:pt idx="10976">
                  <c:v>86</c:v>
                </c:pt>
                <c:pt idx="10977">
                  <c:v>73</c:v>
                </c:pt>
                <c:pt idx="10978">
                  <c:v>39</c:v>
                </c:pt>
                <c:pt idx="10979">
                  <c:v>15</c:v>
                </c:pt>
                <c:pt idx="10980">
                  <c:v>37</c:v>
                </c:pt>
                <c:pt idx="10981">
                  <c:v>47</c:v>
                </c:pt>
                <c:pt idx="10982">
                  <c:v>37</c:v>
                </c:pt>
                <c:pt idx="10983">
                  <c:v>57</c:v>
                </c:pt>
                <c:pt idx="10984">
                  <c:v>45</c:v>
                </c:pt>
                <c:pt idx="10985">
                  <c:v>32</c:v>
                </c:pt>
                <c:pt idx="10986">
                  <c:v>24</c:v>
                </c:pt>
                <c:pt idx="10987">
                  <c:v>39</c:v>
                </c:pt>
                <c:pt idx="10988">
                  <c:v>28</c:v>
                </c:pt>
                <c:pt idx="10989">
                  <c:v>34</c:v>
                </c:pt>
                <c:pt idx="10990">
                  <c:v>18</c:v>
                </c:pt>
                <c:pt idx="10991">
                  <c:v>19</c:v>
                </c:pt>
                <c:pt idx="10992">
                  <c:v>12</c:v>
                </c:pt>
                <c:pt idx="10993">
                  <c:v>14</c:v>
                </c:pt>
                <c:pt idx="10994">
                  <c:v>18</c:v>
                </c:pt>
                <c:pt idx="10995">
                  <c:v>64</c:v>
                </c:pt>
                <c:pt idx="10996">
                  <c:v>76</c:v>
                </c:pt>
                <c:pt idx="10997">
                  <c:v>21</c:v>
                </c:pt>
                <c:pt idx="10998">
                  <c:v>32</c:v>
                </c:pt>
                <c:pt idx="10999">
                  <c:v>55</c:v>
                </c:pt>
                <c:pt idx="11000">
                  <c:v>85</c:v>
                </c:pt>
                <c:pt idx="11001">
                  <c:v>195</c:v>
                </c:pt>
                <c:pt idx="11002">
                  <c:v>28</c:v>
                </c:pt>
                <c:pt idx="11003">
                  <c:v>16</c:v>
                </c:pt>
                <c:pt idx="11004">
                  <c:v>32</c:v>
                </c:pt>
                <c:pt idx="11005">
                  <c:v>7</c:v>
                </c:pt>
                <c:pt idx="11006">
                  <c:v>57</c:v>
                </c:pt>
                <c:pt idx="11007">
                  <c:v>20</c:v>
                </c:pt>
                <c:pt idx="11008">
                  <c:v>22</c:v>
                </c:pt>
                <c:pt idx="11009">
                  <c:v>16</c:v>
                </c:pt>
                <c:pt idx="11010">
                  <c:v>29</c:v>
                </c:pt>
                <c:pt idx="11011">
                  <c:v>1212</c:v>
                </c:pt>
                <c:pt idx="11012">
                  <c:v>527</c:v>
                </c:pt>
                <c:pt idx="11013">
                  <c:v>352</c:v>
                </c:pt>
                <c:pt idx="11014">
                  <c:v>440</c:v>
                </c:pt>
                <c:pt idx="11015">
                  <c:v>239</c:v>
                </c:pt>
                <c:pt idx="11016">
                  <c:v>405</c:v>
                </c:pt>
                <c:pt idx="11017">
                  <c:v>645</c:v>
                </c:pt>
                <c:pt idx="11018">
                  <c:v>205</c:v>
                </c:pt>
                <c:pt idx="11019">
                  <c:v>856</c:v>
                </c:pt>
                <c:pt idx="11020">
                  <c:v>282</c:v>
                </c:pt>
                <c:pt idx="11021">
                  <c:v>251</c:v>
                </c:pt>
                <c:pt idx="11022">
                  <c:v>298</c:v>
                </c:pt>
                <c:pt idx="11023">
                  <c:v>187</c:v>
                </c:pt>
                <c:pt idx="11024">
                  <c:v>401</c:v>
                </c:pt>
                <c:pt idx="11025">
                  <c:v>37</c:v>
                </c:pt>
                <c:pt idx="11026">
                  <c:v>171</c:v>
                </c:pt>
                <c:pt idx="11027">
                  <c:v>286</c:v>
                </c:pt>
                <c:pt idx="11028">
                  <c:v>230</c:v>
                </c:pt>
                <c:pt idx="11029">
                  <c:v>1087</c:v>
                </c:pt>
                <c:pt idx="11030">
                  <c:v>168</c:v>
                </c:pt>
                <c:pt idx="11031">
                  <c:v>264</c:v>
                </c:pt>
                <c:pt idx="11032">
                  <c:v>50</c:v>
                </c:pt>
                <c:pt idx="11033">
                  <c:v>120</c:v>
                </c:pt>
                <c:pt idx="11034">
                  <c:v>114</c:v>
                </c:pt>
                <c:pt idx="11035">
                  <c:v>220</c:v>
                </c:pt>
                <c:pt idx="11036">
                  <c:v>217</c:v>
                </c:pt>
                <c:pt idx="11037">
                  <c:v>112</c:v>
                </c:pt>
                <c:pt idx="11038">
                  <c:v>74</c:v>
                </c:pt>
                <c:pt idx="11039">
                  <c:v>104</c:v>
                </c:pt>
                <c:pt idx="11040">
                  <c:v>160</c:v>
                </c:pt>
                <c:pt idx="11041">
                  <c:v>76</c:v>
                </c:pt>
                <c:pt idx="11042">
                  <c:v>72</c:v>
                </c:pt>
                <c:pt idx="11043">
                  <c:v>167</c:v>
                </c:pt>
                <c:pt idx="11044">
                  <c:v>439</c:v>
                </c:pt>
                <c:pt idx="11045">
                  <c:v>72</c:v>
                </c:pt>
                <c:pt idx="11046">
                  <c:v>134</c:v>
                </c:pt>
                <c:pt idx="11047">
                  <c:v>120</c:v>
                </c:pt>
                <c:pt idx="11048">
                  <c:v>141</c:v>
                </c:pt>
                <c:pt idx="11049">
                  <c:v>125</c:v>
                </c:pt>
                <c:pt idx="11050">
                  <c:v>108</c:v>
                </c:pt>
                <c:pt idx="11051">
                  <c:v>18</c:v>
                </c:pt>
                <c:pt idx="11052">
                  <c:v>79</c:v>
                </c:pt>
                <c:pt idx="11053">
                  <c:v>111</c:v>
                </c:pt>
                <c:pt idx="11054">
                  <c:v>57</c:v>
                </c:pt>
                <c:pt idx="11055">
                  <c:v>24</c:v>
                </c:pt>
                <c:pt idx="11056">
                  <c:v>81</c:v>
                </c:pt>
                <c:pt idx="11057">
                  <c:v>56</c:v>
                </c:pt>
                <c:pt idx="11058">
                  <c:v>66</c:v>
                </c:pt>
                <c:pt idx="11059">
                  <c:v>92</c:v>
                </c:pt>
                <c:pt idx="11060">
                  <c:v>42</c:v>
                </c:pt>
                <c:pt idx="11061">
                  <c:v>135</c:v>
                </c:pt>
                <c:pt idx="11062">
                  <c:v>42</c:v>
                </c:pt>
                <c:pt idx="11063">
                  <c:v>76</c:v>
                </c:pt>
                <c:pt idx="11064">
                  <c:v>29</c:v>
                </c:pt>
                <c:pt idx="11065">
                  <c:v>24</c:v>
                </c:pt>
                <c:pt idx="11066">
                  <c:v>9</c:v>
                </c:pt>
                <c:pt idx="11067">
                  <c:v>30</c:v>
                </c:pt>
                <c:pt idx="11068">
                  <c:v>59</c:v>
                </c:pt>
                <c:pt idx="11069">
                  <c:v>22</c:v>
                </c:pt>
                <c:pt idx="11070">
                  <c:v>30</c:v>
                </c:pt>
                <c:pt idx="11071">
                  <c:v>16</c:v>
                </c:pt>
                <c:pt idx="11072">
                  <c:v>59</c:v>
                </c:pt>
                <c:pt idx="11073">
                  <c:v>13</c:v>
                </c:pt>
                <c:pt idx="11074">
                  <c:v>12</c:v>
                </c:pt>
                <c:pt idx="11075">
                  <c:v>6</c:v>
                </c:pt>
                <c:pt idx="11076">
                  <c:v>24</c:v>
                </c:pt>
                <c:pt idx="11077">
                  <c:v>7</c:v>
                </c:pt>
                <c:pt idx="11078">
                  <c:v>5</c:v>
                </c:pt>
                <c:pt idx="11079">
                  <c:v>14</c:v>
                </c:pt>
                <c:pt idx="11080">
                  <c:v>33</c:v>
                </c:pt>
                <c:pt idx="11081">
                  <c:v>15</c:v>
                </c:pt>
                <c:pt idx="11082">
                  <c:v>12</c:v>
                </c:pt>
                <c:pt idx="11083">
                  <c:v>21</c:v>
                </c:pt>
                <c:pt idx="11084">
                  <c:v>8</c:v>
                </c:pt>
                <c:pt idx="11085">
                  <c:v>22</c:v>
                </c:pt>
                <c:pt idx="11086">
                  <c:v>28</c:v>
                </c:pt>
                <c:pt idx="11087">
                  <c:v>18</c:v>
                </c:pt>
                <c:pt idx="11088">
                  <c:v>7</c:v>
                </c:pt>
                <c:pt idx="11089">
                  <c:v>10</c:v>
                </c:pt>
                <c:pt idx="11090">
                  <c:v>259</c:v>
                </c:pt>
                <c:pt idx="11091">
                  <c:v>396</c:v>
                </c:pt>
                <c:pt idx="11092">
                  <c:v>160</c:v>
                </c:pt>
                <c:pt idx="11093">
                  <c:v>241</c:v>
                </c:pt>
                <c:pt idx="11094">
                  <c:v>130</c:v>
                </c:pt>
                <c:pt idx="11095">
                  <c:v>85</c:v>
                </c:pt>
                <c:pt idx="11096">
                  <c:v>247</c:v>
                </c:pt>
                <c:pt idx="11097">
                  <c:v>107</c:v>
                </c:pt>
                <c:pt idx="11098">
                  <c:v>10</c:v>
                </c:pt>
                <c:pt idx="11099">
                  <c:v>20</c:v>
                </c:pt>
                <c:pt idx="11100">
                  <c:v>57</c:v>
                </c:pt>
                <c:pt idx="11101">
                  <c:v>11</c:v>
                </c:pt>
                <c:pt idx="11102">
                  <c:v>2</c:v>
                </c:pt>
                <c:pt idx="11103">
                  <c:v>15</c:v>
                </c:pt>
                <c:pt idx="11104">
                  <c:v>51</c:v>
                </c:pt>
                <c:pt idx="11105">
                  <c:v>4</c:v>
                </c:pt>
                <c:pt idx="11106">
                  <c:v>27</c:v>
                </c:pt>
                <c:pt idx="11107">
                  <c:v>16</c:v>
                </c:pt>
                <c:pt idx="11108">
                  <c:v>8</c:v>
                </c:pt>
                <c:pt idx="11109">
                  <c:v>23</c:v>
                </c:pt>
                <c:pt idx="11110">
                  <c:v>4</c:v>
                </c:pt>
                <c:pt idx="11111">
                  <c:v>21</c:v>
                </c:pt>
                <c:pt idx="11112">
                  <c:v>31</c:v>
                </c:pt>
                <c:pt idx="11113">
                  <c:v>16</c:v>
                </c:pt>
                <c:pt idx="11114">
                  <c:v>3</c:v>
                </c:pt>
                <c:pt idx="11115">
                  <c:v>3</c:v>
                </c:pt>
                <c:pt idx="11116">
                  <c:v>15</c:v>
                </c:pt>
                <c:pt idx="11117">
                  <c:v>22</c:v>
                </c:pt>
                <c:pt idx="11118">
                  <c:v>8</c:v>
                </c:pt>
                <c:pt idx="11119">
                  <c:v>7</c:v>
                </c:pt>
                <c:pt idx="11120">
                  <c:v>47</c:v>
                </c:pt>
                <c:pt idx="11121">
                  <c:v>2</c:v>
                </c:pt>
                <c:pt idx="11122">
                  <c:v>9</c:v>
                </c:pt>
                <c:pt idx="11123">
                  <c:v>0</c:v>
                </c:pt>
                <c:pt idx="11124">
                  <c:v>5</c:v>
                </c:pt>
                <c:pt idx="11125">
                  <c:v>0</c:v>
                </c:pt>
                <c:pt idx="11126">
                  <c:v>9</c:v>
                </c:pt>
                <c:pt idx="11127">
                  <c:v>10</c:v>
                </c:pt>
                <c:pt idx="11128">
                  <c:v>2</c:v>
                </c:pt>
                <c:pt idx="11129">
                  <c:v>4</c:v>
                </c:pt>
                <c:pt idx="11130">
                  <c:v>0</c:v>
                </c:pt>
                <c:pt idx="11131">
                  <c:v>5</c:v>
                </c:pt>
                <c:pt idx="11132">
                  <c:v>4</c:v>
                </c:pt>
                <c:pt idx="11133">
                  <c:v>8</c:v>
                </c:pt>
                <c:pt idx="11134">
                  <c:v>13</c:v>
                </c:pt>
                <c:pt idx="11135">
                  <c:v>3</c:v>
                </c:pt>
                <c:pt idx="11136">
                  <c:v>1</c:v>
                </c:pt>
                <c:pt idx="11137">
                  <c:v>21</c:v>
                </c:pt>
                <c:pt idx="11138">
                  <c:v>0</c:v>
                </c:pt>
                <c:pt idx="11139">
                  <c:v>7</c:v>
                </c:pt>
                <c:pt idx="11140">
                  <c:v>3</c:v>
                </c:pt>
                <c:pt idx="11141">
                  <c:v>3</c:v>
                </c:pt>
                <c:pt idx="11142">
                  <c:v>16</c:v>
                </c:pt>
                <c:pt idx="11143">
                  <c:v>3</c:v>
                </c:pt>
                <c:pt idx="11144">
                  <c:v>5</c:v>
                </c:pt>
                <c:pt idx="11145">
                  <c:v>11</c:v>
                </c:pt>
                <c:pt idx="11146">
                  <c:v>3</c:v>
                </c:pt>
                <c:pt idx="11147">
                  <c:v>1</c:v>
                </c:pt>
                <c:pt idx="11148">
                  <c:v>8</c:v>
                </c:pt>
                <c:pt idx="11149">
                  <c:v>5</c:v>
                </c:pt>
                <c:pt idx="11150">
                  <c:v>10</c:v>
                </c:pt>
                <c:pt idx="11151">
                  <c:v>2</c:v>
                </c:pt>
                <c:pt idx="11152">
                  <c:v>1</c:v>
                </c:pt>
                <c:pt idx="11153">
                  <c:v>3</c:v>
                </c:pt>
                <c:pt idx="11154">
                  <c:v>2</c:v>
                </c:pt>
                <c:pt idx="11155">
                  <c:v>0</c:v>
                </c:pt>
                <c:pt idx="11156">
                  <c:v>11</c:v>
                </c:pt>
                <c:pt idx="11157">
                  <c:v>2</c:v>
                </c:pt>
                <c:pt idx="11158">
                  <c:v>3</c:v>
                </c:pt>
                <c:pt idx="11159">
                  <c:v>8</c:v>
                </c:pt>
                <c:pt idx="11160">
                  <c:v>4</c:v>
                </c:pt>
                <c:pt idx="11161">
                  <c:v>0</c:v>
                </c:pt>
                <c:pt idx="11162">
                  <c:v>2</c:v>
                </c:pt>
                <c:pt idx="11163">
                  <c:v>4</c:v>
                </c:pt>
                <c:pt idx="11164">
                  <c:v>0</c:v>
                </c:pt>
                <c:pt idx="11165">
                  <c:v>0</c:v>
                </c:pt>
                <c:pt idx="11166">
                  <c:v>0</c:v>
                </c:pt>
                <c:pt idx="11167">
                  <c:v>3</c:v>
                </c:pt>
                <c:pt idx="11168">
                  <c:v>0</c:v>
                </c:pt>
                <c:pt idx="11169">
                  <c:v>4</c:v>
                </c:pt>
                <c:pt idx="11170">
                  <c:v>3</c:v>
                </c:pt>
                <c:pt idx="11171">
                  <c:v>0</c:v>
                </c:pt>
                <c:pt idx="11172">
                  <c:v>3</c:v>
                </c:pt>
                <c:pt idx="11173">
                  <c:v>17</c:v>
                </c:pt>
                <c:pt idx="11174">
                  <c:v>0</c:v>
                </c:pt>
                <c:pt idx="11175">
                  <c:v>3</c:v>
                </c:pt>
                <c:pt idx="11176">
                  <c:v>0</c:v>
                </c:pt>
                <c:pt idx="11177">
                  <c:v>0</c:v>
                </c:pt>
                <c:pt idx="11178">
                  <c:v>0</c:v>
                </c:pt>
                <c:pt idx="11179">
                  <c:v>0</c:v>
                </c:pt>
                <c:pt idx="11180">
                  <c:v>0</c:v>
                </c:pt>
                <c:pt idx="11181">
                  <c:v>4</c:v>
                </c:pt>
                <c:pt idx="11182">
                  <c:v>0</c:v>
                </c:pt>
                <c:pt idx="11183">
                  <c:v>1</c:v>
                </c:pt>
                <c:pt idx="11184">
                  <c:v>2</c:v>
                </c:pt>
                <c:pt idx="11185">
                  <c:v>0</c:v>
                </c:pt>
                <c:pt idx="11186">
                  <c:v>1</c:v>
                </c:pt>
                <c:pt idx="11187">
                  <c:v>0</c:v>
                </c:pt>
                <c:pt idx="11188">
                  <c:v>3</c:v>
                </c:pt>
                <c:pt idx="11189">
                  <c:v>0</c:v>
                </c:pt>
                <c:pt idx="11190">
                  <c:v>25</c:v>
                </c:pt>
                <c:pt idx="11191">
                  <c:v>29</c:v>
                </c:pt>
                <c:pt idx="11192">
                  <c:v>91</c:v>
                </c:pt>
                <c:pt idx="11193">
                  <c:v>82</c:v>
                </c:pt>
                <c:pt idx="11194">
                  <c:v>16</c:v>
                </c:pt>
                <c:pt idx="11195">
                  <c:v>5</c:v>
                </c:pt>
                <c:pt idx="11196">
                  <c:v>8</c:v>
                </c:pt>
                <c:pt idx="11197">
                  <c:v>4</c:v>
                </c:pt>
                <c:pt idx="11198">
                  <c:v>3</c:v>
                </c:pt>
                <c:pt idx="11199">
                  <c:v>0</c:v>
                </c:pt>
                <c:pt idx="11200">
                  <c:v>0</c:v>
                </c:pt>
                <c:pt idx="11201">
                  <c:v>0</c:v>
                </c:pt>
                <c:pt idx="11202">
                  <c:v>0</c:v>
                </c:pt>
                <c:pt idx="11203">
                  <c:v>0</c:v>
                </c:pt>
                <c:pt idx="11204">
                  <c:v>58</c:v>
                </c:pt>
                <c:pt idx="11205">
                  <c:v>61</c:v>
                </c:pt>
                <c:pt idx="11206">
                  <c:v>31</c:v>
                </c:pt>
                <c:pt idx="11207">
                  <c:v>27</c:v>
                </c:pt>
                <c:pt idx="11208">
                  <c:v>13</c:v>
                </c:pt>
                <c:pt idx="11209">
                  <c:v>3</c:v>
                </c:pt>
                <c:pt idx="11210">
                  <c:v>4</c:v>
                </c:pt>
                <c:pt idx="11211">
                  <c:v>15</c:v>
                </c:pt>
                <c:pt idx="11212">
                  <c:v>14</c:v>
                </c:pt>
                <c:pt idx="11213">
                  <c:v>1</c:v>
                </c:pt>
                <c:pt idx="11214">
                  <c:v>6</c:v>
                </c:pt>
                <c:pt idx="11215">
                  <c:v>0</c:v>
                </c:pt>
                <c:pt idx="11216">
                  <c:v>2</c:v>
                </c:pt>
                <c:pt idx="11217">
                  <c:v>2</c:v>
                </c:pt>
                <c:pt idx="11218">
                  <c:v>0</c:v>
                </c:pt>
                <c:pt idx="11219">
                  <c:v>3</c:v>
                </c:pt>
                <c:pt idx="11220">
                  <c:v>1</c:v>
                </c:pt>
                <c:pt idx="11221">
                  <c:v>0</c:v>
                </c:pt>
                <c:pt idx="11222">
                  <c:v>0</c:v>
                </c:pt>
                <c:pt idx="11223">
                  <c:v>0</c:v>
                </c:pt>
                <c:pt idx="11224">
                  <c:v>78</c:v>
                </c:pt>
                <c:pt idx="11225">
                  <c:v>36</c:v>
                </c:pt>
                <c:pt idx="11226">
                  <c:v>3</c:v>
                </c:pt>
                <c:pt idx="11227">
                  <c:v>0</c:v>
                </c:pt>
                <c:pt idx="11228">
                  <c:v>4</c:v>
                </c:pt>
                <c:pt idx="11229">
                  <c:v>0</c:v>
                </c:pt>
                <c:pt idx="11230">
                  <c:v>0</c:v>
                </c:pt>
                <c:pt idx="11231">
                  <c:v>0</c:v>
                </c:pt>
                <c:pt idx="11232">
                  <c:v>0</c:v>
                </c:pt>
                <c:pt idx="11233">
                  <c:v>9</c:v>
                </c:pt>
                <c:pt idx="11234">
                  <c:v>6</c:v>
                </c:pt>
                <c:pt idx="11235">
                  <c:v>0</c:v>
                </c:pt>
                <c:pt idx="11236">
                  <c:v>3</c:v>
                </c:pt>
                <c:pt idx="11237">
                  <c:v>23</c:v>
                </c:pt>
                <c:pt idx="11238">
                  <c:v>23</c:v>
                </c:pt>
                <c:pt idx="11239">
                  <c:v>0</c:v>
                </c:pt>
                <c:pt idx="11240">
                  <c:v>7</c:v>
                </c:pt>
                <c:pt idx="11241">
                  <c:v>24</c:v>
                </c:pt>
                <c:pt idx="11242">
                  <c:v>12</c:v>
                </c:pt>
                <c:pt idx="11243">
                  <c:v>11</c:v>
                </c:pt>
                <c:pt idx="11244">
                  <c:v>48</c:v>
                </c:pt>
                <c:pt idx="11245">
                  <c:v>188</c:v>
                </c:pt>
                <c:pt idx="11246">
                  <c:v>22</c:v>
                </c:pt>
                <c:pt idx="11247">
                  <c:v>10</c:v>
                </c:pt>
                <c:pt idx="11248">
                  <c:v>17</c:v>
                </c:pt>
                <c:pt idx="11249">
                  <c:v>220</c:v>
                </c:pt>
                <c:pt idx="11250">
                  <c:v>44</c:v>
                </c:pt>
                <c:pt idx="11251">
                  <c:v>46</c:v>
                </c:pt>
                <c:pt idx="11252">
                  <c:v>685</c:v>
                </c:pt>
                <c:pt idx="11253">
                  <c:v>907</c:v>
                </c:pt>
                <c:pt idx="11254">
                  <c:v>729</c:v>
                </c:pt>
                <c:pt idx="11255">
                  <c:v>437</c:v>
                </c:pt>
                <c:pt idx="11256">
                  <c:v>48</c:v>
                </c:pt>
                <c:pt idx="11257">
                  <c:v>363</c:v>
                </c:pt>
                <c:pt idx="11258">
                  <c:v>294</c:v>
                </c:pt>
                <c:pt idx="11259">
                  <c:v>875</c:v>
                </c:pt>
                <c:pt idx="11260">
                  <c:v>206</c:v>
                </c:pt>
                <c:pt idx="11261">
                  <c:v>122</c:v>
                </c:pt>
                <c:pt idx="11262">
                  <c:v>71</c:v>
                </c:pt>
                <c:pt idx="11263">
                  <c:v>100</c:v>
                </c:pt>
                <c:pt idx="11264">
                  <c:v>14</c:v>
                </c:pt>
                <c:pt idx="11265">
                  <c:v>17</c:v>
                </c:pt>
                <c:pt idx="11266">
                  <c:v>18</c:v>
                </c:pt>
                <c:pt idx="11267">
                  <c:v>16</c:v>
                </c:pt>
                <c:pt idx="11268">
                  <c:v>18</c:v>
                </c:pt>
                <c:pt idx="11269">
                  <c:v>6</c:v>
                </c:pt>
                <c:pt idx="11270">
                  <c:v>25</c:v>
                </c:pt>
                <c:pt idx="11271">
                  <c:v>8</c:v>
                </c:pt>
                <c:pt idx="11272">
                  <c:v>316</c:v>
                </c:pt>
                <c:pt idx="11273">
                  <c:v>220</c:v>
                </c:pt>
                <c:pt idx="11274">
                  <c:v>250</c:v>
                </c:pt>
                <c:pt idx="11275">
                  <c:v>109</c:v>
                </c:pt>
                <c:pt idx="11276">
                  <c:v>123</c:v>
                </c:pt>
                <c:pt idx="11277">
                  <c:v>50</c:v>
                </c:pt>
                <c:pt idx="11278">
                  <c:v>108</c:v>
                </c:pt>
                <c:pt idx="11279">
                  <c:v>73</c:v>
                </c:pt>
                <c:pt idx="11280">
                  <c:v>88</c:v>
                </c:pt>
                <c:pt idx="11281">
                  <c:v>73</c:v>
                </c:pt>
                <c:pt idx="11282">
                  <c:v>71</c:v>
                </c:pt>
                <c:pt idx="11283">
                  <c:v>105</c:v>
                </c:pt>
                <c:pt idx="11284">
                  <c:v>63</c:v>
                </c:pt>
                <c:pt idx="11285">
                  <c:v>49</c:v>
                </c:pt>
                <c:pt idx="11286">
                  <c:v>34</c:v>
                </c:pt>
                <c:pt idx="11287">
                  <c:v>66</c:v>
                </c:pt>
                <c:pt idx="11288">
                  <c:v>31</c:v>
                </c:pt>
                <c:pt idx="11289">
                  <c:v>56</c:v>
                </c:pt>
                <c:pt idx="11290">
                  <c:v>1344</c:v>
                </c:pt>
                <c:pt idx="11291">
                  <c:v>1005</c:v>
                </c:pt>
                <c:pt idx="11292">
                  <c:v>739</c:v>
                </c:pt>
                <c:pt idx="11293">
                  <c:v>668</c:v>
                </c:pt>
                <c:pt idx="11294">
                  <c:v>344</c:v>
                </c:pt>
                <c:pt idx="11295">
                  <c:v>173</c:v>
                </c:pt>
                <c:pt idx="11296">
                  <c:v>414</c:v>
                </c:pt>
                <c:pt idx="11297">
                  <c:v>173</c:v>
                </c:pt>
                <c:pt idx="11298">
                  <c:v>91</c:v>
                </c:pt>
                <c:pt idx="11299">
                  <c:v>66</c:v>
                </c:pt>
                <c:pt idx="11300">
                  <c:v>92</c:v>
                </c:pt>
                <c:pt idx="11301">
                  <c:v>206</c:v>
                </c:pt>
                <c:pt idx="11302">
                  <c:v>81</c:v>
                </c:pt>
                <c:pt idx="11303">
                  <c:v>32</c:v>
                </c:pt>
                <c:pt idx="11304">
                  <c:v>684</c:v>
                </c:pt>
                <c:pt idx="11305">
                  <c:v>1539</c:v>
                </c:pt>
                <c:pt idx="11306">
                  <c:v>979</c:v>
                </c:pt>
                <c:pt idx="11307">
                  <c:v>655</c:v>
                </c:pt>
                <c:pt idx="11308">
                  <c:v>175</c:v>
                </c:pt>
                <c:pt idx="11309">
                  <c:v>133</c:v>
                </c:pt>
                <c:pt idx="11310">
                  <c:v>132</c:v>
                </c:pt>
                <c:pt idx="11311">
                  <c:v>75</c:v>
                </c:pt>
                <c:pt idx="11312">
                  <c:v>99</c:v>
                </c:pt>
                <c:pt idx="11313">
                  <c:v>120</c:v>
                </c:pt>
                <c:pt idx="11314">
                  <c:v>37</c:v>
                </c:pt>
                <c:pt idx="11315">
                  <c:v>47</c:v>
                </c:pt>
                <c:pt idx="11316">
                  <c:v>32</c:v>
                </c:pt>
                <c:pt idx="11317">
                  <c:v>28</c:v>
                </c:pt>
                <c:pt idx="11318">
                  <c:v>16</c:v>
                </c:pt>
                <c:pt idx="11319">
                  <c:v>8</c:v>
                </c:pt>
                <c:pt idx="11320">
                  <c:v>5</c:v>
                </c:pt>
                <c:pt idx="11321">
                  <c:v>922</c:v>
                </c:pt>
                <c:pt idx="11322">
                  <c:v>1135</c:v>
                </c:pt>
                <c:pt idx="11323">
                  <c:v>701</c:v>
                </c:pt>
                <c:pt idx="11324">
                  <c:v>468</c:v>
                </c:pt>
                <c:pt idx="11325">
                  <c:v>1272</c:v>
                </c:pt>
                <c:pt idx="11326">
                  <c:v>1180</c:v>
                </c:pt>
                <c:pt idx="11327">
                  <c:v>706</c:v>
                </c:pt>
                <c:pt idx="11328">
                  <c:v>543</c:v>
                </c:pt>
                <c:pt idx="11329">
                  <c:v>589</c:v>
                </c:pt>
                <c:pt idx="11330">
                  <c:v>697</c:v>
                </c:pt>
                <c:pt idx="11331">
                  <c:v>331</c:v>
                </c:pt>
                <c:pt idx="11332">
                  <c:v>346</c:v>
                </c:pt>
                <c:pt idx="11333">
                  <c:v>228</c:v>
                </c:pt>
                <c:pt idx="11334">
                  <c:v>116</c:v>
                </c:pt>
                <c:pt idx="11335">
                  <c:v>97</c:v>
                </c:pt>
                <c:pt idx="11336">
                  <c:v>12</c:v>
                </c:pt>
                <c:pt idx="11337">
                  <c:v>107</c:v>
                </c:pt>
                <c:pt idx="11338">
                  <c:v>58</c:v>
                </c:pt>
                <c:pt idx="11339">
                  <c:v>54</c:v>
                </c:pt>
                <c:pt idx="11340">
                  <c:v>82</c:v>
                </c:pt>
                <c:pt idx="11341">
                  <c:v>39</c:v>
                </c:pt>
                <c:pt idx="11342">
                  <c:v>1545</c:v>
                </c:pt>
                <c:pt idx="11343">
                  <c:v>34</c:v>
                </c:pt>
                <c:pt idx="11344">
                  <c:v>26</c:v>
                </c:pt>
                <c:pt idx="11345">
                  <c:v>12</c:v>
                </c:pt>
                <c:pt idx="11346">
                  <c:v>20</c:v>
                </c:pt>
                <c:pt idx="11347">
                  <c:v>1535</c:v>
                </c:pt>
                <c:pt idx="11348">
                  <c:v>11</c:v>
                </c:pt>
                <c:pt idx="11349">
                  <c:v>3</c:v>
                </c:pt>
                <c:pt idx="11350">
                  <c:v>9</c:v>
                </c:pt>
                <c:pt idx="11351">
                  <c:v>9</c:v>
                </c:pt>
                <c:pt idx="11352">
                  <c:v>6</c:v>
                </c:pt>
                <c:pt idx="11353">
                  <c:v>3</c:v>
                </c:pt>
                <c:pt idx="11354">
                  <c:v>5</c:v>
                </c:pt>
                <c:pt idx="11355">
                  <c:v>1436</c:v>
                </c:pt>
                <c:pt idx="11356">
                  <c:v>478</c:v>
                </c:pt>
                <c:pt idx="11357">
                  <c:v>403</c:v>
                </c:pt>
                <c:pt idx="11358">
                  <c:v>343</c:v>
                </c:pt>
                <c:pt idx="11359">
                  <c:v>77</c:v>
                </c:pt>
                <c:pt idx="11360">
                  <c:v>444</c:v>
                </c:pt>
                <c:pt idx="11361">
                  <c:v>114</c:v>
                </c:pt>
                <c:pt idx="11362">
                  <c:v>486</c:v>
                </c:pt>
                <c:pt idx="11363">
                  <c:v>66</c:v>
                </c:pt>
                <c:pt idx="11364">
                  <c:v>124</c:v>
                </c:pt>
                <c:pt idx="11365">
                  <c:v>56</c:v>
                </c:pt>
                <c:pt idx="11366">
                  <c:v>131</c:v>
                </c:pt>
                <c:pt idx="11367">
                  <c:v>12</c:v>
                </c:pt>
                <c:pt idx="11368">
                  <c:v>556</c:v>
                </c:pt>
                <c:pt idx="11369">
                  <c:v>580</c:v>
                </c:pt>
                <c:pt idx="11370">
                  <c:v>805</c:v>
                </c:pt>
                <c:pt idx="11371">
                  <c:v>655</c:v>
                </c:pt>
                <c:pt idx="11372">
                  <c:v>429</c:v>
                </c:pt>
                <c:pt idx="11373">
                  <c:v>459</c:v>
                </c:pt>
                <c:pt idx="11374">
                  <c:v>513</c:v>
                </c:pt>
                <c:pt idx="11375">
                  <c:v>53</c:v>
                </c:pt>
                <c:pt idx="11376">
                  <c:v>380</c:v>
                </c:pt>
                <c:pt idx="11377">
                  <c:v>241</c:v>
                </c:pt>
                <c:pt idx="11378">
                  <c:v>193</c:v>
                </c:pt>
                <c:pt idx="11379">
                  <c:v>420</c:v>
                </c:pt>
                <c:pt idx="11380">
                  <c:v>176</c:v>
                </c:pt>
                <c:pt idx="11381">
                  <c:v>293</c:v>
                </c:pt>
                <c:pt idx="11382">
                  <c:v>190</c:v>
                </c:pt>
                <c:pt idx="11383">
                  <c:v>207</c:v>
                </c:pt>
                <c:pt idx="11384">
                  <c:v>184</c:v>
                </c:pt>
                <c:pt idx="11385">
                  <c:v>97</c:v>
                </c:pt>
                <c:pt idx="11386">
                  <c:v>135</c:v>
                </c:pt>
                <c:pt idx="11387">
                  <c:v>80</c:v>
                </c:pt>
                <c:pt idx="11388">
                  <c:v>229</c:v>
                </c:pt>
                <c:pt idx="11389">
                  <c:v>104</c:v>
                </c:pt>
                <c:pt idx="11390">
                  <c:v>61</c:v>
                </c:pt>
                <c:pt idx="11391">
                  <c:v>82</c:v>
                </c:pt>
                <c:pt idx="11392">
                  <c:v>51</c:v>
                </c:pt>
                <c:pt idx="11393">
                  <c:v>61</c:v>
                </c:pt>
                <c:pt idx="11394">
                  <c:v>38</c:v>
                </c:pt>
                <c:pt idx="11395">
                  <c:v>69</c:v>
                </c:pt>
                <c:pt idx="11396">
                  <c:v>85</c:v>
                </c:pt>
                <c:pt idx="11397">
                  <c:v>69</c:v>
                </c:pt>
                <c:pt idx="11398">
                  <c:v>49</c:v>
                </c:pt>
                <c:pt idx="11399">
                  <c:v>106</c:v>
                </c:pt>
                <c:pt idx="11400">
                  <c:v>44</c:v>
                </c:pt>
                <c:pt idx="11401">
                  <c:v>45</c:v>
                </c:pt>
                <c:pt idx="11402">
                  <c:v>246</c:v>
                </c:pt>
                <c:pt idx="11403">
                  <c:v>278</c:v>
                </c:pt>
                <c:pt idx="11404">
                  <c:v>310</c:v>
                </c:pt>
                <c:pt idx="11405">
                  <c:v>52</c:v>
                </c:pt>
                <c:pt idx="11406">
                  <c:v>33</c:v>
                </c:pt>
                <c:pt idx="11407">
                  <c:v>20</c:v>
                </c:pt>
                <c:pt idx="11408">
                  <c:v>9</c:v>
                </c:pt>
                <c:pt idx="11409">
                  <c:v>10</c:v>
                </c:pt>
                <c:pt idx="11410">
                  <c:v>12</c:v>
                </c:pt>
                <c:pt idx="11411">
                  <c:v>7</c:v>
                </c:pt>
                <c:pt idx="11412">
                  <c:v>552</c:v>
                </c:pt>
                <c:pt idx="11413">
                  <c:v>736</c:v>
                </c:pt>
                <c:pt idx="11414">
                  <c:v>40</c:v>
                </c:pt>
                <c:pt idx="11415">
                  <c:v>140</c:v>
                </c:pt>
                <c:pt idx="11416">
                  <c:v>266</c:v>
                </c:pt>
                <c:pt idx="11417">
                  <c:v>452</c:v>
                </c:pt>
                <c:pt idx="11418">
                  <c:v>164</c:v>
                </c:pt>
                <c:pt idx="11419">
                  <c:v>68</c:v>
                </c:pt>
                <c:pt idx="11420">
                  <c:v>545</c:v>
                </c:pt>
                <c:pt idx="11421">
                  <c:v>42</c:v>
                </c:pt>
                <c:pt idx="11422">
                  <c:v>376</c:v>
                </c:pt>
                <c:pt idx="11423">
                  <c:v>154</c:v>
                </c:pt>
                <c:pt idx="11424">
                  <c:v>234</c:v>
                </c:pt>
                <c:pt idx="11425">
                  <c:v>335</c:v>
                </c:pt>
                <c:pt idx="11426">
                  <c:v>12</c:v>
                </c:pt>
                <c:pt idx="11427">
                  <c:v>314</c:v>
                </c:pt>
                <c:pt idx="11428">
                  <c:v>33</c:v>
                </c:pt>
                <c:pt idx="11429">
                  <c:v>33</c:v>
                </c:pt>
                <c:pt idx="11430">
                  <c:v>30</c:v>
                </c:pt>
                <c:pt idx="11431">
                  <c:v>754</c:v>
                </c:pt>
                <c:pt idx="11432">
                  <c:v>1728</c:v>
                </c:pt>
                <c:pt idx="11433">
                  <c:v>889</c:v>
                </c:pt>
                <c:pt idx="11434">
                  <c:v>129</c:v>
                </c:pt>
                <c:pt idx="11435">
                  <c:v>806</c:v>
                </c:pt>
                <c:pt idx="11436">
                  <c:v>157</c:v>
                </c:pt>
                <c:pt idx="11437">
                  <c:v>1009</c:v>
                </c:pt>
                <c:pt idx="11438">
                  <c:v>833</c:v>
                </c:pt>
                <c:pt idx="11439">
                  <c:v>1195</c:v>
                </c:pt>
                <c:pt idx="11440">
                  <c:v>1165</c:v>
                </c:pt>
                <c:pt idx="11441">
                  <c:v>634</c:v>
                </c:pt>
                <c:pt idx="11442">
                  <c:v>691</c:v>
                </c:pt>
                <c:pt idx="11443">
                  <c:v>633</c:v>
                </c:pt>
                <c:pt idx="11444">
                  <c:v>362</c:v>
                </c:pt>
                <c:pt idx="11445">
                  <c:v>660</c:v>
                </c:pt>
                <c:pt idx="11446">
                  <c:v>375</c:v>
                </c:pt>
                <c:pt idx="11447">
                  <c:v>483</c:v>
                </c:pt>
                <c:pt idx="11448">
                  <c:v>238</c:v>
                </c:pt>
                <c:pt idx="11449">
                  <c:v>293</c:v>
                </c:pt>
                <c:pt idx="11450">
                  <c:v>311</c:v>
                </c:pt>
                <c:pt idx="11451">
                  <c:v>593</c:v>
                </c:pt>
                <c:pt idx="11452">
                  <c:v>176</c:v>
                </c:pt>
                <c:pt idx="11453">
                  <c:v>187</c:v>
                </c:pt>
                <c:pt idx="11454">
                  <c:v>168</c:v>
                </c:pt>
                <c:pt idx="11455">
                  <c:v>167</c:v>
                </c:pt>
                <c:pt idx="11456">
                  <c:v>325</c:v>
                </c:pt>
                <c:pt idx="11457">
                  <c:v>121</c:v>
                </c:pt>
                <c:pt idx="11458">
                  <c:v>333</c:v>
                </c:pt>
                <c:pt idx="11459">
                  <c:v>149</c:v>
                </c:pt>
                <c:pt idx="11460">
                  <c:v>269</c:v>
                </c:pt>
                <c:pt idx="11461">
                  <c:v>68</c:v>
                </c:pt>
                <c:pt idx="11462">
                  <c:v>93</c:v>
                </c:pt>
                <c:pt idx="11463">
                  <c:v>63</c:v>
                </c:pt>
                <c:pt idx="11464">
                  <c:v>176</c:v>
                </c:pt>
                <c:pt idx="11465">
                  <c:v>702</c:v>
                </c:pt>
                <c:pt idx="11466">
                  <c:v>390</c:v>
                </c:pt>
                <c:pt idx="11467">
                  <c:v>473</c:v>
                </c:pt>
                <c:pt idx="11468">
                  <c:v>184</c:v>
                </c:pt>
                <c:pt idx="11469">
                  <c:v>497</c:v>
                </c:pt>
                <c:pt idx="11470">
                  <c:v>205</c:v>
                </c:pt>
                <c:pt idx="11471">
                  <c:v>167</c:v>
                </c:pt>
                <c:pt idx="11472">
                  <c:v>89</c:v>
                </c:pt>
                <c:pt idx="11473">
                  <c:v>118</c:v>
                </c:pt>
                <c:pt idx="11474">
                  <c:v>141</c:v>
                </c:pt>
                <c:pt idx="11475">
                  <c:v>406</c:v>
                </c:pt>
                <c:pt idx="11476">
                  <c:v>181</c:v>
                </c:pt>
                <c:pt idx="11477">
                  <c:v>111</c:v>
                </c:pt>
                <c:pt idx="11478">
                  <c:v>84</c:v>
                </c:pt>
                <c:pt idx="11479">
                  <c:v>520</c:v>
                </c:pt>
                <c:pt idx="11480">
                  <c:v>226</c:v>
                </c:pt>
                <c:pt idx="11481">
                  <c:v>927</c:v>
                </c:pt>
                <c:pt idx="11482">
                  <c:v>277</c:v>
                </c:pt>
                <c:pt idx="11483">
                  <c:v>626</c:v>
                </c:pt>
                <c:pt idx="11484">
                  <c:v>48</c:v>
                </c:pt>
                <c:pt idx="11485">
                  <c:v>177</c:v>
                </c:pt>
                <c:pt idx="11486">
                  <c:v>77</c:v>
                </c:pt>
                <c:pt idx="11487">
                  <c:v>140</c:v>
                </c:pt>
                <c:pt idx="11488">
                  <c:v>77</c:v>
                </c:pt>
                <c:pt idx="11489">
                  <c:v>492</c:v>
                </c:pt>
                <c:pt idx="11490">
                  <c:v>769</c:v>
                </c:pt>
                <c:pt idx="11491">
                  <c:v>210</c:v>
                </c:pt>
                <c:pt idx="11492">
                  <c:v>686</c:v>
                </c:pt>
                <c:pt idx="11493">
                  <c:v>224</c:v>
                </c:pt>
                <c:pt idx="11494">
                  <c:v>515</c:v>
                </c:pt>
                <c:pt idx="11495">
                  <c:v>218</c:v>
                </c:pt>
                <c:pt idx="11496">
                  <c:v>239</c:v>
                </c:pt>
                <c:pt idx="11497">
                  <c:v>124</c:v>
                </c:pt>
                <c:pt idx="11498">
                  <c:v>332</c:v>
                </c:pt>
                <c:pt idx="11499">
                  <c:v>254</c:v>
                </c:pt>
                <c:pt idx="11500">
                  <c:v>86</c:v>
                </c:pt>
                <c:pt idx="11501">
                  <c:v>297</c:v>
                </c:pt>
                <c:pt idx="11502">
                  <c:v>152</c:v>
                </c:pt>
                <c:pt idx="11503">
                  <c:v>76</c:v>
                </c:pt>
                <c:pt idx="11504">
                  <c:v>104</c:v>
                </c:pt>
                <c:pt idx="11505">
                  <c:v>25</c:v>
                </c:pt>
                <c:pt idx="11506">
                  <c:v>15</c:v>
                </c:pt>
                <c:pt idx="11507">
                  <c:v>722</c:v>
                </c:pt>
                <c:pt idx="11508">
                  <c:v>473</c:v>
                </c:pt>
                <c:pt idx="11509">
                  <c:v>722</c:v>
                </c:pt>
                <c:pt idx="11510">
                  <c:v>884</c:v>
                </c:pt>
                <c:pt idx="11511">
                  <c:v>622</c:v>
                </c:pt>
                <c:pt idx="11512">
                  <c:v>329</c:v>
                </c:pt>
                <c:pt idx="11513">
                  <c:v>332</c:v>
                </c:pt>
                <c:pt idx="11514">
                  <c:v>298</c:v>
                </c:pt>
                <c:pt idx="11515">
                  <c:v>449</c:v>
                </c:pt>
                <c:pt idx="11516">
                  <c:v>92</c:v>
                </c:pt>
                <c:pt idx="11517">
                  <c:v>128</c:v>
                </c:pt>
                <c:pt idx="11518">
                  <c:v>60</c:v>
                </c:pt>
                <c:pt idx="11519">
                  <c:v>189</c:v>
                </c:pt>
                <c:pt idx="11520">
                  <c:v>154</c:v>
                </c:pt>
                <c:pt idx="11521">
                  <c:v>134</c:v>
                </c:pt>
                <c:pt idx="11522">
                  <c:v>218</c:v>
                </c:pt>
                <c:pt idx="11523">
                  <c:v>156</c:v>
                </c:pt>
                <c:pt idx="11524">
                  <c:v>67</c:v>
                </c:pt>
                <c:pt idx="11525">
                  <c:v>79</c:v>
                </c:pt>
                <c:pt idx="11526">
                  <c:v>39</c:v>
                </c:pt>
                <c:pt idx="11527">
                  <c:v>474</c:v>
                </c:pt>
                <c:pt idx="11528">
                  <c:v>178</c:v>
                </c:pt>
                <c:pt idx="11529">
                  <c:v>100</c:v>
                </c:pt>
                <c:pt idx="11530">
                  <c:v>125</c:v>
                </c:pt>
                <c:pt idx="11531">
                  <c:v>108</c:v>
                </c:pt>
                <c:pt idx="11532">
                  <c:v>24</c:v>
                </c:pt>
                <c:pt idx="11533">
                  <c:v>10</c:v>
                </c:pt>
                <c:pt idx="11534">
                  <c:v>48</c:v>
                </c:pt>
                <c:pt idx="11535">
                  <c:v>20</c:v>
                </c:pt>
                <c:pt idx="11536">
                  <c:v>377</c:v>
                </c:pt>
                <c:pt idx="11537">
                  <c:v>236</c:v>
                </c:pt>
                <c:pt idx="11538">
                  <c:v>183</c:v>
                </c:pt>
                <c:pt idx="11539">
                  <c:v>178</c:v>
                </c:pt>
                <c:pt idx="11540">
                  <c:v>172</c:v>
                </c:pt>
                <c:pt idx="11541">
                  <c:v>180</c:v>
                </c:pt>
                <c:pt idx="11542">
                  <c:v>122</c:v>
                </c:pt>
                <c:pt idx="11543">
                  <c:v>114</c:v>
                </c:pt>
                <c:pt idx="11544">
                  <c:v>102</c:v>
                </c:pt>
                <c:pt idx="11545">
                  <c:v>127</c:v>
                </c:pt>
                <c:pt idx="11546">
                  <c:v>48</c:v>
                </c:pt>
                <c:pt idx="11547">
                  <c:v>664</c:v>
                </c:pt>
                <c:pt idx="11548">
                  <c:v>447</c:v>
                </c:pt>
                <c:pt idx="11549">
                  <c:v>364</c:v>
                </c:pt>
                <c:pt idx="11550">
                  <c:v>205</c:v>
                </c:pt>
                <c:pt idx="11551">
                  <c:v>1045</c:v>
                </c:pt>
                <c:pt idx="11552">
                  <c:v>300</c:v>
                </c:pt>
                <c:pt idx="11553">
                  <c:v>145</c:v>
                </c:pt>
                <c:pt idx="11554">
                  <c:v>185</c:v>
                </c:pt>
                <c:pt idx="11555">
                  <c:v>61</c:v>
                </c:pt>
                <c:pt idx="11556">
                  <c:v>75</c:v>
                </c:pt>
                <c:pt idx="11557">
                  <c:v>144</c:v>
                </c:pt>
                <c:pt idx="11558">
                  <c:v>156</c:v>
                </c:pt>
                <c:pt idx="11559">
                  <c:v>143</c:v>
                </c:pt>
                <c:pt idx="11560">
                  <c:v>120</c:v>
                </c:pt>
                <c:pt idx="11561">
                  <c:v>115</c:v>
                </c:pt>
                <c:pt idx="11562">
                  <c:v>69</c:v>
                </c:pt>
                <c:pt idx="11563">
                  <c:v>81</c:v>
                </c:pt>
                <c:pt idx="11564">
                  <c:v>99</c:v>
                </c:pt>
                <c:pt idx="11565">
                  <c:v>44</c:v>
                </c:pt>
                <c:pt idx="11566">
                  <c:v>40</c:v>
                </c:pt>
                <c:pt idx="11567">
                  <c:v>976</c:v>
                </c:pt>
                <c:pt idx="11568">
                  <c:v>305</c:v>
                </c:pt>
                <c:pt idx="11569">
                  <c:v>605</c:v>
                </c:pt>
                <c:pt idx="11570">
                  <c:v>87</c:v>
                </c:pt>
                <c:pt idx="11571">
                  <c:v>762</c:v>
                </c:pt>
                <c:pt idx="11572">
                  <c:v>287</c:v>
                </c:pt>
                <c:pt idx="11573">
                  <c:v>1413</c:v>
                </c:pt>
                <c:pt idx="11574">
                  <c:v>546</c:v>
                </c:pt>
                <c:pt idx="11575">
                  <c:v>590</c:v>
                </c:pt>
                <c:pt idx="11576">
                  <c:v>366</c:v>
                </c:pt>
                <c:pt idx="11577">
                  <c:v>188</c:v>
                </c:pt>
                <c:pt idx="11578">
                  <c:v>173</c:v>
                </c:pt>
                <c:pt idx="11579">
                  <c:v>72</c:v>
                </c:pt>
                <c:pt idx="11580">
                  <c:v>47</c:v>
                </c:pt>
                <c:pt idx="11581">
                  <c:v>45</c:v>
                </c:pt>
                <c:pt idx="11582">
                  <c:v>56</c:v>
                </c:pt>
                <c:pt idx="11583">
                  <c:v>55</c:v>
                </c:pt>
                <c:pt idx="11584">
                  <c:v>64</c:v>
                </c:pt>
                <c:pt idx="11585">
                  <c:v>40</c:v>
                </c:pt>
                <c:pt idx="11586">
                  <c:v>33</c:v>
                </c:pt>
                <c:pt idx="11587">
                  <c:v>55</c:v>
                </c:pt>
                <c:pt idx="11588">
                  <c:v>40</c:v>
                </c:pt>
                <c:pt idx="11589">
                  <c:v>32</c:v>
                </c:pt>
                <c:pt idx="11590">
                  <c:v>26</c:v>
                </c:pt>
                <c:pt idx="11591">
                  <c:v>38</c:v>
                </c:pt>
                <c:pt idx="11592">
                  <c:v>25</c:v>
                </c:pt>
                <c:pt idx="11593">
                  <c:v>37</c:v>
                </c:pt>
                <c:pt idx="11594">
                  <c:v>40</c:v>
                </c:pt>
                <c:pt idx="11595">
                  <c:v>28</c:v>
                </c:pt>
                <c:pt idx="11596">
                  <c:v>41</c:v>
                </c:pt>
                <c:pt idx="11597">
                  <c:v>38</c:v>
                </c:pt>
                <c:pt idx="11598">
                  <c:v>36</c:v>
                </c:pt>
                <c:pt idx="11599">
                  <c:v>26</c:v>
                </c:pt>
                <c:pt idx="11600">
                  <c:v>16</c:v>
                </c:pt>
                <c:pt idx="11601">
                  <c:v>26</c:v>
                </c:pt>
                <c:pt idx="11602">
                  <c:v>21</c:v>
                </c:pt>
                <c:pt idx="11603">
                  <c:v>23</c:v>
                </c:pt>
                <c:pt idx="11604">
                  <c:v>21</c:v>
                </c:pt>
                <c:pt idx="11605">
                  <c:v>21</c:v>
                </c:pt>
                <c:pt idx="11606">
                  <c:v>22</c:v>
                </c:pt>
                <c:pt idx="11607">
                  <c:v>16</c:v>
                </c:pt>
                <c:pt idx="11608">
                  <c:v>14</c:v>
                </c:pt>
                <c:pt idx="11609">
                  <c:v>18</c:v>
                </c:pt>
                <c:pt idx="11610">
                  <c:v>14</c:v>
                </c:pt>
                <c:pt idx="11611">
                  <c:v>13</c:v>
                </c:pt>
                <c:pt idx="11612">
                  <c:v>12</c:v>
                </c:pt>
                <c:pt idx="11613">
                  <c:v>12</c:v>
                </c:pt>
                <c:pt idx="11614">
                  <c:v>13</c:v>
                </c:pt>
                <c:pt idx="11615">
                  <c:v>12</c:v>
                </c:pt>
                <c:pt idx="11616">
                  <c:v>12</c:v>
                </c:pt>
                <c:pt idx="11617">
                  <c:v>78</c:v>
                </c:pt>
                <c:pt idx="11618">
                  <c:v>38</c:v>
                </c:pt>
                <c:pt idx="11619">
                  <c:v>33</c:v>
                </c:pt>
                <c:pt idx="11620">
                  <c:v>15</c:v>
                </c:pt>
                <c:pt idx="11621">
                  <c:v>8</c:v>
                </c:pt>
                <c:pt idx="11622">
                  <c:v>36</c:v>
                </c:pt>
                <c:pt idx="11623">
                  <c:v>28</c:v>
                </c:pt>
                <c:pt idx="11624">
                  <c:v>32</c:v>
                </c:pt>
                <c:pt idx="11625">
                  <c:v>23</c:v>
                </c:pt>
                <c:pt idx="11626">
                  <c:v>38</c:v>
                </c:pt>
                <c:pt idx="11627">
                  <c:v>35</c:v>
                </c:pt>
                <c:pt idx="11628">
                  <c:v>29</c:v>
                </c:pt>
                <c:pt idx="11629">
                  <c:v>262</c:v>
                </c:pt>
                <c:pt idx="11630">
                  <c:v>296</c:v>
                </c:pt>
                <c:pt idx="11631">
                  <c:v>60</c:v>
                </c:pt>
                <c:pt idx="11632">
                  <c:v>42</c:v>
                </c:pt>
                <c:pt idx="11633">
                  <c:v>7</c:v>
                </c:pt>
                <c:pt idx="11634">
                  <c:v>24</c:v>
                </c:pt>
                <c:pt idx="11635">
                  <c:v>128</c:v>
                </c:pt>
                <c:pt idx="11636">
                  <c:v>197</c:v>
                </c:pt>
                <c:pt idx="11637">
                  <c:v>153</c:v>
                </c:pt>
                <c:pt idx="11638">
                  <c:v>48</c:v>
                </c:pt>
                <c:pt idx="11639">
                  <c:v>19</c:v>
                </c:pt>
                <c:pt idx="11640">
                  <c:v>9</c:v>
                </c:pt>
                <c:pt idx="11641">
                  <c:v>27</c:v>
                </c:pt>
                <c:pt idx="11642">
                  <c:v>1</c:v>
                </c:pt>
                <c:pt idx="11643">
                  <c:v>3</c:v>
                </c:pt>
                <c:pt idx="11644">
                  <c:v>0</c:v>
                </c:pt>
                <c:pt idx="11645">
                  <c:v>0</c:v>
                </c:pt>
                <c:pt idx="11646">
                  <c:v>0</c:v>
                </c:pt>
                <c:pt idx="11647">
                  <c:v>0</c:v>
                </c:pt>
                <c:pt idx="11648">
                  <c:v>0</c:v>
                </c:pt>
                <c:pt idx="11649">
                  <c:v>14</c:v>
                </c:pt>
                <c:pt idx="11650">
                  <c:v>0</c:v>
                </c:pt>
                <c:pt idx="11651">
                  <c:v>143</c:v>
                </c:pt>
                <c:pt idx="11652">
                  <c:v>66</c:v>
                </c:pt>
                <c:pt idx="11653">
                  <c:v>76</c:v>
                </c:pt>
                <c:pt idx="11654">
                  <c:v>77</c:v>
                </c:pt>
                <c:pt idx="11655">
                  <c:v>36</c:v>
                </c:pt>
                <c:pt idx="11656">
                  <c:v>50</c:v>
                </c:pt>
                <c:pt idx="11657">
                  <c:v>62</c:v>
                </c:pt>
                <c:pt idx="11658">
                  <c:v>42</c:v>
                </c:pt>
                <c:pt idx="11659">
                  <c:v>12</c:v>
                </c:pt>
                <c:pt idx="11660">
                  <c:v>9</c:v>
                </c:pt>
                <c:pt idx="11661">
                  <c:v>19</c:v>
                </c:pt>
                <c:pt idx="11662">
                  <c:v>27</c:v>
                </c:pt>
                <c:pt idx="11663">
                  <c:v>3</c:v>
                </c:pt>
                <c:pt idx="11664">
                  <c:v>10</c:v>
                </c:pt>
                <c:pt idx="11665">
                  <c:v>8</c:v>
                </c:pt>
                <c:pt idx="11666">
                  <c:v>24</c:v>
                </c:pt>
                <c:pt idx="11667">
                  <c:v>2</c:v>
                </c:pt>
                <c:pt idx="11668">
                  <c:v>16</c:v>
                </c:pt>
                <c:pt idx="11669">
                  <c:v>12</c:v>
                </c:pt>
                <c:pt idx="11670">
                  <c:v>2</c:v>
                </c:pt>
                <c:pt idx="11671">
                  <c:v>2</c:v>
                </c:pt>
                <c:pt idx="11672">
                  <c:v>17</c:v>
                </c:pt>
                <c:pt idx="11673">
                  <c:v>63</c:v>
                </c:pt>
                <c:pt idx="11674">
                  <c:v>21</c:v>
                </c:pt>
                <c:pt idx="11675">
                  <c:v>41</c:v>
                </c:pt>
                <c:pt idx="11676">
                  <c:v>25</c:v>
                </c:pt>
                <c:pt idx="11677">
                  <c:v>7</c:v>
                </c:pt>
                <c:pt idx="11678">
                  <c:v>5</c:v>
                </c:pt>
                <c:pt idx="11679">
                  <c:v>21</c:v>
                </c:pt>
                <c:pt idx="11680">
                  <c:v>17</c:v>
                </c:pt>
                <c:pt idx="11681">
                  <c:v>4</c:v>
                </c:pt>
                <c:pt idx="11682">
                  <c:v>16</c:v>
                </c:pt>
                <c:pt idx="11683">
                  <c:v>8</c:v>
                </c:pt>
                <c:pt idx="11684">
                  <c:v>10</c:v>
                </c:pt>
                <c:pt idx="11685">
                  <c:v>4</c:v>
                </c:pt>
                <c:pt idx="11686">
                  <c:v>10</c:v>
                </c:pt>
                <c:pt idx="11687">
                  <c:v>16</c:v>
                </c:pt>
                <c:pt idx="11688">
                  <c:v>19</c:v>
                </c:pt>
                <c:pt idx="11689">
                  <c:v>15</c:v>
                </c:pt>
                <c:pt idx="11690">
                  <c:v>3</c:v>
                </c:pt>
                <c:pt idx="11691">
                  <c:v>3</c:v>
                </c:pt>
                <c:pt idx="11692">
                  <c:v>18</c:v>
                </c:pt>
                <c:pt idx="11693">
                  <c:v>4</c:v>
                </c:pt>
                <c:pt idx="11694">
                  <c:v>3</c:v>
                </c:pt>
                <c:pt idx="11695">
                  <c:v>8</c:v>
                </c:pt>
                <c:pt idx="11696">
                  <c:v>5</c:v>
                </c:pt>
                <c:pt idx="11697">
                  <c:v>11</c:v>
                </c:pt>
                <c:pt idx="11698">
                  <c:v>14</c:v>
                </c:pt>
                <c:pt idx="11699">
                  <c:v>11</c:v>
                </c:pt>
                <c:pt idx="11700">
                  <c:v>12</c:v>
                </c:pt>
                <c:pt idx="11701">
                  <c:v>6</c:v>
                </c:pt>
                <c:pt idx="11702">
                  <c:v>20</c:v>
                </c:pt>
                <c:pt idx="11703">
                  <c:v>12</c:v>
                </c:pt>
                <c:pt idx="11704">
                  <c:v>9</c:v>
                </c:pt>
                <c:pt idx="11705">
                  <c:v>12</c:v>
                </c:pt>
                <c:pt idx="11706">
                  <c:v>15</c:v>
                </c:pt>
                <c:pt idx="11707">
                  <c:v>4</c:v>
                </c:pt>
                <c:pt idx="11708">
                  <c:v>1</c:v>
                </c:pt>
                <c:pt idx="11709">
                  <c:v>4</c:v>
                </c:pt>
                <c:pt idx="11710">
                  <c:v>3</c:v>
                </c:pt>
                <c:pt idx="11711">
                  <c:v>5</c:v>
                </c:pt>
                <c:pt idx="11712">
                  <c:v>2</c:v>
                </c:pt>
                <c:pt idx="11713">
                  <c:v>21</c:v>
                </c:pt>
                <c:pt idx="11714">
                  <c:v>12</c:v>
                </c:pt>
                <c:pt idx="11715">
                  <c:v>2</c:v>
                </c:pt>
                <c:pt idx="11716">
                  <c:v>11</c:v>
                </c:pt>
                <c:pt idx="11717">
                  <c:v>3</c:v>
                </c:pt>
                <c:pt idx="11718">
                  <c:v>3</c:v>
                </c:pt>
                <c:pt idx="11719">
                  <c:v>6</c:v>
                </c:pt>
                <c:pt idx="11720">
                  <c:v>2</c:v>
                </c:pt>
                <c:pt idx="11721">
                  <c:v>1</c:v>
                </c:pt>
                <c:pt idx="11722">
                  <c:v>5</c:v>
                </c:pt>
                <c:pt idx="11723">
                  <c:v>13</c:v>
                </c:pt>
                <c:pt idx="11724">
                  <c:v>10</c:v>
                </c:pt>
                <c:pt idx="11725">
                  <c:v>4</c:v>
                </c:pt>
                <c:pt idx="11726">
                  <c:v>7</c:v>
                </c:pt>
                <c:pt idx="11727">
                  <c:v>2</c:v>
                </c:pt>
                <c:pt idx="11728">
                  <c:v>49</c:v>
                </c:pt>
                <c:pt idx="11729">
                  <c:v>261</c:v>
                </c:pt>
                <c:pt idx="11730">
                  <c:v>34</c:v>
                </c:pt>
                <c:pt idx="11731">
                  <c:v>173</c:v>
                </c:pt>
                <c:pt idx="11732">
                  <c:v>65</c:v>
                </c:pt>
                <c:pt idx="11733">
                  <c:v>80</c:v>
                </c:pt>
                <c:pt idx="11734">
                  <c:v>98</c:v>
                </c:pt>
                <c:pt idx="11735">
                  <c:v>46</c:v>
                </c:pt>
                <c:pt idx="11736">
                  <c:v>48</c:v>
                </c:pt>
                <c:pt idx="11737">
                  <c:v>7</c:v>
                </c:pt>
                <c:pt idx="11738">
                  <c:v>52</c:v>
                </c:pt>
                <c:pt idx="11739">
                  <c:v>57</c:v>
                </c:pt>
                <c:pt idx="11740">
                  <c:v>33</c:v>
                </c:pt>
                <c:pt idx="11741">
                  <c:v>135</c:v>
                </c:pt>
                <c:pt idx="11742">
                  <c:v>93</c:v>
                </c:pt>
                <c:pt idx="11743">
                  <c:v>123</c:v>
                </c:pt>
                <c:pt idx="11744">
                  <c:v>51</c:v>
                </c:pt>
                <c:pt idx="11745">
                  <c:v>4</c:v>
                </c:pt>
                <c:pt idx="11746">
                  <c:v>46</c:v>
                </c:pt>
                <c:pt idx="11747">
                  <c:v>25</c:v>
                </c:pt>
                <c:pt idx="11748">
                  <c:v>91</c:v>
                </c:pt>
                <c:pt idx="11749">
                  <c:v>50</c:v>
                </c:pt>
                <c:pt idx="11750">
                  <c:v>32</c:v>
                </c:pt>
                <c:pt idx="11751">
                  <c:v>50</c:v>
                </c:pt>
                <c:pt idx="11752">
                  <c:v>34</c:v>
                </c:pt>
                <c:pt idx="11753">
                  <c:v>52</c:v>
                </c:pt>
                <c:pt idx="11754">
                  <c:v>43</c:v>
                </c:pt>
                <c:pt idx="11755">
                  <c:v>51</c:v>
                </c:pt>
                <c:pt idx="11756">
                  <c:v>48</c:v>
                </c:pt>
                <c:pt idx="11757">
                  <c:v>21</c:v>
                </c:pt>
                <c:pt idx="11758">
                  <c:v>14</c:v>
                </c:pt>
                <c:pt idx="11759">
                  <c:v>14</c:v>
                </c:pt>
                <c:pt idx="11760">
                  <c:v>0</c:v>
                </c:pt>
                <c:pt idx="11761">
                  <c:v>36</c:v>
                </c:pt>
                <c:pt idx="11762">
                  <c:v>9</c:v>
                </c:pt>
                <c:pt idx="11763">
                  <c:v>24</c:v>
                </c:pt>
                <c:pt idx="11764">
                  <c:v>130</c:v>
                </c:pt>
                <c:pt idx="11765">
                  <c:v>109</c:v>
                </c:pt>
                <c:pt idx="11766">
                  <c:v>131</c:v>
                </c:pt>
                <c:pt idx="11767">
                  <c:v>81</c:v>
                </c:pt>
                <c:pt idx="11768">
                  <c:v>101</c:v>
                </c:pt>
                <c:pt idx="11769">
                  <c:v>25</c:v>
                </c:pt>
                <c:pt idx="11770">
                  <c:v>90</c:v>
                </c:pt>
                <c:pt idx="11771">
                  <c:v>49</c:v>
                </c:pt>
                <c:pt idx="11772">
                  <c:v>69</c:v>
                </c:pt>
                <c:pt idx="11773">
                  <c:v>109</c:v>
                </c:pt>
                <c:pt idx="11774">
                  <c:v>77</c:v>
                </c:pt>
                <c:pt idx="11775">
                  <c:v>50</c:v>
                </c:pt>
                <c:pt idx="11776">
                  <c:v>71</c:v>
                </c:pt>
                <c:pt idx="11777">
                  <c:v>62</c:v>
                </c:pt>
                <c:pt idx="11778">
                  <c:v>24</c:v>
                </c:pt>
                <c:pt idx="11779">
                  <c:v>38</c:v>
                </c:pt>
                <c:pt idx="11780">
                  <c:v>2</c:v>
                </c:pt>
                <c:pt idx="11781">
                  <c:v>55</c:v>
                </c:pt>
                <c:pt idx="11782">
                  <c:v>74</c:v>
                </c:pt>
                <c:pt idx="11783">
                  <c:v>93</c:v>
                </c:pt>
                <c:pt idx="11784">
                  <c:v>18</c:v>
                </c:pt>
                <c:pt idx="11785">
                  <c:v>46</c:v>
                </c:pt>
                <c:pt idx="11786">
                  <c:v>20</c:v>
                </c:pt>
                <c:pt idx="11787">
                  <c:v>14</c:v>
                </c:pt>
                <c:pt idx="11788">
                  <c:v>26</c:v>
                </c:pt>
                <c:pt idx="11789">
                  <c:v>5</c:v>
                </c:pt>
                <c:pt idx="11790">
                  <c:v>21</c:v>
                </c:pt>
                <c:pt idx="11791">
                  <c:v>11</c:v>
                </c:pt>
                <c:pt idx="11792">
                  <c:v>1</c:v>
                </c:pt>
                <c:pt idx="11793">
                  <c:v>10</c:v>
                </c:pt>
                <c:pt idx="11794">
                  <c:v>164</c:v>
                </c:pt>
                <c:pt idx="11795">
                  <c:v>13</c:v>
                </c:pt>
                <c:pt idx="11796">
                  <c:v>232</c:v>
                </c:pt>
                <c:pt idx="11797">
                  <c:v>62</c:v>
                </c:pt>
                <c:pt idx="11798">
                  <c:v>221</c:v>
                </c:pt>
                <c:pt idx="11799">
                  <c:v>75</c:v>
                </c:pt>
                <c:pt idx="11800">
                  <c:v>89</c:v>
                </c:pt>
                <c:pt idx="11801">
                  <c:v>64</c:v>
                </c:pt>
                <c:pt idx="11802">
                  <c:v>109</c:v>
                </c:pt>
                <c:pt idx="11803">
                  <c:v>102</c:v>
                </c:pt>
                <c:pt idx="11804">
                  <c:v>89</c:v>
                </c:pt>
                <c:pt idx="11805">
                  <c:v>50</c:v>
                </c:pt>
                <c:pt idx="11806">
                  <c:v>82</c:v>
                </c:pt>
                <c:pt idx="11807">
                  <c:v>84</c:v>
                </c:pt>
                <c:pt idx="11808">
                  <c:v>33</c:v>
                </c:pt>
                <c:pt idx="11809">
                  <c:v>83</c:v>
                </c:pt>
                <c:pt idx="11810">
                  <c:v>64</c:v>
                </c:pt>
                <c:pt idx="11811">
                  <c:v>77</c:v>
                </c:pt>
                <c:pt idx="11812">
                  <c:v>34</c:v>
                </c:pt>
                <c:pt idx="11813">
                  <c:v>34</c:v>
                </c:pt>
                <c:pt idx="11814">
                  <c:v>89</c:v>
                </c:pt>
                <c:pt idx="11815">
                  <c:v>54</c:v>
                </c:pt>
                <c:pt idx="11816">
                  <c:v>91</c:v>
                </c:pt>
                <c:pt idx="11817">
                  <c:v>11</c:v>
                </c:pt>
                <c:pt idx="11818">
                  <c:v>13</c:v>
                </c:pt>
                <c:pt idx="11819">
                  <c:v>4</c:v>
                </c:pt>
                <c:pt idx="11820">
                  <c:v>28</c:v>
                </c:pt>
                <c:pt idx="11821">
                  <c:v>170</c:v>
                </c:pt>
                <c:pt idx="11822">
                  <c:v>133</c:v>
                </c:pt>
                <c:pt idx="11823">
                  <c:v>143</c:v>
                </c:pt>
                <c:pt idx="11824">
                  <c:v>1002</c:v>
                </c:pt>
                <c:pt idx="11825">
                  <c:v>666</c:v>
                </c:pt>
                <c:pt idx="11826">
                  <c:v>441</c:v>
                </c:pt>
                <c:pt idx="11827">
                  <c:v>130</c:v>
                </c:pt>
                <c:pt idx="11828">
                  <c:v>13</c:v>
                </c:pt>
                <c:pt idx="11829">
                  <c:v>126</c:v>
                </c:pt>
                <c:pt idx="11830">
                  <c:v>138</c:v>
                </c:pt>
                <c:pt idx="11831">
                  <c:v>227</c:v>
                </c:pt>
                <c:pt idx="11832">
                  <c:v>411</c:v>
                </c:pt>
                <c:pt idx="11833">
                  <c:v>84</c:v>
                </c:pt>
                <c:pt idx="11834">
                  <c:v>13</c:v>
                </c:pt>
                <c:pt idx="11835">
                  <c:v>90</c:v>
                </c:pt>
                <c:pt idx="11836">
                  <c:v>55</c:v>
                </c:pt>
                <c:pt idx="11837">
                  <c:v>131</c:v>
                </c:pt>
                <c:pt idx="11838">
                  <c:v>384</c:v>
                </c:pt>
                <c:pt idx="11839">
                  <c:v>11</c:v>
                </c:pt>
                <c:pt idx="11840">
                  <c:v>256</c:v>
                </c:pt>
                <c:pt idx="11841">
                  <c:v>648</c:v>
                </c:pt>
                <c:pt idx="11842">
                  <c:v>171</c:v>
                </c:pt>
                <c:pt idx="11843">
                  <c:v>51</c:v>
                </c:pt>
                <c:pt idx="11844">
                  <c:v>125</c:v>
                </c:pt>
                <c:pt idx="11845">
                  <c:v>17</c:v>
                </c:pt>
                <c:pt idx="11846">
                  <c:v>153</c:v>
                </c:pt>
                <c:pt idx="11847">
                  <c:v>89</c:v>
                </c:pt>
                <c:pt idx="11848">
                  <c:v>672</c:v>
                </c:pt>
                <c:pt idx="11849">
                  <c:v>13</c:v>
                </c:pt>
                <c:pt idx="11850">
                  <c:v>63</c:v>
                </c:pt>
                <c:pt idx="11851">
                  <c:v>31</c:v>
                </c:pt>
                <c:pt idx="11852">
                  <c:v>123</c:v>
                </c:pt>
                <c:pt idx="11853">
                  <c:v>394</c:v>
                </c:pt>
                <c:pt idx="11854">
                  <c:v>123</c:v>
                </c:pt>
                <c:pt idx="11855">
                  <c:v>78</c:v>
                </c:pt>
                <c:pt idx="11856">
                  <c:v>65</c:v>
                </c:pt>
                <c:pt idx="11857">
                  <c:v>296</c:v>
                </c:pt>
                <c:pt idx="11858">
                  <c:v>46</c:v>
                </c:pt>
                <c:pt idx="11859">
                  <c:v>22</c:v>
                </c:pt>
                <c:pt idx="11860">
                  <c:v>269</c:v>
                </c:pt>
                <c:pt idx="11861">
                  <c:v>70</c:v>
                </c:pt>
                <c:pt idx="11862">
                  <c:v>94</c:v>
                </c:pt>
                <c:pt idx="11863">
                  <c:v>19</c:v>
                </c:pt>
                <c:pt idx="11864">
                  <c:v>204</c:v>
                </c:pt>
                <c:pt idx="11865">
                  <c:v>411</c:v>
                </c:pt>
                <c:pt idx="11866">
                  <c:v>86</c:v>
                </c:pt>
                <c:pt idx="11867">
                  <c:v>96</c:v>
                </c:pt>
                <c:pt idx="11868">
                  <c:v>432</c:v>
                </c:pt>
                <c:pt idx="11869">
                  <c:v>36</c:v>
                </c:pt>
                <c:pt idx="11870">
                  <c:v>23</c:v>
                </c:pt>
                <c:pt idx="11871">
                  <c:v>39</c:v>
                </c:pt>
                <c:pt idx="11872">
                  <c:v>101</c:v>
                </c:pt>
                <c:pt idx="11873">
                  <c:v>105</c:v>
                </c:pt>
                <c:pt idx="11874">
                  <c:v>71</c:v>
                </c:pt>
                <c:pt idx="11875">
                  <c:v>261</c:v>
                </c:pt>
                <c:pt idx="11876">
                  <c:v>123</c:v>
                </c:pt>
                <c:pt idx="11877">
                  <c:v>333</c:v>
                </c:pt>
                <c:pt idx="11878">
                  <c:v>128</c:v>
                </c:pt>
                <c:pt idx="11879">
                  <c:v>60</c:v>
                </c:pt>
                <c:pt idx="11880">
                  <c:v>88</c:v>
                </c:pt>
                <c:pt idx="11881">
                  <c:v>45</c:v>
                </c:pt>
                <c:pt idx="11882">
                  <c:v>14</c:v>
                </c:pt>
                <c:pt idx="11883">
                  <c:v>109</c:v>
                </c:pt>
                <c:pt idx="11884">
                  <c:v>260</c:v>
                </c:pt>
                <c:pt idx="11885">
                  <c:v>168</c:v>
                </c:pt>
                <c:pt idx="11886">
                  <c:v>285</c:v>
                </c:pt>
                <c:pt idx="11887">
                  <c:v>227</c:v>
                </c:pt>
                <c:pt idx="11888">
                  <c:v>139</c:v>
                </c:pt>
                <c:pt idx="11889">
                  <c:v>165</c:v>
                </c:pt>
                <c:pt idx="11890">
                  <c:v>1</c:v>
                </c:pt>
                <c:pt idx="11891">
                  <c:v>48</c:v>
                </c:pt>
                <c:pt idx="11892">
                  <c:v>120</c:v>
                </c:pt>
                <c:pt idx="11893">
                  <c:v>77</c:v>
                </c:pt>
                <c:pt idx="11894">
                  <c:v>255</c:v>
                </c:pt>
                <c:pt idx="11895">
                  <c:v>45</c:v>
                </c:pt>
                <c:pt idx="11896">
                  <c:v>12</c:v>
                </c:pt>
                <c:pt idx="11897">
                  <c:v>220</c:v>
                </c:pt>
                <c:pt idx="11898">
                  <c:v>66</c:v>
                </c:pt>
                <c:pt idx="11899">
                  <c:v>68</c:v>
                </c:pt>
                <c:pt idx="11900">
                  <c:v>156</c:v>
                </c:pt>
                <c:pt idx="11901">
                  <c:v>26</c:v>
                </c:pt>
                <c:pt idx="11902">
                  <c:v>64</c:v>
                </c:pt>
                <c:pt idx="11903">
                  <c:v>7</c:v>
                </c:pt>
                <c:pt idx="11904">
                  <c:v>283</c:v>
                </c:pt>
                <c:pt idx="11905">
                  <c:v>25</c:v>
                </c:pt>
                <c:pt idx="11906">
                  <c:v>222</c:v>
                </c:pt>
                <c:pt idx="11907">
                  <c:v>84</c:v>
                </c:pt>
                <c:pt idx="11908">
                  <c:v>374</c:v>
                </c:pt>
                <c:pt idx="11909">
                  <c:v>106</c:v>
                </c:pt>
                <c:pt idx="11910">
                  <c:v>132</c:v>
                </c:pt>
                <c:pt idx="11911">
                  <c:v>84</c:v>
                </c:pt>
                <c:pt idx="11912">
                  <c:v>240</c:v>
                </c:pt>
                <c:pt idx="11913">
                  <c:v>65</c:v>
                </c:pt>
                <c:pt idx="11914">
                  <c:v>128</c:v>
                </c:pt>
                <c:pt idx="11915">
                  <c:v>41</c:v>
                </c:pt>
                <c:pt idx="11916">
                  <c:v>100</c:v>
                </c:pt>
                <c:pt idx="11917">
                  <c:v>173</c:v>
                </c:pt>
                <c:pt idx="11918">
                  <c:v>15</c:v>
                </c:pt>
                <c:pt idx="11919">
                  <c:v>39</c:v>
                </c:pt>
                <c:pt idx="11920">
                  <c:v>34</c:v>
                </c:pt>
                <c:pt idx="11921">
                  <c:v>39</c:v>
                </c:pt>
                <c:pt idx="11922">
                  <c:v>48</c:v>
                </c:pt>
                <c:pt idx="11923">
                  <c:v>107</c:v>
                </c:pt>
                <c:pt idx="11924">
                  <c:v>248</c:v>
                </c:pt>
                <c:pt idx="11925">
                  <c:v>45</c:v>
                </c:pt>
                <c:pt idx="11926">
                  <c:v>10</c:v>
                </c:pt>
                <c:pt idx="11927">
                  <c:v>103</c:v>
                </c:pt>
                <c:pt idx="11928">
                  <c:v>100</c:v>
                </c:pt>
                <c:pt idx="11929">
                  <c:v>9</c:v>
                </c:pt>
                <c:pt idx="11930">
                  <c:v>46</c:v>
                </c:pt>
                <c:pt idx="11931">
                  <c:v>141</c:v>
                </c:pt>
                <c:pt idx="11932">
                  <c:v>10</c:v>
                </c:pt>
                <c:pt idx="11933">
                  <c:v>11</c:v>
                </c:pt>
                <c:pt idx="11934">
                  <c:v>18</c:v>
                </c:pt>
                <c:pt idx="11935">
                  <c:v>34</c:v>
                </c:pt>
                <c:pt idx="11936">
                  <c:v>11</c:v>
                </c:pt>
                <c:pt idx="11937">
                  <c:v>4</c:v>
                </c:pt>
                <c:pt idx="11938">
                  <c:v>33</c:v>
                </c:pt>
                <c:pt idx="11939">
                  <c:v>70</c:v>
                </c:pt>
                <c:pt idx="11940">
                  <c:v>19</c:v>
                </c:pt>
                <c:pt idx="11941">
                  <c:v>145</c:v>
                </c:pt>
                <c:pt idx="11942">
                  <c:v>55</c:v>
                </c:pt>
                <c:pt idx="11943">
                  <c:v>20</c:v>
                </c:pt>
                <c:pt idx="11944">
                  <c:v>55</c:v>
                </c:pt>
                <c:pt idx="11945">
                  <c:v>17</c:v>
                </c:pt>
                <c:pt idx="11946">
                  <c:v>24</c:v>
                </c:pt>
                <c:pt idx="11947">
                  <c:v>49</c:v>
                </c:pt>
                <c:pt idx="11948">
                  <c:v>72</c:v>
                </c:pt>
                <c:pt idx="11949">
                  <c:v>10</c:v>
                </c:pt>
                <c:pt idx="11950">
                  <c:v>45</c:v>
                </c:pt>
                <c:pt idx="11951">
                  <c:v>54</c:v>
                </c:pt>
                <c:pt idx="11952">
                  <c:v>22</c:v>
                </c:pt>
                <c:pt idx="11953">
                  <c:v>20</c:v>
                </c:pt>
                <c:pt idx="11954">
                  <c:v>11</c:v>
                </c:pt>
                <c:pt idx="11955">
                  <c:v>7</c:v>
                </c:pt>
                <c:pt idx="11956">
                  <c:v>4</c:v>
                </c:pt>
                <c:pt idx="11957">
                  <c:v>8</c:v>
                </c:pt>
                <c:pt idx="11958">
                  <c:v>9</c:v>
                </c:pt>
                <c:pt idx="11959">
                  <c:v>3</c:v>
                </c:pt>
                <c:pt idx="11960">
                  <c:v>4</c:v>
                </c:pt>
                <c:pt idx="11961">
                  <c:v>20</c:v>
                </c:pt>
                <c:pt idx="11962">
                  <c:v>94</c:v>
                </c:pt>
                <c:pt idx="11963">
                  <c:v>64</c:v>
                </c:pt>
                <c:pt idx="11964">
                  <c:v>99</c:v>
                </c:pt>
                <c:pt idx="11965">
                  <c:v>93</c:v>
                </c:pt>
                <c:pt idx="11966">
                  <c:v>62</c:v>
                </c:pt>
                <c:pt idx="11967">
                  <c:v>25</c:v>
                </c:pt>
                <c:pt idx="11968">
                  <c:v>3</c:v>
                </c:pt>
                <c:pt idx="11969">
                  <c:v>1</c:v>
                </c:pt>
                <c:pt idx="11970">
                  <c:v>9</c:v>
                </c:pt>
                <c:pt idx="11971">
                  <c:v>4</c:v>
                </c:pt>
                <c:pt idx="11972">
                  <c:v>5</c:v>
                </c:pt>
                <c:pt idx="11973">
                  <c:v>7</c:v>
                </c:pt>
                <c:pt idx="11974">
                  <c:v>7</c:v>
                </c:pt>
                <c:pt idx="11975">
                  <c:v>4</c:v>
                </c:pt>
                <c:pt idx="11976">
                  <c:v>0</c:v>
                </c:pt>
                <c:pt idx="11977">
                  <c:v>18</c:v>
                </c:pt>
                <c:pt idx="11978">
                  <c:v>13</c:v>
                </c:pt>
                <c:pt idx="11979">
                  <c:v>8</c:v>
                </c:pt>
                <c:pt idx="11980">
                  <c:v>9</c:v>
                </c:pt>
                <c:pt idx="11981">
                  <c:v>9</c:v>
                </c:pt>
                <c:pt idx="11982">
                  <c:v>112</c:v>
                </c:pt>
                <c:pt idx="11983">
                  <c:v>54</c:v>
                </c:pt>
                <c:pt idx="11984">
                  <c:v>10</c:v>
                </c:pt>
                <c:pt idx="11985">
                  <c:v>29</c:v>
                </c:pt>
                <c:pt idx="11986">
                  <c:v>7</c:v>
                </c:pt>
                <c:pt idx="11987">
                  <c:v>9</c:v>
                </c:pt>
                <c:pt idx="11988">
                  <c:v>9</c:v>
                </c:pt>
                <c:pt idx="11989">
                  <c:v>8</c:v>
                </c:pt>
                <c:pt idx="11990">
                  <c:v>8</c:v>
                </c:pt>
                <c:pt idx="11991">
                  <c:v>24</c:v>
                </c:pt>
                <c:pt idx="11992">
                  <c:v>8</c:v>
                </c:pt>
                <c:pt idx="11993">
                  <c:v>12</c:v>
                </c:pt>
                <c:pt idx="11994">
                  <c:v>22</c:v>
                </c:pt>
                <c:pt idx="11995">
                  <c:v>5</c:v>
                </c:pt>
                <c:pt idx="11996">
                  <c:v>8</c:v>
                </c:pt>
                <c:pt idx="11997">
                  <c:v>0</c:v>
                </c:pt>
                <c:pt idx="11998">
                  <c:v>0</c:v>
                </c:pt>
                <c:pt idx="11999">
                  <c:v>0</c:v>
                </c:pt>
                <c:pt idx="12000">
                  <c:v>4</c:v>
                </c:pt>
                <c:pt idx="12001">
                  <c:v>4</c:v>
                </c:pt>
                <c:pt idx="12002">
                  <c:v>6</c:v>
                </c:pt>
                <c:pt idx="12003">
                  <c:v>2</c:v>
                </c:pt>
                <c:pt idx="12004">
                  <c:v>0</c:v>
                </c:pt>
                <c:pt idx="12005">
                  <c:v>5</c:v>
                </c:pt>
                <c:pt idx="12006">
                  <c:v>4</c:v>
                </c:pt>
                <c:pt idx="12007">
                  <c:v>0</c:v>
                </c:pt>
                <c:pt idx="12008">
                  <c:v>0</c:v>
                </c:pt>
                <c:pt idx="12009">
                  <c:v>1</c:v>
                </c:pt>
                <c:pt idx="12010">
                  <c:v>7</c:v>
                </c:pt>
                <c:pt idx="12011">
                  <c:v>59</c:v>
                </c:pt>
                <c:pt idx="12012">
                  <c:v>17</c:v>
                </c:pt>
                <c:pt idx="12013">
                  <c:v>14</c:v>
                </c:pt>
                <c:pt idx="12014">
                  <c:v>2</c:v>
                </c:pt>
                <c:pt idx="12015">
                  <c:v>1</c:v>
                </c:pt>
                <c:pt idx="12016">
                  <c:v>0</c:v>
                </c:pt>
                <c:pt idx="12017">
                  <c:v>3</c:v>
                </c:pt>
                <c:pt idx="12018">
                  <c:v>7</c:v>
                </c:pt>
                <c:pt idx="12019">
                  <c:v>5</c:v>
                </c:pt>
                <c:pt idx="12020">
                  <c:v>5</c:v>
                </c:pt>
                <c:pt idx="12021">
                  <c:v>2</c:v>
                </c:pt>
                <c:pt idx="12022">
                  <c:v>0</c:v>
                </c:pt>
                <c:pt idx="12023">
                  <c:v>0</c:v>
                </c:pt>
                <c:pt idx="12024">
                  <c:v>3</c:v>
                </c:pt>
                <c:pt idx="12025">
                  <c:v>0</c:v>
                </c:pt>
                <c:pt idx="12026">
                  <c:v>3</c:v>
                </c:pt>
                <c:pt idx="12027">
                  <c:v>3</c:v>
                </c:pt>
                <c:pt idx="12028">
                  <c:v>4</c:v>
                </c:pt>
                <c:pt idx="12029">
                  <c:v>0</c:v>
                </c:pt>
                <c:pt idx="12030">
                  <c:v>2</c:v>
                </c:pt>
                <c:pt idx="12031">
                  <c:v>0</c:v>
                </c:pt>
                <c:pt idx="12032">
                  <c:v>2</c:v>
                </c:pt>
                <c:pt idx="12033">
                  <c:v>2</c:v>
                </c:pt>
                <c:pt idx="12034">
                  <c:v>0</c:v>
                </c:pt>
                <c:pt idx="12035">
                  <c:v>0</c:v>
                </c:pt>
                <c:pt idx="12036">
                  <c:v>2</c:v>
                </c:pt>
                <c:pt idx="12037">
                  <c:v>2</c:v>
                </c:pt>
                <c:pt idx="12038">
                  <c:v>2</c:v>
                </c:pt>
                <c:pt idx="12039">
                  <c:v>15</c:v>
                </c:pt>
                <c:pt idx="12040">
                  <c:v>2</c:v>
                </c:pt>
                <c:pt idx="12041">
                  <c:v>5</c:v>
                </c:pt>
                <c:pt idx="12042">
                  <c:v>16</c:v>
                </c:pt>
                <c:pt idx="12043">
                  <c:v>32</c:v>
                </c:pt>
                <c:pt idx="12044">
                  <c:v>6</c:v>
                </c:pt>
                <c:pt idx="12045">
                  <c:v>13</c:v>
                </c:pt>
                <c:pt idx="12046">
                  <c:v>4</c:v>
                </c:pt>
                <c:pt idx="12047">
                  <c:v>0</c:v>
                </c:pt>
                <c:pt idx="12048">
                  <c:v>5</c:v>
                </c:pt>
                <c:pt idx="12049">
                  <c:v>1</c:v>
                </c:pt>
                <c:pt idx="12050">
                  <c:v>7</c:v>
                </c:pt>
                <c:pt idx="12051">
                  <c:v>7</c:v>
                </c:pt>
                <c:pt idx="12052">
                  <c:v>9</c:v>
                </c:pt>
                <c:pt idx="12053">
                  <c:v>11</c:v>
                </c:pt>
                <c:pt idx="12054">
                  <c:v>23</c:v>
                </c:pt>
                <c:pt idx="12055">
                  <c:v>0</c:v>
                </c:pt>
                <c:pt idx="12056">
                  <c:v>0</c:v>
                </c:pt>
                <c:pt idx="12057">
                  <c:v>13</c:v>
                </c:pt>
                <c:pt idx="12058">
                  <c:v>0</c:v>
                </c:pt>
                <c:pt idx="12059">
                  <c:v>6</c:v>
                </c:pt>
                <c:pt idx="12060">
                  <c:v>13</c:v>
                </c:pt>
                <c:pt idx="12061">
                  <c:v>5</c:v>
                </c:pt>
                <c:pt idx="12062">
                  <c:v>3</c:v>
                </c:pt>
                <c:pt idx="12063">
                  <c:v>10</c:v>
                </c:pt>
                <c:pt idx="12064">
                  <c:v>10</c:v>
                </c:pt>
                <c:pt idx="12065">
                  <c:v>0</c:v>
                </c:pt>
                <c:pt idx="12066">
                  <c:v>2</c:v>
                </c:pt>
                <c:pt idx="12067">
                  <c:v>3</c:v>
                </c:pt>
                <c:pt idx="12068">
                  <c:v>2</c:v>
                </c:pt>
                <c:pt idx="12069">
                  <c:v>6</c:v>
                </c:pt>
                <c:pt idx="12070">
                  <c:v>6</c:v>
                </c:pt>
                <c:pt idx="12071">
                  <c:v>3</c:v>
                </c:pt>
                <c:pt idx="12072">
                  <c:v>0</c:v>
                </c:pt>
                <c:pt idx="12073">
                  <c:v>6</c:v>
                </c:pt>
                <c:pt idx="12074">
                  <c:v>2</c:v>
                </c:pt>
                <c:pt idx="12075">
                  <c:v>4</c:v>
                </c:pt>
                <c:pt idx="12076">
                  <c:v>2</c:v>
                </c:pt>
                <c:pt idx="12077">
                  <c:v>0</c:v>
                </c:pt>
                <c:pt idx="12078">
                  <c:v>2</c:v>
                </c:pt>
                <c:pt idx="12079">
                  <c:v>8</c:v>
                </c:pt>
                <c:pt idx="12080">
                  <c:v>6</c:v>
                </c:pt>
                <c:pt idx="12081">
                  <c:v>0</c:v>
                </c:pt>
                <c:pt idx="12082">
                  <c:v>3</c:v>
                </c:pt>
                <c:pt idx="12083">
                  <c:v>0</c:v>
                </c:pt>
                <c:pt idx="12084">
                  <c:v>2</c:v>
                </c:pt>
                <c:pt idx="12085">
                  <c:v>2</c:v>
                </c:pt>
                <c:pt idx="12086">
                  <c:v>0</c:v>
                </c:pt>
                <c:pt idx="12087">
                  <c:v>1</c:v>
                </c:pt>
                <c:pt idx="12088">
                  <c:v>6</c:v>
                </c:pt>
                <c:pt idx="12089">
                  <c:v>0</c:v>
                </c:pt>
                <c:pt idx="12090">
                  <c:v>0</c:v>
                </c:pt>
                <c:pt idx="12091">
                  <c:v>6</c:v>
                </c:pt>
                <c:pt idx="12092">
                  <c:v>5</c:v>
                </c:pt>
                <c:pt idx="12093">
                  <c:v>6</c:v>
                </c:pt>
                <c:pt idx="12094">
                  <c:v>2</c:v>
                </c:pt>
                <c:pt idx="12095">
                  <c:v>0</c:v>
                </c:pt>
                <c:pt idx="12096">
                  <c:v>0</c:v>
                </c:pt>
                <c:pt idx="12097">
                  <c:v>0</c:v>
                </c:pt>
                <c:pt idx="12098">
                  <c:v>4</c:v>
                </c:pt>
                <c:pt idx="12099">
                  <c:v>2</c:v>
                </c:pt>
                <c:pt idx="12100">
                  <c:v>0</c:v>
                </c:pt>
                <c:pt idx="12101">
                  <c:v>0</c:v>
                </c:pt>
                <c:pt idx="12102">
                  <c:v>5</c:v>
                </c:pt>
                <c:pt idx="12103">
                  <c:v>2</c:v>
                </c:pt>
                <c:pt idx="12104">
                  <c:v>2</c:v>
                </c:pt>
                <c:pt idx="12105">
                  <c:v>3</c:v>
                </c:pt>
                <c:pt idx="12106">
                  <c:v>5</c:v>
                </c:pt>
                <c:pt idx="12107">
                  <c:v>0</c:v>
                </c:pt>
                <c:pt idx="12108">
                  <c:v>3</c:v>
                </c:pt>
                <c:pt idx="12109">
                  <c:v>1</c:v>
                </c:pt>
                <c:pt idx="12110">
                  <c:v>0</c:v>
                </c:pt>
                <c:pt idx="12111">
                  <c:v>0</c:v>
                </c:pt>
                <c:pt idx="12112">
                  <c:v>3</c:v>
                </c:pt>
                <c:pt idx="12113">
                  <c:v>3</c:v>
                </c:pt>
                <c:pt idx="12114">
                  <c:v>0</c:v>
                </c:pt>
                <c:pt idx="12115">
                  <c:v>0</c:v>
                </c:pt>
                <c:pt idx="12116">
                  <c:v>3</c:v>
                </c:pt>
                <c:pt idx="12117">
                  <c:v>187</c:v>
                </c:pt>
                <c:pt idx="12118">
                  <c:v>41</c:v>
                </c:pt>
                <c:pt idx="12119">
                  <c:v>84</c:v>
                </c:pt>
                <c:pt idx="12120">
                  <c:v>130</c:v>
                </c:pt>
                <c:pt idx="12121">
                  <c:v>30</c:v>
                </c:pt>
                <c:pt idx="12122">
                  <c:v>7</c:v>
                </c:pt>
                <c:pt idx="12123">
                  <c:v>49</c:v>
                </c:pt>
                <c:pt idx="12124">
                  <c:v>6</c:v>
                </c:pt>
                <c:pt idx="12125">
                  <c:v>18</c:v>
                </c:pt>
                <c:pt idx="12126">
                  <c:v>105</c:v>
                </c:pt>
                <c:pt idx="12127">
                  <c:v>155</c:v>
                </c:pt>
                <c:pt idx="12128">
                  <c:v>87</c:v>
                </c:pt>
                <c:pt idx="12129">
                  <c:v>15</c:v>
                </c:pt>
                <c:pt idx="12130">
                  <c:v>95</c:v>
                </c:pt>
                <c:pt idx="12131">
                  <c:v>96</c:v>
                </c:pt>
                <c:pt idx="12132">
                  <c:v>55</c:v>
                </c:pt>
                <c:pt idx="12133">
                  <c:v>41</c:v>
                </c:pt>
                <c:pt idx="12134">
                  <c:v>86</c:v>
                </c:pt>
                <c:pt idx="12135">
                  <c:v>3</c:v>
                </c:pt>
                <c:pt idx="12136">
                  <c:v>161</c:v>
                </c:pt>
                <c:pt idx="12137">
                  <c:v>29</c:v>
                </c:pt>
                <c:pt idx="12138">
                  <c:v>0</c:v>
                </c:pt>
                <c:pt idx="12139">
                  <c:v>40</c:v>
                </c:pt>
                <c:pt idx="12140">
                  <c:v>31</c:v>
                </c:pt>
                <c:pt idx="12141">
                  <c:v>21</c:v>
                </c:pt>
                <c:pt idx="12142">
                  <c:v>24</c:v>
                </c:pt>
                <c:pt idx="12143">
                  <c:v>12</c:v>
                </c:pt>
                <c:pt idx="12144">
                  <c:v>116</c:v>
                </c:pt>
                <c:pt idx="12145">
                  <c:v>15</c:v>
                </c:pt>
                <c:pt idx="12146">
                  <c:v>6</c:v>
                </c:pt>
                <c:pt idx="12147">
                  <c:v>3</c:v>
                </c:pt>
                <c:pt idx="12148">
                  <c:v>18</c:v>
                </c:pt>
                <c:pt idx="12149">
                  <c:v>12</c:v>
                </c:pt>
                <c:pt idx="12150">
                  <c:v>7</c:v>
                </c:pt>
                <c:pt idx="12151">
                  <c:v>7</c:v>
                </c:pt>
                <c:pt idx="12152">
                  <c:v>9</c:v>
                </c:pt>
                <c:pt idx="12153">
                  <c:v>2</c:v>
                </c:pt>
                <c:pt idx="12154">
                  <c:v>9</c:v>
                </c:pt>
                <c:pt idx="12155">
                  <c:v>23</c:v>
                </c:pt>
                <c:pt idx="12156">
                  <c:v>10</c:v>
                </c:pt>
                <c:pt idx="12157">
                  <c:v>4</c:v>
                </c:pt>
                <c:pt idx="12158">
                  <c:v>10</c:v>
                </c:pt>
                <c:pt idx="12159">
                  <c:v>4</c:v>
                </c:pt>
                <c:pt idx="12160">
                  <c:v>3</c:v>
                </c:pt>
                <c:pt idx="12161">
                  <c:v>10</c:v>
                </c:pt>
                <c:pt idx="12162">
                  <c:v>3</c:v>
                </c:pt>
                <c:pt idx="12163">
                  <c:v>15</c:v>
                </c:pt>
                <c:pt idx="12164">
                  <c:v>1</c:v>
                </c:pt>
                <c:pt idx="12165">
                  <c:v>11</c:v>
                </c:pt>
                <c:pt idx="12166">
                  <c:v>10</c:v>
                </c:pt>
                <c:pt idx="12167">
                  <c:v>15</c:v>
                </c:pt>
                <c:pt idx="12168">
                  <c:v>30</c:v>
                </c:pt>
                <c:pt idx="12169">
                  <c:v>3</c:v>
                </c:pt>
                <c:pt idx="12170">
                  <c:v>1</c:v>
                </c:pt>
                <c:pt idx="12171">
                  <c:v>5</c:v>
                </c:pt>
                <c:pt idx="12172">
                  <c:v>8</c:v>
                </c:pt>
                <c:pt idx="12173">
                  <c:v>36</c:v>
                </c:pt>
                <c:pt idx="12174">
                  <c:v>7</c:v>
                </c:pt>
                <c:pt idx="12175">
                  <c:v>8</c:v>
                </c:pt>
                <c:pt idx="12176">
                  <c:v>16</c:v>
                </c:pt>
                <c:pt idx="12177">
                  <c:v>1</c:v>
                </c:pt>
                <c:pt idx="12178">
                  <c:v>6</c:v>
                </c:pt>
                <c:pt idx="12179">
                  <c:v>2</c:v>
                </c:pt>
                <c:pt idx="12180">
                  <c:v>6</c:v>
                </c:pt>
                <c:pt idx="12181">
                  <c:v>3</c:v>
                </c:pt>
                <c:pt idx="12182">
                  <c:v>8</c:v>
                </c:pt>
                <c:pt idx="12183">
                  <c:v>3</c:v>
                </c:pt>
                <c:pt idx="12184">
                  <c:v>1</c:v>
                </c:pt>
                <c:pt idx="12185">
                  <c:v>25</c:v>
                </c:pt>
                <c:pt idx="12186">
                  <c:v>13</c:v>
                </c:pt>
                <c:pt idx="12187">
                  <c:v>3</c:v>
                </c:pt>
                <c:pt idx="12188">
                  <c:v>4</c:v>
                </c:pt>
                <c:pt idx="12189">
                  <c:v>9</c:v>
                </c:pt>
                <c:pt idx="12190">
                  <c:v>4</c:v>
                </c:pt>
                <c:pt idx="12191">
                  <c:v>19</c:v>
                </c:pt>
                <c:pt idx="12192">
                  <c:v>9</c:v>
                </c:pt>
                <c:pt idx="12193">
                  <c:v>3</c:v>
                </c:pt>
                <c:pt idx="12194">
                  <c:v>8</c:v>
                </c:pt>
                <c:pt idx="12195">
                  <c:v>3</c:v>
                </c:pt>
                <c:pt idx="12196">
                  <c:v>34</c:v>
                </c:pt>
                <c:pt idx="12197">
                  <c:v>12</c:v>
                </c:pt>
                <c:pt idx="12198">
                  <c:v>1</c:v>
                </c:pt>
                <c:pt idx="12199">
                  <c:v>4</c:v>
                </c:pt>
                <c:pt idx="12200">
                  <c:v>4</c:v>
                </c:pt>
                <c:pt idx="12201">
                  <c:v>6</c:v>
                </c:pt>
                <c:pt idx="12202">
                  <c:v>0</c:v>
                </c:pt>
                <c:pt idx="12203">
                  <c:v>2</c:v>
                </c:pt>
                <c:pt idx="12204">
                  <c:v>5</c:v>
                </c:pt>
                <c:pt idx="12205">
                  <c:v>6</c:v>
                </c:pt>
                <c:pt idx="12206">
                  <c:v>1</c:v>
                </c:pt>
                <c:pt idx="12207">
                  <c:v>1</c:v>
                </c:pt>
                <c:pt idx="12208">
                  <c:v>1</c:v>
                </c:pt>
                <c:pt idx="12209">
                  <c:v>1</c:v>
                </c:pt>
                <c:pt idx="12210">
                  <c:v>4</c:v>
                </c:pt>
                <c:pt idx="12211">
                  <c:v>3</c:v>
                </c:pt>
                <c:pt idx="12212">
                  <c:v>6</c:v>
                </c:pt>
                <c:pt idx="12213">
                  <c:v>0</c:v>
                </c:pt>
                <c:pt idx="12214">
                  <c:v>2</c:v>
                </c:pt>
                <c:pt idx="12215">
                  <c:v>8</c:v>
                </c:pt>
                <c:pt idx="12216">
                  <c:v>1</c:v>
                </c:pt>
                <c:pt idx="12217">
                  <c:v>0</c:v>
                </c:pt>
                <c:pt idx="12218">
                  <c:v>0</c:v>
                </c:pt>
                <c:pt idx="12219">
                  <c:v>5</c:v>
                </c:pt>
                <c:pt idx="12220">
                  <c:v>0</c:v>
                </c:pt>
                <c:pt idx="12221">
                  <c:v>19</c:v>
                </c:pt>
                <c:pt idx="12222">
                  <c:v>11</c:v>
                </c:pt>
                <c:pt idx="12223">
                  <c:v>2</c:v>
                </c:pt>
                <c:pt idx="12224">
                  <c:v>2</c:v>
                </c:pt>
                <c:pt idx="12225">
                  <c:v>5</c:v>
                </c:pt>
                <c:pt idx="12226">
                  <c:v>5</c:v>
                </c:pt>
                <c:pt idx="12227">
                  <c:v>2</c:v>
                </c:pt>
                <c:pt idx="12228">
                  <c:v>4</c:v>
                </c:pt>
                <c:pt idx="12229">
                  <c:v>2</c:v>
                </c:pt>
                <c:pt idx="12230">
                  <c:v>2</c:v>
                </c:pt>
                <c:pt idx="12231">
                  <c:v>1</c:v>
                </c:pt>
                <c:pt idx="12232">
                  <c:v>3</c:v>
                </c:pt>
                <c:pt idx="12233">
                  <c:v>37</c:v>
                </c:pt>
                <c:pt idx="12234">
                  <c:v>111</c:v>
                </c:pt>
                <c:pt idx="12235">
                  <c:v>39</c:v>
                </c:pt>
                <c:pt idx="12236">
                  <c:v>117</c:v>
                </c:pt>
                <c:pt idx="12237">
                  <c:v>33</c:v>
                </c:pt>
                <c:pt idx="12238">
                  <c:v>75</c:v>
                </c:pt>
                <c:pt idx="12239">
                  <c:v>18</c:v>
                </c:pt>
                <c:pt idx="12240">
                  <c:v>2</c:v>
                </c:pt>
                <c:pt idx="12241">
                  <c:v>20</c:v>
                </c:pt>
                <c:pt idx="12242">
                  <c:v>8</c:v>
                </c:pt>
                <c:pt idx="12243">
                  <c:v>112</c:v>
                </c:pt>
                <c:pt idx="12244">
                  <c:v>58</c:v>
                </c:pt>
                <c:pt idx="12245">
                  <c:v>40</c:v>
                </c:pt>
                <c:pt idx="12246">
                  <c:v>53</c:v>
                </c:pt>
                <c:pt idx="12247">
                  <c:v>41</c:v>
                </c:pt>
                <c:pt idx="12248">
                  <c:v>39</c:v>
                </c:pt>
                <c:pt idx="12249">
                  <c:v>15</c:v>
                </c:pt>
                <c:pt idx="12250">
                  <c:v>17</c:v>
                </c:pt>
                <c:pt idx="12251">
                  <c:v>4</c:v>
                </c:pt>
                <c:pt idx="12252">
                  <c:v>50</c:v>
                </c:pt>
                <c:pt idx="12253">
                  <c:v>6</c:v>
                </c:pt>
                <c:pt idx="12254">
                  <c:v>2</c:v>
                </c:pt>
                <c:pt idx="12255">
                  <c:v>10</c:v>
                </c:pt>
                <c:pt idx="12256">
                  <c:v>12</c:v>
                </c:pt>
                <c:pt idx="12257">
                  <c:v>94</c:v>
                </c:pt>
                <c:pt idx="12258">
                  <c:v>3</c:v>
                </c:pt>
                <c:pt idx="12259">
                  <c:v>73</c:v>
                </c:pt>
                <c:pt idx="12260">
                  <c:v>81</c:v>
                </c:pt>
                <c:pt idx="12261">
                  <c:v>26</c:v>
                </c:pt>
                <c:pt idx="12262">
                  <c:v>35</c:v>
                </c:pt>
                <c:pt idx="12263">
                  <c:v>40</c:v>
                </c:pt>
                <c:pt idx="12264">
                  <c:v>49</c:v>
                </c:pt>
                <c:pt idx="12265">
                  <c:v>48</c:v>
                </c:pt>
                <c:pt idx="12266">
                  <c:v>15</c:v>
                </c:pt>
                <c:pt idx="12267">
                  <c:v>43</c:v>
                </c:pt>
                <c:pt idx="12268">
                  <c:v>76</c:v>
                </c:pt>
                <c:pt idx="12269">
                  <c:v>51</c:v>
                </c:pt>
                <c:pt idx="12270">
                  <c:v>5</c:v>
                </c:pt>
                <c:pt idx="12271">
                  <c:v>49</c:v>
                </c:pt>
                <c:pt idx="12272">
                  <c:v>44</c:v>
                </c:pt>
                <c:pt idx="12273">
                  <c:v>45</c:v>
                </c:pt>
                <c:pt idx="12274">
                  <c:v>58</c:v>
                </c:pt>
                <c:pt idx="12275">
                  <c:v>13</c:v>
                </c:pt>
                <c:pt idx="12276">
                  <c:v>32</c:v>
                </c:pt>
                <c:pt idx="12277">
                  <c:v>44</c:v>
                </c:pt>
                <c:pt idx="12278">
                  <c:v>62</c:v>
                </c:pt>
                <c:pt idx="12279">
                  <c:v>33</c:v>
                </c:pt>
                <c:pt idx="12280">
                  <c:v>36</c:v>
                </c:pt>
                <c:pt idx="12281">
                  <c:v>59</c:v>
                </c:pt>
                <c:pt idx="12282">
                  <c:v>0</c:v>
                </c:pt>
                <c:pt idx="12283">
                  <c:v>13</c:v>
                </c:pt>
                <c:pt idx="12284">
                  <c:v>10</c:v>
                </c:pt>
                <c:pt idx="12285">
                  <c:v>39</c:v>
                </c:pt>
                <c:pt idx="12286">
                  <c:v>10</c:v>
                </c:pt>
                <c:pt idx="12287">
                  <c:v>4</c:v>
                </c:pt>
                <c:pt idx="12288">
                  <c:v>14</c:v>
                </c:pt>
                <c:pt idx="12289">
                  <c:v>10</c:v>
                </c:pt>
                <c:pt idx="12290">
                  <c:v>5</c:v>
                </c:pt>
                <c:pt idx="12291">
                  <c:v>46</c:v>
                </c:pt>
                <c:pt idx="12292">
                  <c:v>11</c:v>
                </c:pt>
                <c:pt idx="12293">
                  <c:v>21</c:v>
                </c:pt>
                <c:pt idx="12294">
                  <c:v>25</c:v>
                </c:pt>
                <c:pt idx="12295">
                  <c:v>14</c:v>
                </c:pt>
                <c:pt idx="12296">
                  <c:v>44</c:v>
                </c:pt>
                <c:pt idx="12297">
                  <c:v>132</c:v>
                </c:pt>
                <c:pt idx="12298">
                  <c:v>27</c:v>
                </c:pt>
                <c:pt idx="12299">
                  <c:v>51</c:v>
                </c:pt>
                <c:pt idx="12300">
                  <c:v>10</c:v>
                </c:pt>
                <c:pt idx="12301">
                  <c:v>3</c:v>
                </c:pt>
                <c:pt idx="12302">
                  <c:v>15</c:v>
                </c:pt>
                <c:pt idx="12303">
                  <c:v>47</c:v>
                </c:pt>
                <c:pt idx="12304">
                  <c:v>60</c:v>
                </c:pt>
                <c:pt idx="12305">
                  <c:v>58</c:v>
                </c:pt>
                <c:pt idx="12306">
                  <c:v>11</c:v>
                </c:pt>
                <c:pt idx="12307">
                  <c:v>20</c:v>
                </c:pt>
                <c:pt idx="12308">
                  <c:v>10</c:v>
                </c:pt>
                <c:pt idx="12309">
                  <c:v>16</c:v>
                </c:pt>
                <c:pt idx="12310">
                  <c:v>4</c:v>
                </c:pt>
                <c:pt idx="12311">
                  <c:v>12</c:v>
                </c:pt>
                <c:pt idx="12312">
                  <c:v>21</c:v>
                </c:pt>
                <c:pt idx="12313">
                  <c:v>13</c:v>
                </c:pt>
                <c:pt idx="12314">
                  <c:v>53</c:v>
                </c:pt>
                <c:pt idx="12315">
                  <c:v>2</c:v>
                </c:pt>
                <c:pt idx="12316">
                  <c:v>57</c:v>
                </c:pt>
                <c:pt idx="12317">
                  <c:v>23</c:v>
                </c:pt>
                <c:pt idx="12318">
                  <c:v>10</c:v>
                </c:pt>
                <c:pt idx="12319">
                  <c:v>5</c:v>
                </c:pt>
                <c:pt idx="12320">
                  <c:v>5</c:v>
                </c:pt>
                <c:pt idx="12321">
                  <c:v>14</c:v>
                </c:pt>
                <c:pt idx="12322">
                  <c:v>11</c:v>
                </c:pt>
                <c:pt idx="12323">
                  <c:v>0</c:v>
                </c:pt>
                <c:pt idx="12324">
                  <c:v>26</c:v>
                </c:pt>
                <c:pt idx="12325">
                  <c:v>3</c:v>
                </c:pt>
                <c:pt idx="12326">
                  <c:v>25</c:v>
                </c:pt>
                <c:pt idx="12327">
                  <c:v>16</c:v>
                </c:pt>
                <c:pt idx="12328">
                  <c:v>5</c:v>
                </c:pt>
                <c:pt idx="12329">
                  <c:v>16</c:v>
                </c:pt>
                <c:pt idx="12330">
                  <c:v>8</c:v>
                </c:pt>
                <c:pt idx="12331">
                  <c:v>4</c:v>
                </c:pt>
                <c:pt idx="12332">
                  <c:v>5</c:v>
                </c:pt>
                <c:pt idx="12333">
                  <c:v>0</c:v>
                </c:pt>
                <c:pt idx="12334">
                  <c:v>0</c:v>
                </c:pt>
                <c:pt idx="12335">
                  <c:v>2</c:v>
                </c:pt>
                <c:pt idx="12336">
                  <c:v>11</c:v>
                </c:pt>
                <c:pt idx="12337">
                  <c:v>0</c:v>
                </c:pt>
                <c:pt idx="12338">
                  <c:v>0</c:v>
                </c:pt>
                <c:pt idx="12339">
                  <c:v>0</c:v>
                </c:pt>
                <c:pt idx="12340">
                  <c:v>0</c:v>
                </c:pt>
                <c:pt idx="12341">
                  <c:v>2</c:v>
                </c:pt>
                <c:pt idx="12342">
                  <c:v>48</c:v>
                </c:pt>
                <c:pt idx="12343">
                  <c:v>44</c:v>
                </c:pt>
                <c:pt idx="12344">
                  <c:v>14</c:v>
                </c:pt>
                <c:pt idx="12345">
                  <c:v>23</c:v>
                </c:pt>
                <c:pt idx="12346">
                  <c:v>7</c:v>
                </c:pt>
                <c:pt idx="12347">
                  <c:v>11</c:v>
                </c:pt>
                <c:pt idx="12348">
                  <c:v>28</c:v>
                </c:pt>
                <c:pt idx="12349">
                  <c:v>11</c:v>
                </c:pt>
                <c:pt idx="12350">
                  <c:v>19</c:v>
                </c:pt>
                <c:pt idx="12351">
                  <c:v>16</c:v>
                </c:pt>
                <c:pt idx="12352">
                  <c:v>103</c:v>
                </c:pt>
                <c:pt idx="12353">
                  <c:v>1</c:v>
                </c:pt>
                <c:pt idx="12354">
                  <c:v>12</c:v>
                </c:pt>
                <c:pt idx="12355">
                  <c:v>16</c:v>
                </c:pt>
                <c:pt idx="12356">
                  <c:v>13</c:v>
                </c:pt>
                <c:pt idx="12357">
                  <c:v>5</c:v>
                </c:pt>
                <c:pt idx="12358">
                  <c:v>5</c:v>
                </c:pt>
                <c:pt idx="12359">
                  <c:v>5</c:v>
                </c:pt>
                <c:pt idx="12360">
                  <c:v>9</c:v>
                </c:pt>
                <c:pt idx="12361">
                  <c:v>2</c:v>
                </c:pt>
                <c:pt idx="12362">
                  <c:v>1</c:v>
                </c:pt>
                <c:pt idx="12363">
                  <c:v>1</c:v>
                </c:pt>
                <c:pt idx="12364">
                  <c:v>0</c:v>
                </c:pt>
                <c:pt idx="12365">
                  <c:v>8</c:v>
                </c:pt>
                <c:pt idx="12366">
                  <c:v>11</c:v>
                </c:pt>
                <c:pt idx="12367">
                  <c:v>4</c:v>
                </c:pt>
                <c:pt idx="12368">
                  <c:v>15</c:v>
                </c:pt>
                <c:pt idx="12369">
                  <c:v>6</c:v>
                </c:pt>
                <c:pt idx="12370">
                  <c:v>6</c:v>
                </c:pt>
                <c:pt idx="12371">
                  <c:v>11</c:v>
                </c:pt>
                <c:pt idx="12372">
                  <c:v>2</c:v>
                </c:pt>
                <c:pt idx="12373">
                  <c:v>2</c:v>
                </c:pt>
                <c:pt idx="12374">
                  <c:v>5</c:v>
                </c:pt>
                <c:pt idx="12375">
                  <c:v>4</c:v>
                </c:pt>
                <c:pt idx="12376">
                  <c:v>0</c:v>
                </c:pt>
                <c:pt idx="12377">
                  <c:v>2</c:v>
                </c:pt>
                <c:pt idx="12378">
                  <c:v>1</c:v>
                </c:pt>
                <c:pt idx="12379">
                  <c:v>2</c:v>
                </c:pt>
                <c:pt idx="12380">
                  <c:v>2</c:v>
                </c:pt>
                <c:pt idx="12381">
                  <c:v>7</c:v>
                </c:pt>
                <c:pt idx="12382">
                  <c:v>4</c:v>
                </c:pt>
                <c:pt idx="12383">
                  <c:v>0</c:v>
                </c:pt>
                <c:pt idx="12384">
                  <c:v>3</c:v>
                </c:pt>
                <c:pt idx="12385">
                  <c:v>3</c:v>
                </c:pt>
                <c:pt idx="12386">
                  <c:v>5</c:v>
                </c:pt>
                <c:pt idx="12387">
                  <c:v>0</c:v>
                </c:pt>
                <c:pt idx="12388">
                  <c:v>3</c:v>
                </c:pt>
                <c:pt idx="12389">
                  <c:v>1</c:v>
                </c:pt>
                <c:pt idx="12390">
                  <c:v>0</c:v>
                </c:pt>
                <c:pt idx="12391">
                  <c:v>4</c:v>
                </c:pt>
                <c:pt idx="12392">
                  <c:v>4</c:v>
                </c:pt>
                <c:pt idx="12393">
                  <c:v>0</c:v>
                </c:pt>
                <c:pt idx="12394">
                  <c:v>0</c:v>
                </c:pt>
                <c:pt idx="12395">
                  <c:v>0</c:v>
                </c:pt>
                <c:pt idx="12396">
                  <c:v>146</c:v>
                </c:pt>
                <c:pt idx="12397">
                  <c:v>27</c:v>
                </c:pt>
                <c:pt idx="12398">
                  <c:v>83</c:v>
                </c:pt>
                <c:pt idx="12399">
                  <c:v>81</c:v>
                </c:pt>
                <c:pt idx="12400">
                  <c:v>13</c:v>
                </c:pt>
                <c:pt idx="12401">
                  <c:v>55</c:v>
                </c:pt>
                <c:pt idx="12402">
                  <c:v>79</c:v>
                </c:pt>
                <c:pt idx="12403">
                  <c:v>55</c:v>
                </c:pt>
                <c:pt idx="12404">
                  <c:v>38</c:v>
                </c:pt>
                <c:pt idx="12405">
                  <c:v>54</c:v>
                </c:pt>
                <c:pt idx="12406">
                  <c:v>47</c:v>
                </c:pt>
                <c:pt idx="12407">
                  <c:v>37</c:v>
                </c:pt>
                <c:pt idx="12408">
                  <c:v>91</c:v>
                </c:pt>
                <c:pt idx="12409">
                  <c:v>27</c:v>
                </c:pt>
                <c:pt idx="12410">
                  <c:v>35</c:v>
                </c:pt>
                <c:pt idx="12411">
                  <c:v>40</c:v>
                </c:pt>
                <c:pt idx="12412">
                  <c:v>80</c:v>
                </c:pt>
                <c:pt idx="12413">
                  <c:v>34</c:v>
                </c:pt>
                <c:pt idx="12414">
                  <c:v>41</c:v>
                </c:pt>
                <c:pt idx="12415">
                  <c:v>29</c:v>
                </c:pt>
                <c:pt idx="12416">
                  <c:v>22</c:v>
                </c:pt>
                <c:pt idx="12417">
                  <c:v>36</c:v>
                </c:pt>
                <c:pt idx="12418">
                  <c:v>72</c:v>
                </c:pt>
                <c:pt idx="12419">
                  <c:v>6</c:v>
                </c:pt>
                <c:pt idx="12420">
                  <c:v>24</c:v>
                </c:pt>
                <c:pt idx="12421">
                  <c:v>18</c:v>
                </c:pt>
                <c:pt idx="12422">
                  <c:v>14</c:v>
                </c:pt>
                <c:pt idx="12423">
                  <c:v>22</c:v>
                </c:pt>
                <c:pt idx="12424">
                  <c:v>16</c:v>
                </c:pt>
                <c:pt idx="12425">
                  <c:v>17</c:v>
                </c:pt>
                <c:pt idx="12426">
                  <c:v>13</c:v>
                </c:pt>
                <c:pt idx="12427">
                  <c:v>5</c:v>
                </c:pt>
                <c:pt idx="12428">
                  <c:v>10</c:v>
                </c:pt>
                <c:pt idx="12429">
                  <c:v>3</c:v>
                </c:pt>
                <c:pt idx="12430">
                  <c:v>13</c:v>
                </c:pt>
                <c:pt idx="12431">
                  <c:v>16</c:v>
                </c:pt>
                <c:pt idx="12432">
                  <c:v>10</c:v>
                </c:pt>
                <c:pt idx="12433">
                  <c:v>2</c:v>
                </c:pt>
                <c:pt idx="12434">
                  <c:v>21</c:v>
                </c:pt>
                <c:pt idx="12435">
                  <c:v>4</c:v>
                </c:pt>
                <c:pt idx="12436">
                  <c:v>5</c:v>
                </c:pt>
                <c:pt idx="12437">
                  <c:v>13</c:v>
                </c:pt>
                <c:pt idx="12438">
                  <c:v>2</c:v>
                </c:pt>
                <c:pt idx="12439">
                  <c:v>3</c:v>
                </c:pt>
                <c:pt idx="12440">
                  <c:v>8</c:v>
                </c:pt>
                <c:pt idx="12441">
                  <c:v>0</c:v>
                </c:pt>
                <c:pt idx="12442">
                  <c:v>14</c:v>
                </c:pt>
                <c:pt idx="12443">
                  <c:v>12</c:v>
                </c:pt>
                <c:pt idx="12444">
                  <c:v>1</c:v>
                </c:pt>
                <c:pt idx="12445">
                  <c:v>12</c:v>
                </c:pt>
                <c:pt idx="12446">
                  <c:v>6</c:v>
                </c:pt>
                <c:pt idx="12447">
                  <c:v>8</c:v>
                </c:pt>
                <c:pt idx="12448">
                  <c:v>18</c:v>
                </c:pt>
                <c:pt idx="12449">
                  <c:v>2</c:v>
                </c:pt>
                <c:pt idx="12450">
                  <c:v>6</c:v>
                </c:pt>
                <c:pt idx="12451">
                  <c:v>0</c:v>
                </c:pt>
                <c:pt idx="12452">
                  <c:v>1</c:v>
                </c:pt>
                <c:pt idx="12453">
                  <c:v>5</c:v>
                </c:pt>
                <c:pt idx="12454">
                  <c:v>9</c:v>
                </c:pt>
                <c:pt idx="12455">
                  <c:v>5</c:v>
                </c:pt>
                <c:pt idx="12456">
                  <c:v>2</c:v>
                </c:pt>
                <c:pt idx="12457">
                  <c:v>0</c:v>
                </c:pt>
                <c:pt idx="12458">
                  <c:v>5</c:v>
                </c:pt>
                <c:pt idx="12459">
                  <c:v>2</c:v>
                </c:pt>
                <c:pt idx="12460">
                  <c:v>2</c:v>
                </c:pt>
                <c:pt idx="12461">
                  <c:v>1</c:v>
                </c:pt>
                <c:pt idx="12462">
                  <c:v>45</c:v>
                </c:pt>
                <c:pt idx="12463">
                  <c:v>2</c:v>
                </c:pt>
                <c:pt idx="12464">
                  <c:v>2</c:v>
                </c:pt>
                <c:pt idx="12465">
                  <c:v>5</c:v>
                </c:pt>
                <c:pt idx="12466">
                  <c:v>6</c:v>
                </c:pt>
                <c:pt idx="12467">
                  <c:v>0</c:v>
                </c:pt>
                <c:pt idx="12468">
                  <c:v>26</c:v>
                </c:pt>
                <c:pt idx="12469">
                  <c:v>39</c:v>
                </c:pt>
                <c:pt idx="12470">
                  <c:v>7</c:v>
                </c:pt>
                <c:pt idx="12471">
                  <c:v>4</c:v>
                </c:pt>
                <c:pt idx="12472">
                  <c:v>7</c:v>
                </c:pt>
                <c:pt idx="12473">
                  <c:v>9</c:v>
                </c:pt>
                <c:pt idx="12474">
                  <c:v>9</c:v>
                </c:pt>
                <c:pt idx="12475">
                  <c:v>3</c:v>
                </c:pt>
                <c:pt idx="12476">
                  <c:v>5</c:v>
                </c:pt>
                <c:pt idx="12477">
                  <c:v>4</c:v>
                </c:pt>
                <c:pt idx="12478">
                  <c:v>12</c:v>
                </c:pt>
                <c:pt idx="12479">
                  <c:v>6</c:v>
                </c:pt>
                <c:pt idx="12480">
                  <c:v>0</c:v>
                </c:pt>
                <c:pt idx="12481">
                  <c:v>7</c:v>
                </c:pt>
                <c:pt idx="12482">
                  <c:v>44</c:v>
                </c:pt>
                <c:pt idx="12483">
                  <c:v>2</c:v>
                </c:pt>
                <c:pt idx="12484">
                  <c:v>5</c:v>
                </c:pt>
                <c:pt idx="12485">
                  <c:v>2</c:v>
                </c:pt>
                <c:pt idx="12486">
                  <c:v>8</c:v>
                </c:pt>
                <c:pt idx="12487">
                  <c:v>0</c:v>
                </c:pt>
                <c:pt idx="12488">
                  <c:v>1</c:v>
                </c:pt>
                <c:pt idx="12489">
                  <c:v>5</c:v>
                </c:pt>
                <c:pt idx="12490">
                  <c:v>1</c:v>
                </c:pt>
                <c:pt idx="12491">
                  <c:v>5</c:v>
                </c:pt>
                <c:pt idx="12492">
                  <c:v>2</c:v>
                </c:pt>
                <c:pt idx="12493">
                  <c:v>9</c:v>
                </c:pt>
                <c:pt idx="12494">
                  <c:v>5</c:v>
                </c:pt>
                <c:pt idx="12495">
                  <c:v>8</c:v>
                </c:pt>
                <c:pt idx="12496">
                  <c:v>2</c:v>
                </c:pt>
                <c:pt idx="12497">
                  <c:v>2</c:v>
                </c:pt>
                <c:pt idx="12498">
                  <c:v>3</c:v>
                </c:pt>
                <c:pt idx="12499">
                  <c:v>0</c:v>
                </c:pt>
                <c:pt idx="12500">
                  <c:v>9</c:v>
                </c:pt>
                <c:pt idx="12501">
                  <c:v>3</c:v>
                </c:pt>
                <c:pt idx="12502">
                  <c:v>3</c:v>
                </c:pt>
                <c:pt idx="12503">
                  <c:v>6</c:v>
                </c:pt>
                <c:pt idx="12504">
                  <c:v>0</c:v>
                </c:pt>
                <c:pt idx="12505">
                  <c:v>8</c:v>
                </c:pt>
                <c:pt idx="12506">
                  <c:v>2</c:v>
                </c:pt>
                <c:pt idx="12507">
                  <c:v>5</c:v>
                </c:pt>
                <c:pt idx="12508">
                  <c:v>4</c:v>
                </c:pt>
                <c:pt idx="12509">
                  <c:v>1</c:v>
                </c:pt>
                <c:pt idx="12510">
                  <c:v>2</c:v>
                </c:pt>
                <c:pt idx="12511">
                  <c:v>4</c:v>
                </c:pt>
                <c:pt idx="12512">
                  <c:v>6</c:v>
                </c:pt>
                <c:pt idx="12513">
                  <c:v>0</c:v>
                </c:pt>
                <c:pt idx="12514">
                  <c:v>4</c:v>
                </c:pt>
                <c:pt idx="12515">
                  <c:v>2</c:v>
                </c:pt>
                <c:pt idx="12516">
                  <c:v>0</c:v>
                </c:pt>
                <c:pt idx="12517">
                  <c:v>5</c:v>
                </c:pt>
                <c:pt idx="12518">
                  <c:v>0</c:v>
                </c:pt>
                <c:pt idx="12519">
                  <c:v>9</c:v>
                </c:pt>
                <c:pt idx="12520">
                  <c:v>4</c:v>
                </c:pt>
                <c:pt idx="12521">
                  <c:v>3</c:v>
                </c:pt>
                <c:pt idx="12522">
                  <c:v>0</c:v>
                </c:pt>
                <c:pt idx="12523">
                  <c:v>5</c:v>
                </c:pt>
                <c:pt idx="12524">
                  <c:v>11</c:v>
                </c:pt>
                <c:pt idx="12525">
                  <c:v>4</c:v>
                </c:pt>
                <c:pt idx="12526">
                  <c:v>3</c:v>
                </c:pt>
                <c:pt idx="12527">
                  <c:v>4</c:v>
                </c:pt>
                <c:pt idx="12528">
                  <c:v>5</c:v>
                </c:pt>
                <c:pt idx="12529">
                  <c:v>6</c:v>
                </c:pt>
                <c:pt idx="12530">
                  <c:v>0</c:v>
                </c:pt>
                <c:pt idx="12531">
                  <c:v>3</c:v>
                </c:pt>
                <c:pt idx="12532">
                  <c:v>3</c:v>
                </c:pt>
                <c:pt idx="12533">
                  <c:v>0</c:v>
                </c:pt>
                <c:pt idx="12534">
                  <c:v>26</c:v>
                </c:pt>
                <c:pt idx="12535">
                  <c:v>60</c:v>
                </c:pt>
                <c:pt idx="12536">
                  <c:v>75</c:v>
                </c:pt>
                <c:pt idx="12537">
                  <c:v>24</c:v>
                </c:pt>
                <c:pt idx="12538">
                  <c:v>18</c:v>
                </c:pt>
                <c:pt idx="12539">
                  <c:v>11</c:v>
                </c:pt>
                <c:pt idx="12540">
                  <c:v>20</c:v>
                </c:pt>
                <c:pt idx="12541">
                  <c:v>7</c:v>
                </c:pt>
                <c:pt idx="12542">
                  <c:v>35</c:v>
                </c:pt>
                <c:pt idx="12543">
                  <c:v>15</c:v>
                </c:pt>
                <c:pt idx="12544">
                  <c:v>29</c:v>
                </c:pt>
                <c:pt idx="12545">
                  <c:v>20</c:v>
                </c:pt>
                <c:pt idx="12546">
                  <c:v>20</c:v>
                </c:pt>
                <c:pt idx="12547">
                  <c:v>18</c:v>
                </c:pt>
                <c:pt idx="12548">
                  <c:v>11</c:v>
                </c:pt>
                <c:pt idx="12549">
                  <c:v>2</c:v>
                </c:pt>
                <c:pt idx="12550">
                  <c:v>9</c:v>
                </c:pt>
                <c:pt idx="12551">
                  <c:v>9</c:v>
                </c:pt>
                <c:pt idx="12552">
                  <c:v>11</c:v>
                </c:pt>
                <c:pt idx="12553">
                  <c:v>2</c:v>
                </c:pt>
                <c:pt idx="12554">
                  <c:v>37</c:v>
                </c:pt>
                <c:pt idx="12555">
                  <c:v>3</c:v>
                </c:pt>
                <c:pt idx="12556">
                  <c:v>4</c:v>
                </c:pt>
                <c:pt idx="12557">
                  <c:v>9</c:v>
                </c:pt>
                <c:pt idx="12558">
                  <c:v>3</c:v>
                </c:pt>
                <c:pt idx="12559">
                  <c:v>2</c:v>
                </c:pt>
                <c:pt idx="12560">
                  <c:v>9</c:v>
                </c:pt>
                <c:pt idx="12561">
                  <c:v>24</c:v>
                </c:pt>
                <c:pt idx="12562">
                  <c:v>8</c:v>
                </c:pt>
                <c:pt idx="12563">
                  <c:v>9</c:v>
                </c:pt>
                <c:pt idx="12564">
                  <c:v>8</c:v>
                </c:pt>
                <c:pt idx="12565">
                  <c:v>33</c:v>
                </c:pt>
                <c:pt idx="12566">
                  <c:v>1</c:v>
                </c:pt>
                <c:pt idx="12567">
                  <c:v>10</c:v>
                </c:pt>
                <c:pt idx="12568">
                  <c:v>3</c:v>
                </c:pt>
                <c:pt idx="12569">
                  <c:v>6</c:v>
                </c:pt>
                <c:pt idx="12570">
                  <c:v>8</c:v>
                </c:pt>
                <c:pt idx="12571">
                  <c:v>13</c:v>
                </c:pt>
                <c:pt idx="12572">
                  <c:v>8</c:v>
                </c:pt>
                <c:pt idx="12573">
                  <c:v>3</c:v>
                </c:pt>
                <c:pt idx="12574">
                  <c:v>10</c:v>
                </c:pt>
                <c:pt idx="12575">
                  <c:v>7</c:v>
                </c:pt>
                <c:pt idx="12576">
                  <c:v>7</c:v>
                </c:pt>
                <c:pt idx="12577">
                  <c:v>10</c:v>
                </c:pt>
                <c:pt idx="12578">
                  <c:v>3</c:v>
                </c:pt>
                <c:pt idx="12579">
                  <c:v>0</c:v>
                </c:pt>
                <c:pt idx="12580">
                  <c:v>6</c:v>
                </c:pt>
                <c:pt idx="12581">
                  <c:v>2</c:v>
                </c:pt>
                <c:pt idx="12582">
                  <c:v>5</c:v>
                </c:pt>
                <c:pt idx="12583">
                  <c:v>3</c:v>
                </c:pt>
                <c:pt idx="12584">
                  <c:v>4</c:v>
                </c:pt>
                <c:pt idx="12585">
                  <c:v>5</c:v>
                </c:pt>
                <c:pt idx="12586">
                  <c:v>4</c:v>
                </c:pt>
                <c:pt idx="12587">
                  <c:v>6</c:v>
                </c:pt>
                <c:pt idx="12588">
                  <c:v>0</c:v>
                </c:pt>
                <c:pt idx="12589">
                  <c:v>30</c:v>
                </c:pt>
                <c:pt idx="12590">
                  <c:v>7</c:v>
                </c:pt>
                <c:pt idx="12591">
                  <c:v>4</c:v>
                </c:pt>
                <c:pt idx="12592">
                  <c:v>3</c:v>
                </c:pt>
                <c:pt idx="12593">
                  <c:v>4</c:v>
                </c:pt>
                <c:pt idx="12594">
                  <c:v>0</c:v>
                </c:pt>
                <c:pt idx="12595">
                  <c:v>101</c:v>
                </c:pt>
                <c:pt idx="12596">
                  <c:v>0</c:v>
                </c:pt>
                <c:pt idx="12597">
                  <c:v>11</c:v>
                </c:pt>
                <c:pt idx="12598">
                  <c:v>2</c:v>
                </c:pt>
                <c:pt idx="12599">
                  <c:v>93</c:v>
                </c:pt>
                <c:pt idx="12600">
                  <c:v>0</c:v>
                </c:pt>
                <c:pt idx="12601">
                  <c:v>2</c:v>
                </c:pt>
                <c:pt idx="12602">
                  <c:v>3</c:v>
                </c:pt>
                <c:pt idx="12603">
                  <c:v>8</c:v>
                </c:pt>
                <c:pt idx="12604">
                  <c:v>43</c:v>
                </c:pt>
                <c:pt idx="12605">
                  <c:v>9</c:v>
                </c:pt>
                <c:pt idx="12606">
                  <c:v>20</c:v>
                </c:pt>
                <c:pt idx="12607">
                  <c:v>39</c:v>
                </c:pt>
                <c:pt idx="12608">
                  <c:v>35</c:v>
                </c:pt>
                <c:pt idx="12609">
                  <c:v>37</c:v>
                </c:pt>
                <c:pt idx="12610">
                  <c:v>14</c:v>
                </c:pt>
                <c:pt idx="12611">
                  <c:v>7</c:v>
                </c:pt>
                <c:pt idx="12612">
                  <c:v>21</c:v>
                </c:pt>
                <c:pt idx="12613">
                  <c:v>5</c:v>
                </c:pt>
                <c:pt idx="12614">
                  <c:v>5</c:v>
                </c:pt>
                <c:pt idx="12615">
                  <c:v>16</c:v>
                </c:pt>
                <c:pt idx="12616">
                  <c:v>7</c:v>
                </c:pt>
                <c:pt idx="12617">
                  <c:v>6</c:v>
                </c:pt>
                <c:pt idx="12618">
                  <c:v>0</c:v>
                </c:pt>
                <c:pt idx="12619">
                  <c:v>5</c:v>
                </c:pt>
                <c:pt idx="12620">
                  <c:v>8</c:v>
                </c:pt>
                <c:pt idx="12621">
                  <c:v>3</c:v>
                </c:pt>
                <c:pt idx="12622">
                  <c:v>5</c:v>
                </c:pt>
                <c:pt idx="12623">
                  <c:v>0</c:v>
                </c:pt>
                <c:pt idx="12624">
                  <c:v>1</c:v>
                </c:pt>
                <c:pt idx="12625">
                  <c:v>6</c:v>
                </c:pt>
                <c:pt idx="12626">
                  <c:v>6</c:v>
                </c:pt>
                <c:pt idx="12627">
                  <c:v>6</c:v>
                </c:pt>
                <c:pt idx="12628">
                  <c:v>1</c:v>
                </c:pt>
                <c:pt idx="12629">
                  <c:v>5</c:v>
                </c:pt>
                <c:pt idx="12630">
                  <c:v>1</c:v>
                </c:pt>
                <c:pt idx="12631">
                  <c:v>2</c:v>
                </c:pt>
                <c:pt idx="12632">
                  <c:v>6</c:v>
                </c:pt>
                <c:pt idx="12633">
                  <c:v>2</c:v>
                </c:pt>
                <c:pt idx="12634">
                  <c:v>3</c:v>
                </c:pt>
                <c:pt idx="12635">
                  <c:v>0</c:v>
                </c:pt>
                <c:pt idx="12636">
                  <c:v>7</c:v>
                </c:pt>
                <c:pt idx="12637">
                  <c:v>0</c:v>
                </c:pt>
                <c:pt idx="12638">
                  <c:v>0</c:v>
                </c:pt>
                <c:pt idx="12639">
                  <c:v>1</c:v>
                </c:pt>
                <c:pt idx="12640">
                  <c:v>0</c:v>
                </c:pt>
                <c:pt idx="12641">
                  <c:v>2</c:v>
                </c:pt>
                <c:pt idx="12642">
                  <c:v>5</c:v>
                </c:pt>
                <c:pt idx="12643">
                  <c:v>5</c:v>
                </c:pt>
                <c:pt idx="12644">
                  <c:v>4</c:v>
                </c:pt>
                <c:pt idx="12645">
                  <c:v>2</c:v>
                </c:pt>
                <c:pt idx="12646">
                  <c:v>2</c:v>
                </c:pt>
                <c:pt idx="12647">
                  <c:v>0</c:v>
                </c:pt>
                <c:pt idx="12648">
                  <c:v>7</c:v>
                </c:pt>
                <c:pt idx="12649">
                  <c:v>1</c:v>
                </c:pt>
                <c:pt idx="12650">
                  <c:v>1</c:v>
                </c:pt>
                <c:pt idx="12651">
                  <c:v>3</c:v>
                </c:pt>
                <c:pt idx="12652">
                  <c:v>0</c:v>
                </c:pt>
                <c:pt idx="12653">
                  <c:v>4</c:v>
                </c:pt>
                <c:pt idx="12654">
                  <c:v>2</c:v>
                </c:pt>
                <c:pt idx="12655">
                  <c:v>2</c:v>
                </c:pt>
                <c:pt idx="12656">
                  <c:v>3</c:v>
                </c:pt>
                <c:pt idx="12657">
                  <c:v>0</c:v>
                </c:pt>
                <c:pt idx="12658">
                  <c:v>2</c:v>
                </c:pt>
                <c:pt idx="12659">
                  <c:v>1</c:v>
                </c:pt>
                <c:pt idx="12660">
                  <c:v>3</c:v>
                </c:pt>
                <c:pt idx="12661">
                  <c:v>0</c:v>
                </c:pt>
                <c:pt idx="12662">
                  <c:v>3</c:v>
                </c:pt>
                <c:pt idx="12663">
                  <c:v>29</c:v>
                </c:pt>
                <c:pt idx="12664">
                  <c:v>0</c:v>
                </c:pt>
                <c:pt idx="12665">
                  <c:v>0</c:v>
                </c:pt>
                <c:pt idx="12666">
                  <c:v>1</c:v>
                </c:pt>
                <c:pt idx="12667">
                  <c:v>0</c:v>
                </c:pt>
                <c:pt idx="12668">
                  <c:v>2</c:v>
                </c:pt>
                <c:pt idx="12669">
                  <c:v>1</c:v>
                </c:pt>
                <c:pt idx="12670">
                  <c:v>0</c:v>
                </c:pt>
                <c:pt idx="12671">
                  <c:v>0</c:v>
                </c:pt>
                <c:pt idx="12672">
                  <c:v>0</c:v>
                </c:pt>
                <c:pt idx="12673">
                  <c:v>1</c:v>
                </c:pt>
                <c:pt idx="12674">
                  <c:v>1</c:v>
                </c:pt>
                <c:pt idx="12675">
                  <c:v>0</c:v>
                </c:pt>
                <c:pt idx="12676">
                  <c:v>2</c:v>
                </c:pt>
                <c:pt idx="12677">
                  <c:v>0</c:v>
                </c:pt>
                <c:pt idx="12678">
                  <c:v>0</c:v>
                </c:pt>
                <c:pt idx="12679">
                  <c:v>0</c:v>
                </c:pt>
                <c:pt idx="12680">
                  <c:v>0</c:v>
                </c:pt>
                <c:pt idx="12681">
                  <c:v>0</c:v>
                </c:pt>
                <c:pt idx="12682">
                  <c:v>0</c:v>
                </c:pt>
                <c:pt idx="12683">
                  <c:v>55</c:v>
                </c:pt>
                <c:pt idx="12684">
                  <c:v>86</c:v>
                </c:pt>
                <c:pt idx="12685">
                  <c:v>98</c:v>
                </c:pt>
                <c:pt idx="12686">
                  <c:v>68</c:v>
                </c:pt>
                <c:pt idx="12687">
                  <c:v>60</c:v>
                </c:pt>
                <c:pt idx="12688">
                  <c:v>68</c:v>
                </c:pt>
                <c:pt idx="12689">
                  <c:v>24</c:v>
                </c:pt>
                <c:pt idx="12690">
                  <c:v>56</c:v>
                </c:pt>
                <c:pt idx="12691">
                  <c:v>38</c:v>
                </c:pt>
                <c:pt idx="12692">
                  <c:v>26</c:v>
                </c:pt>
                <c:pt idx="12693">
                  <c:v>24</c:v>
                </c:pt>
                <c:pt idx="12694">
                  <c:v>32</c:v>
                </c:pt>
                <c:pt idx="12695">
                  <c:v>25</c:v>
                </c:pt>
                <c:pt idx="12696">
                  <c:v>43</c:v>
                </c:pt>
                <c:pt idx="12697">
                  <c:v>41</c:v>
                </c:pt>
                <c:pt idx="12698">
                  <c:v>24</c:v>
                </c:pt>
                <c:pt idx="12699">
                  <c:v>21</c:v>
                </c:pt>
                <c:pt idx="12700">
                  <c:v>23</c:v>
                </c:pt>
                <c:pt idx="12701">
                  <c:v>7</c:v>
                </c:pt>
                <c:pt idx="12702">
                  <c:v>14</c:v>
                </c:pt>
                <c:pt idx="12703">
                  <c:v>10</c:v>
                </c:pt>
                <c:pt idx="12704">
                  <c:v>19</c:v>
                </c:pt>
                <c:pt idx="12705">
                  <c:v>10</c:v>
                </c:pt>
                <c:pt idx="12706">
                  <c:v>14</c:v>
                </c:pt>
                <c:pt idx="12707">
                  <c:v>20</c:v>
                </c:pt>
                <c:pt idx="12708">
                  <c:v>8</c:v>
                </c:pt>
                <c:pt idx="12709">
                  <c:v>8</c:v>
                </c:pt>
                <c:pt idx="12710">
                  <c:v>20</c:v>
                </c:pt>
                <c:pt idx="12711">
                  <c:v>23</c:v>
                </c:pt>
                <c:pt idx="12712">
                  <c:v>4</c:v>
                </c:pt>
                <c:pt idx="12713">
                  <c:v>16</c:v>
                </c:pt>
                <c:pt idx="12714">
                  <c:v>10</c:v>
                </c:pt>
                <c:pt idx="12715">
                  <c:v>3</c:v>
                </c:pt>
                <c:pt idx="12716">
                  <c:v>9</c:v>
                </c:pt>
                <c:pt idx="12717">
                  <c:v>3</c:v>
                </c:pt>
                <c:pt idx="12718">
                  <c:v>9</c:v>
                </c:pt>
                <c:pt idx="12719">
                  <c:v>13</c:v>
                </c:pt>
                <c:pt idx="12720">
                  <c:v>10</c:v>
                </c:pt>
                <c:pt idx="12721">
                  <c:v>31</c:v>
                </c:pt>
                <c:pt idx="12722">
                  <c:v>10</c:v>
                </c:pt>
                <c:pt idx="12723">
                  <c:v>14</c:v>
                </c:pt>
                <c:pt idx="12724">
                  <c:v>6</c:v>
                </c:pt>
                <c:pt idx="12725">
                  <c:v>5</c:v>
                </c:pt>
                <c:pt idx="12726">
                  <c:v>25</c:v>
                </c:pt>
                <c:pt idx="12727">
                  <c:v>8</c:v>
                </c:pt>
                <c:pt idx="12728">
                  <c:v>14</c:v>
                </c:pt>
                <c:pt idx="12729">
                  <c:v>3</c:v>
                </c:pt>
                <c:pt idx="12730">
                  <c:v>31</c:v>
                </c:pt>
                <c:pt idx="12731">
                  <c:v>25</c:v>
                </c:pt>
                <c:pt idx="12732">
                  <c:v>2</c:v>
                </c:pt>
                <c:pt idx="12733">
                  <c:v>4</c:v>
                </c:pt>
                <c:pt idx="12734">
                  <c:v>6</c:v>
                </c:pt>
                <c:pt idx="12735">
                  <c:v>10</c:v>
                </c:pt>
                <c:pt idx="12736">
                  <c:v>25</c:v>
                </c:pt>
                <c:pt idx="12737">
                  <c:v>10</c:v>
                </c:pt>
                <c:pt idx="12738">
                  <c:v>3</c:v>
                </c:pt>
                <c:pt idx="12739">
                  <c:v>8</c:v>
                </c:pt>
                <c:pt idx="12740">
                  <c:v>6</c:v>
                </c:pt>
                <c:pt idx="12741">
                  <c:v>1</c:v>
                </c:pt>
                <c:pt idx="12742">
                  <c:v>2</c:v>
                </c:pt>
                <c:pt idx="12743">
                  <c:v>9</c:v>
                </c:pt>
                <c:pt idx="12744">
                  <c:v>1</c:v>
                </c:pt>
                <c:pt idx="12745">
                  <c:v>21</c:v>
                </c:pt>
                <c:pt idx="12746">
                  <c:v>10</c:v>
                </c:pt>
                <c:pt idx="12747">
                  <c:v>0</c:v>
                </c:pt>
                <c:pt idx="12748">
                  <c:v>0</c:v>
                </c:pt>
                <c:pt idx="12749">
                  <c:v>0</c:v>
                </c:pt>
                <c:pt idx="12750">
                  <c:v>2</c:v>
                </c:pt>
                <c:pt idx="12751">
                  <c:v>0</c:v>
                </c:pt>
                <c:pt idx="12752">
                  <c:v>0</c:v>
                </c:pt>
                <c:pt idx="12753">
                  <c:v>35</c:v>
                </c:pt>
                <c:pt idx="12754">
                  <c:v>19</c:v>
                </c:pt>
                <c:pt idx="12755">
                  <c:v>11</c:v>
                </c:pt>
                <c:pt idx="12756">
                  <c:v>0</c:v>
                </c:pt>
                <c:pt idx="12757">
                  <c:v>8</c:v>
                </c:pt>
                <c:pt idx="12758">
                  <c:v>0</c:v>
                </c:pt>
                <c:pt idx="12759">
                  <c:v>0</c:v>
                </c:pt>
                <c:pt idx="12760">
                  <c:v>0</c:v>
                </c:pt>
                <c:pt idx="12761">
                  <c:v>10</c:v>
                </c:pt>
                <c:pt idx="12762">
                  <c:v>0</c:v>
                </c:pt>
                <c:pt idx="12763">
                  <c:v>61</c:v>
                </c:pt>
                <c:pt idx="12764">
                  <c:v>19</c:v>
                </c:pt>
                <c:pt idx="12765">
                  <c:v>25</c:v>
                </c:pt>
                <c:pt idx="12766">
                  <c:v>67</c:v>
                </c:pt>
                <c:pt idx="12767">
                  <c:v>9</c:v>
                </c:pt>
                <c:pt idx="12768">
                  <c:v>3</c:v>
                </c:pt>
                <c:pt idx="12769">
                  <c:v>14</c:v>
                </c:pt>
                <c:pt idx="12770">
                  <c:v>15</c:v>
                </c:pt>
                <c:pt idx="12771">
                  <c:v>0</c:v>
                </c:pt>
                <c:pt idx="12772">
                  <c:v>6</c:v>
                </c:pt>
                <c:pt idx="12773">
                  <c:v>7</c:v>
                </c:pt>
                <c:pt idx="12774">
                  <c:v>16</c:v>
                </c:pt>
                <c:pt idx="12775">
                  <c:v>6</c:v>
                </c:pt>
                <c:pt idx="12776">
                  <c:v>42</c:v>
                </c:pt>
                <c:pt idx="12777">
                  <c:v>24</c:v>
                </c:pt>
                <c:pt idx="12778">
                  <c:v>42</c:v>
                </c:pt>
                <c:pt idx="12779">
                  <c:v>6</c:v>
                </c:pt>
                <c:pt idx="12780">
                  <c:v>20</c:v>
                </c:pt>
                <c:pt idx="12781">
                  <c:v>6</c:v>
                </c:pt>
                <c:pt idx="12782">
                  <c:v>39</c:v>
                </c:pt>
                <c:pt idx="12783">
                  <c:v>59</c:v>
                </c:pt>
                <c:pt idx="12784">
                  <c:v>12</c:v>
                </c:pt>
                <c:pt idx="12785">
                  <c:v>12</c:v>
                </c:pt>
                <c:pt idx="12786">
                  <c:v>10</c:v>
                </c:pt>
                <c:pt idx="12787">
                  <c:v>11</c:v>
                </c:pt>
                <c:pt idx="12788">
                  <c:v>4</c:v>
                </c:pt>
                <c:pt idx="12789">
                  <c:v>8</c:v>
                </c:pt>
                <c:pt idx="12790">
                  <c:v>11</c:v>
                </c:pt>
                <c:pt idx="12791">
                  <c:v>42</c:v>
                </c:pt>
                <c:pt idx="12792">
                  <c:v>17</c:v>
                </c:pt>
                <c:pt idx="12793">
                  <c:v>0</c:v>
                </c:pt>
                <c:pt idx="12794">
                  <c:v>7</c:v>
                </c:pt>
                <c:pt idx="12795">
                  <c:v>11</c:v>
                </c:pt>
                <c:pt idx="12796">
                  <c:v>15</c:v>
                </c:pt>
                <c:pt idx="12797">
                  <c:v>22</c:v>
                </c:pt>
                <c:pt idx="12798">
                  <c:v>2</c:v>
                </c:pt>
                <c:pt idx="12799">
                  <c:v>10</c:v>
                </c:pt>
                <c:pt idx="12800">
                  <c:v>3</c:v>
                </c:pt>
                <c:pt idx="12801">
                  <c:v>2</c:v>
                </c:pt>
                <c:pt idx="12802">
                  <c:v>19</c:v>
                </c:pt>
                <c:pt idx="12803">
                  <c:v>4</c:v>
                </c:pt>
                <c:pt idx="12804">
                  <c:v>7</c:v>
                </c:pt>
                <c:pt idx="12805">
                  <c:v>1</c:v>
                </c:pt>
                <c:pt idx="12806">
                  <c:v>2</c:v>
                </c:pt>
                <c:pt idx="12807">
                  <c:v>2</c:v>
                </c:pt>
                <c:pt idx="12808">
                  <c:v>6</c:v>
                </c:pt>
                <c:pt idx="12809">
                  <c:v>7</c:v>
                </c:pt>
                <c:pt idx="12810">
                  <c:v>33</c:v>
                </c:pt>
                <c:pt idx="12811">
                  <c:v>75</c:v>
                </c:pt>
                <c:pt idx="12812">
                  <c:v>48</c:v>
                </c:pt>
                <c:pt idx="12813">
                  <c:v>299</c:v>
                </c:pt>
                <c:pt idx="12814">
                  <c:v>21</c:v>
                </c:pt>
                <c:pt idx="12815">
                  <c:v>76</c:v>
                </c:pt>
                <c:pt idx="12816">
                  <c:v>33</c:v>
                </c:pt>
                <c:pt idx="12817">
                  <c:v>19</c:v>
                </c:pt>
                <c:pt idx="12818">
                  <c:v>34</c:v>
                </c:pt>
                <c:pt idx="12819">
                  <c:v>104</c:v>
                </c:pt>
                <c:pt idx="12820">
                  <c:v>34</c:v>
                </c:pt>
                <c:pt idx="12821">
                  <c:v>17</c:v>
                </c:pt>
                <c:pt idx="12822">
                  <c:v>36</c:v>
                </c:pt>
                <c:pt idx="12823">
                  <c:v>60</c:v>
                </c:pt>
                <c:pt idx="12824">
                  <c:v>58</c:v>
                </c:pt>
                <c:pt idx="12825">
                  <c:v>95</c:v>
                </c:pt>
                <c:pt idx="12826">
                  <c:v>161</c:v>
                </c:pt>
                <c:pt idx="12827">
                  <c:v>41</c:v>
                </c:pt>
                <c:pt idx="12828">
                  <c:v>123</c:v>
                </c:pt>
                <c:pt idx="12829">
                  <c:v>38</c:v>
                </c:pt>
                <c:pt idx="12830">
                  <c:v>39</c:v>
                </c:pt>
                <c:pt idx="12831">
                  <c:v>25</c:v>
                </c:pt>
                <c:pt idx="12832">
                  <c:v>50</c:v>
                </c:pt>
                <c:pt idx="12833">
                  <c:v>18</c:v>
                </c:pt>
                <c:pt idx="12834">
                  <c:v>65</c:v>
                </c:pt>
                <c:pt idx="12835">
                  <c:v>17</c:v>
                </c:pt>
                <c:pt idx="12836">
                  <c:v>29</c:v>
                </c:pt>
                <c:pt idx="12837">
                  <c:v>47</c:v>
                </c:pt>
                <c:pt idx="12838">
                  <c:v>38</c:v>
                </c:pt>
                <c:pt idx="12839">
                  <c:v>23</c:v>
                </c:pt>
                <c:pt idx="12840">
                  <c:v>13</c:v>
                </c:pt>
                <c:pt idx="12841">
                  <c:v>13</c:v>
                </c:pt>
                <c:pt idx="12842">
                  <c:v>35</c:v>
                </c:pt>
                <c:pt idx="12843">
                  <c:v>25</c:v>
                </c:pt>
                <c:pt idx="12844">
                  <c:v>37</c:v>
                </c:pt>
                <c:pt idx="12845">
                  <c:v>9</c:v>
                </c:pt>
                <c:pt idx="12846">
                  <c:v>31</c:v>
                </c:pt>
                <c:pt idx="12847">
                  <c:v>21</c:v>
                </c:pt>
                <c:pt idx="12848">
                  <c:v>45</c:v>
                </c:pt>
                <c:pt idx="12849">
                  <c:v>8</c:v>
                </c:pt>
                <c:pt idx="12850">
                  <c:v>10</c:v>
                </c:pt>
                <c:pt idx="12851">
                  <c:v>23</c:v>
                </c:pt>
                <c:pt idx="12852">
                  <c:v>18</c:v>
                </c:pt>
                <c:pt idx="12853">
                  <c:v>27</c:v>
                </c:pt>
                <c:pt idx="12854">
                  <c:v>4</c:v>
                </c:pt>
                <c:pt idx="12855">
                  <c:v>7</c:v>
                </c:pt>
                <c:pt idx="12856">
                  <c:v>5</c:v>
                </c:pt>
                <c:pt idx="12857">
                  <c:v>4</c:v>
                </c:pt>
                <c:pt idx="12858">
                  <c:v>11</c:v>
                </c:pt>
                <c:pt idx="12859">
                  <c:v>6</c:v>
                </c:pt>
                <c:pt idx="12860">
                  <c:v>8</c:v>
                </c:pt>
                <c:pt idx="12861">
                  <c:v>121</c:v>
                </c:pt>
                <c:pt idx="12862">
                  <c:v>57</c:v>
                </c:pt>
                <c:pt idx="12863">
                  <c:v>18</c:v>
                </c:pt>
                <c:pt idx="12864">
                  <c:v>8</c:v>
                </c:pt>
                <c:pt idx="12865">
                  <c:v>9</c:v>
                </c:pt>
                <c:pt idx="12866">
                  <c:v>10</c:v>
                </c:pt>
                <c:pt idx="12867">
                  <c:v>8</c:v>
                </c:pt>
                <c:pt idx="12868">
                  <c:v>15</c:v>
                </c:pt>
                <c:pt idx="12869">
                  <c:v>24</c:v>
                </c:pt>
                <c:pt idx="12870">
                  <c:v>1</c:v>
                </c:pt>
                <c:pt idx="12871">
                  <c:v>24</c:v>
                </c:pt>
                <c:pt idx="12872">
                  <c:v>14</c:v>
                </c:pt>
                <c:pt idx="12873">
                  <c:v>17</c:v>
                </c:pt>
                <c:pt idx="12874">
                  <c:v>14</c:v>
                </c:pt>
                <c:pt idx="12875">
                  <c:v>5</c:v>
                </c:pt>
                <c:pt idx="12876">
                  <c:v>11</c:v>
                </c:pt>
                <c:pt idx="12877">
                  <c:v>30</c:v>
                </c:pt>
                <c:pt idx="12878">
                  <c:v>8</c:v>
                </c:pt>
                <c:pt idx="12879">
                  <c:v>12</c:v>
                </c:pt>
                <c:pt idx="12880">
                  <c:v>4</c:v>
                </c:pt>
                <c:pt idx="12881">
                  <c:v>11</c:v>
                </c:pt>
                <c:pt idx="12882">
                  <c:v>21</c:v>
                </c:pt>
                <c:pt idx="12883">
                  <c:v>2</c:v>
                </c:pt>
                <c:pt idx="12884">
                  <c:v>7</c:v>
                </c:pt>
                <c:pt idx="12885">
                  <c:v>7</c:v>
                </c:pt>
                <c:pt idx="12886">
                  <c:v>42</c:v>
                </c:pt>
                <c:pt idx="12887">
                  <c:v>22</c:v>
                </c:pt>
                <c:pt idx="12888">
                  <c:v>45</c:v>
                </c:pt>
                <c:pt idx="12889">
                  <c:v>18</c:v>
                </c:pt>
                <c:pt idx="12890">
                  <c:v>13</c:v>
                </c:pt>
                <c:pt idx="12891">
                  <c:v>5</c:v>
                </c:pt>
                <c:pt idx="12892">
                  <c:v>12</c:v>
                </c:pt>
                <c:pt idx="12893">
                  <c:v>9</c:v>
                </c:pt>
                <c:pt idx="12894">
                  <c:v>6</c:v>
                </c:pt>
                <c:pt idx="12895">
                  <c:v>7</c:v>
                </c:pt>
                <c:pt idx="12896">
                  <c:v>16</c:v>
                </c:pt>
                <c:pt idx="12897">
                  <c:v>8</c:v>
                </c:pt>
                <c:pt idx="12898">
                  <c:v>13</c:v>
                </c:pt>
                <c:pt idx="12899">
                  <c:v>11</c:v>
                </c:pt>
                <c:pt idx="12900">
                  <c:v>30</c:v>
                </c:pt>
                <c:pt idx="12901">
                  <c:v>1</c:v>
                </c:pt>
                <c:pt idx="12902">
                  <c:v>4</c:v>
                </c:pt>
                <c:pt idx="12903">
                  <c:v>0</c:v>
                </c:pt>
                <c:pt idx="12904">
                  <c:v>3</c:v>
                </c:pt>
                <c:pt idx="12905">
                  <c:v>6</c:v>
                </c:pt>
                <c:pt idx="12906">
                  <c:v>0</c:v>
                </c:pt>
                <c:pt idx="12907">
                  <c:v>17</c:v>
                </c:pt>
                <c:pt idx="12908">
                  <c:v>2</c:v>
                </c:pt>
                <c:pt idx="12909">
                  <c:v>1</c:v>
                </c:pt>
                <c:pt idx="12910">
                  <c:v>22</c:v>
                </c:pt>
                <c:pt idx="12911">
                  <c:v>4</c:v>
                </c:pt>
                <c:pt idx="12912">
                  <c:v>6</c:v>
                </c:pt>
                <c:pt idx="12913">
                  <c:v>0</c:v>
                </c:pt>
                <c:pt idx="12914">
                  <c:v>0</c:v>
                </c:pt>
                <c:pt idx="12915">
                  <c:v>1</c:v>
                </c:pt>
                <c:pt idx="12916">
                  <c:v>0</c:v>
                </c:pt>
                <c:pt idx="12917">
                  <c:v>14</c:v>
                </c:pt>
                <c:pt idx="12918">
                  <c:v>2</c:v>
                </c:pt>
                <c:pt idx="12919">
                  <c:v>2</c:v>
                </c:pt>
                <c:pt idx="12920">
                  <c:v>0</c:v>
                </c:pt>
                <c:pt idx="12921">
                  <c:v>4</c:v>
                </c:pt>
                <c:pt idx="12922">
                  <c:v>1</c:v>
                </c:pt>
                <c:pt idx="12923">
                  <c:v>21</c:v>
                </c:pt>
                <c:pt idx="12924">
                  <c:v>5</c:v>
                </c:pt>
                <c:pt idx="12925">
                  <c:v>0</c:v>
                </c:pt>
                <c:pt idx="12926">
                  <c:v>7</c:v>
                </c:pt>
                <c:pt idx="12927">
                  <c:v>5</c:v>
                </c:pt>
                <c:pt idx="12928">
                  <c:v>12</c:v>
                </c:pt>
                <c:pt idx="12929">
                  <c:v>5</c:v>
                </c:pt>
                <c:pt idx="12930">
                  <c:v>2</c:v>
                </c:pt>
                <c:pt idx="12931">
                  <c:v>3</c:v>
                </c:pt>
                <c:pt idx="12932">
                  <c:v>10</c:v>
                </c:pt>
                <c:pt idx="12933">
                  <c:v>10</c:v>
                </c:pt>
                <c:pt idx="12934">
                  <c:v>5</c:v>
                </c:pt>
                <c:pt idx="12935">
                  <c:v>1</c:v>
                </c:pt>
                <c:pt idx="12936">
                  <c:v>0</c:v>
                </c:pt>
                <c:pt idx="12937">
                  <c:v>0</c:v>
                </c:pt>
                <c:pt idx="12938">
                  <c:v>6</c:v>
                </c:pt>
                <c:pt idx="12939">
                  <c:v>7</c:v>
                </c:pt>
                <c:pt idx="12940">
                  <c:v>0</c:v>
                </c:pt>
                <c:pt idx="12941">
                  <c:v>8</c:v>
                </c:pt>
                <c:pt idx="12942">
                  <c:v>6</c:v>
                </c:pt>
                <c:pt idx="12943">
                  <c:v>17</c:v>
                </c:pt>
                <c:pt idx="12944">
                  <c:v>1</c:v>
                </c:pt>
                <c:pt idx="12945">
                  <c:v>4</c:v>
                </c:pt>
                <c:pt idx="12946">
                  <c:v>0</c:v>
                </c:pt>
                <c:pt idx="12947">
                  <c:v>0</c:v>
                </c:pt>
                <c:pt idx="12948">
                  <c:v>3</c:v>
                </c:pt>
                <c:pt idx="12949">
                  <c:v>0</c:v>
                </c:pt>
                <c:pt idx="12950">
                  <c:v>2</c:v>
                </c:pt>
                <c:pt idx="12951">
                  <c:v>0</c:v>
                </c:pt>
                <c:pt idx="12952">
                  <c:v>0</c:v>
                </c:pt>
                <c:pt idx="12953">
                  <c:v>0</c:v>
                </c:pt>
                <c:pt idx="12954">
                  <c:v>0</c:v>
                </c:pt>
                <c:pt idx="12955">
                  <c:v>0</c:v>
                </c:pt>
                <c:pt idx="12956">
                  <c:v>1</c:v>
                </c:pt>
                <c:pt idx="12957">
                  <c:v>7</c:v>
                </c:pt>
                <c:pt idx="12958">
                  <c:v>0</c:v>
                </c:pt>
                <c:pt idx="12959">
                  <c:v>0</c:v>
                </c:pt>
                <c:pt idx="12960">
                  <c:v>5</c:v>
                </c:pt>
                <c:pt idx="12961">
                  <c:v>1</c:v>
                </c:pt>
                <c:pt idx="12962">
                  <c:v>0</c:v>
                </c:pt>
                <c:pt idx="12963">
                  <c:v>0</c:v>
                </c:pt>
                <c:pt idx="12964">
                  <c:v>2</c:v>
                </c:pt>
                <c:pt idx="12965">
                  <c:v>1</c:v>
                </c:pt>
                <c:pt idx="12966">
                  <c:v>1</c:v>
                </c:pt>
                <c:pt idx="12967">
                  <c:v>2</c:v>
                </c:pt>
                <c:pt idx="12968">
                  <c:v>0</c:v>
                </c:pt>
                <c:pt idx="12969">
                  <c:v>0</c:v>
                </c:pt>
                <c:pt idx="12970">
                  <c:v>1</c:v>
                </c:pt>
                <c:pt idx="12971">
                  <c:v>0</c:v>
                </c:pt>
                <c:pt idx="12972">
                  <c:v>0</c:v>
                </c:pt>
                <c:pt idx="12973">
                  <c:v>0</c:v>
                </c:pt>
                <c:pt idx="12974">
                  <c:v>0</c:v>
                </c:pt>
                <c:pt idx="12975">
                  <c:v>0</c:v>
                </c:pt>
                <c:pt idx="12976">
                  <c:v>0</c:v>
                </c:pt>
                <c:pt idx="12977">
                  <c:v>0</c:v>
                </c:pt>
                <c:pt idx="12978">
                  <c:v>1</c:v>
                </c:pt>
                <c:pt idx="12979">
                  <c:v>6</c:v>
                </c:pt>
                <c:pt idx="12980">
                  <c:v>2</c:v>
                </c:pt>
                <c:pt idx="12981">
                  <c:v>1</c:v>
                </c:pt>
                <c:pt idx="12982">
                  <c:v>7</c:v>
                </c:pt>
                <c:pt idx="12983">
                  <c:v>5</c:v>
                </c:pt>
                <c:pt idx="12984">
                  <c:v>12</c:v>
                </c:pt>
                <c:pt idx="12985">
                  <c:v>6</c:v>
                </c:pt>
                <c:pt idx="12986">
                  <c:v>2</c:v>
                </c:pt>
                <c:pt idx="12987">
                  <c:v>2</c:v>
                </c:pt>
                <c:pt idx="12988">
                  <c:v>0</c:v>
                </c:pt>
                <c:pt idx="12989">
                  <c:v>0</c:v>
                </c:pt>
                <c:pt idx="12990">
                  <c:v>0</c:v>
                </c:pt>
                <c:pt idx="12991">
                  <c:v>1</c:v>
                </c:pt>
                <c:pt idx="12992">
                  <c:v>1</c:v>
                </c:pt>
                <c:pt idx="12993">
                  <c:v>1</c:v>
                </c:pt>
                <c:pt idx="12994">
                  <c:v>0</c:v>
                </c:pt>
                <c:pt idx="12995">
                  <c:v>0</c:v>
                </c:pt>
                <c:pt idx="12996">
                  <c:v>0</c:v>
                </c:pt>
                <c:pt idx="12997">
                  <c:v>2</c:v>
                </c:pt>
                <c:pt idx="12998">
                  <c:v>2</c:v>
                </c:pt>
                <c:pt idx="12999">
                  <c:v>22</c:v>
                </c:pt>
                <c:pt idx="13000">
                  <c:v>9</c:v>
                </c:pt>
                <c:pt idx="13001">
                  <c:v>20</c:v>
                </c:pt>
                <c:pt idx="13002">
                  <c:v>9</c:v>
                </c:pt>
                <c:pt idx="13003">
                  <c:v>4</c:v>
                </c:pt>
                <c:pt idx="13004">
                  <c:v>3</c:v>
                </c:pt>
                <c:pt idx="13005">
                  <c:v>5</c:v>
                </c:pt>
                <c:pt idx="13006">
                  <c:v>2</c:v>
                </c:pt>
                <c:pt idx="13007">
                  <c:v>0</c:v>
                </c:pt>
                <c:pt idx="13008">
                  <c:v>2</c:v>
                </c:pt>
                <c:pt idx="13009">
                  <c:v>12</c:v>
                </c:pt>
                <c:pt idx="13010">
                  <c:v>0</c:v>
                </c:pt>
                <c:pt idx="13011">
                  <c:v>1</c:v>
                </c:pt>
                <c:pt idx="13012">
                  <c:v>8</c:v>
                </c:pt>
                <c:pt idx="13013">
                  <c:v>2</c:v>
                </c:pt>
                <c:pt idx="13014">
                  <c:v>1</c:v>
                </c:pt>
                <c:pt idx="13015">
                  <c:v>2</c:v>
                </c:pt>
                <c:pt idx="13016">
                  <c:v>2</c:v>
                </c:pt>
                <c:pt idx="13017">
                  <c:v>5</c:v>
                </c:pt>
                <c:pt idx="13018">
                  <c:v>15</c:v>
                </c:pt>
                <c:pt idx="13019">
                  <c:v>1</c:v>
                </c:pt>
                <c:pt idx="13020">
                  <c:v>0</c:v>
                </c:pt>
                <c:pt idx="13021">
                  <c:v>1</c:v>
                </c:pt>
                <c:pt idx="13022">
                  <c:v>0</c:v>
                </c:pt>
                <c:pt idx="13023">
                  <c:v>1</c:v>
                </c:pt>
                <c:pt idx="13024">
                  <c:v>1</c:v>
                </c:pt>
                <c:pt idx="13025">
                  <c:v>0</c:v>
                </c:pt>
                <c:pt idx="13026">
                  <c:v>0</c:v>
                </c:pt>
                <c:pt idx="13027">
                  <c:v>0</c:v>
                </c:pt>
                <c:pt idx="13028">
                  <c:v>2</c:v>
                </c:pt>
                <c:pt idx="13029">
                  <c:v>0</c:v>
                </c:pt>
                <c:pt idx="13030">
                  <c:v>0</c:v>
                </c:pt>
                <c:pt idx="13031">
                  <c:v>0</c:v>
                </c:pt>
                <c:pt idx="13032">
                  <c:v>1</c:v>
                </c:pt>
                <c:pt idx="13033">
                  <c:v>0</c:v>
                </c:pt>
                <c:pt idx="13034">
                  <c:v>1</c:v>
                </c:pt>
                <c:pt idx="13035">
                  <c:v>0</c:v>
                </c:pt>
                <c:pt idx="13036">
                  <c:v>0</c:v>
                </c:pt>
                <c:pt idx="13037">
                  <c:v>0</c:v>
                </c:pt>
                <c:pt idx="13038">
                  <c:v>1</c:v>
                </c:pt>
                <c:pt idx="13039">
                  <c:v>0</c:v>
                </c:pt>
                <c:pt idx="13040">
                  <c:v>0</c:v>
                </c:pt>
                <c:pt idx="13041">
                  <c:v>6</c:v>
                </c:pt>
                <c:pt idx="13042">
                  <c:v>2</c:v>
                </c:pt>
                <c:pt idx="13043">
                  <c:v>2</c:v>
                </c:pt>
                <c:pt idx="13044">
                  <c:v>1</c:v>
                </c:pt>
                <c:pt idx="13045">
                  <c:v>5</c:v>
                </c:pt>
                <c:pt idx="13046">
                  <c:v>2</c:v>
                </c:pt>
                <c:pt idx="13047">
                  <c:v>11</c:v>
                </c:pt>
                <c:pt idx="13048">
                  <c:v>0</c:v>
                </c:pt>
                <c:pt idx="13049">
                  <c:v>2</c:v>
                </c:pt>
                <c:pt idx="13050">
                  <c:v>1</c:v>
                </c:pt>
                <c:pt idx="13051">
                  <c:v>5</c:v>
                </c:pt>
                <c:pt idx="13052">
                  <c:v>0</c:v>
                </c:pt>
                <c:pt idx="13053">
                  <c:v>0</c:v>
                </c:pt>
                <c:pt idx="13054">
                  <c:v>11</c:v>
                </c:pt>
                <c:pt idx="13055">
                  <c:v>0</c:v>
                </c:pt>
                <c:pt idx="13056">
                  <c:v>0</c:v>
                </c:pt>
                <c:pt idx="13057">
                  <c:v>5</c:v>
                </c:pt>
                <c:pt idx="13058">
                  <c:v>0</c:v>
                </c:pt>
                <c:pt idx="13059">
                  <c:v>0</c:v>
                </c:pt>
                <c:pt idx="13060">
                  <c:v>1</c:v>
                </c:pt>
                <c:pt idx="13061">
                  <c:v>0</c:v>
                </c:pt>
                <c:pt idx="13062">
                  <c:v>5</c:v>
                </c:pt>
                <c:pt idx="13063">
                  <c:v>4</c:v>
                </c:pt>
                <c:pt idx="13064">
                  <c:v>0</c:v>
                </c:pt>
                <c:pt idx="13065">
                  <c:v>1</c:v>
                </c:pt>
                <c:pt idx="13066">
                  <c:v>2</c:v>
                </c:pt>
                <c:pt idx="13067">
                  <c:v>0</c:v>
                </c:pt>
                <c:pt idx="13068">
                  <c:v>0</c:v>
                </c:pt>
                <c:pt idx="13069">
                  <c:v>0</c:v>
                </c:pt>
                <c:pt idx="13070">
                  <c:v>28</c:v>
                </c:pt>
                <c:pt idx="13071">
                  <c:v>0</c:v>
                </c:pt>
                <c:pt idx="13072">
                  <c:v>18</c:v>
                </c:pt>
                <c:pt idx="13073">
                  <c:v>11</c:v>
                </c:pt>
                <c:pt idx="13074">
                  <c:v>1</c:v>
                </c:pt>
                <c:pt idx="13075">
                  <c:v>1</c:v>
                </c:pt>
                <c:pt idx="13076">
                  <c:v>5</c:v>
                </c:pt>
                <c:pt idx="13077">
                  <c:v>8</c:v>
                </c:pt>
                <c:pt idx="13078">
                  <c:v>0</c:v>
                </c:pt>
                <c:pt idx="13079">
                  <c:v>0</c:v>
                </c:pt>
                <c:pt idx="13080">
                  <c:v>5</c:v>
                </c:pt>
                <c:pt idx="13081">
                  <c:v>0</c:v>
                </c:pt>
                <c:pt idx="13082">
                  <c:v>0</c:v>
                </c:pt>
                <c:pt idx="13083">
                  <c:v>0</c:v>
                </c:pt>
                <c:pt idx="13084">
                  <c:v>4</c:v>
                </c:pt>
                <c:pt idx="13085">
                  <c:v>0</c:v>
                </c:pt>
                <c:pt idx="13086">
                  <c:v>0</c:v>
                </c:pt>
                <c:pt idx="13087">
                  <c:v>0</c:v>
                </c:pt>
                <c:pt idx="13088">
                  <c:v>1</c:v>
                </c:pt>
                <c:pt idx="13089">
                  <c:v>0</c:v>
                </c:pt>
                <c:pt idx="13090">
                  <c:v>1</c:v>
                </c:pt>
                <c:pt idx="13091">
                  <c:v>0</c:v>
                </c:pt>
                <c:pt idx="13092">
                  <c:v>0</c:v>
                </c:pt>
                <c:pt idx="13093">
                  <c:v>1</c:v>
                </c:pt>
                <c:pt idx="13094">
                  <c:v>0</c:v>
                </c:pt>
                <c:pt idx="13095">
                  <c:v>468</c:v>
                </c:pt>
                <c:pt idx="13096">
                  <c:v>120</c:v>
                </c:pt>
                <c:pt idx="13097">
                  <c:v>178</c:v>
                </c:pt>
                <c:pt idx="13098">
                  <c:v>57</c:v>
                </c:pt>
                <c:pt idx="13099">
                  <c:v>171</c:v>
                </c:pt>
                <c:pt idx="13100">
                  <c:v>60</c:v>
                </c:pt>
                <c:pt idx="13101">
                  <c:v>18</c:v>
                </c:pt>
                <c:pt idx="13102">
                  <c:v>21</c:v>
                </c:pt>
                <c:pt idx="13103">
                  <c:v>25</c:v>
                </c:pt>
                <c:pt idx="13104">
                  <c:v>34</c:v>
                </c:pt>
                <c:pt idx="13105">
                  <c:v>22</c:v>
                </c:pt>
                <c:pt idx="13106">
                  <c:v>18</c:v>
                </c:pt>
                <c:pt idx="13107">
                  <c:v>16</c:v>
                </c:pt>
                <c:pt idx="13108">
                  <c:v>14</c:v>
                </c:pt>
                <c:pt idx="13109">
                  <c:v>12</c:v>
                </c:pt>
                <c:pt idx="13110">
                  <c:v>9</c:v>
                </c:pt>
                <c:pt idx="13111">
                  <c:v>16</c:v>
                </c:pt>
                <c:pt idx="13112">
                  <c:v>20</c:v>
                </c:pt>
                <c:pt idx="13113">
                  <c:v>18</c:v>
                </c:pt>
                <c:pt idx="13114">
                  <c:v>7</c:v>
                </c:pt>
                <c:pt idx="13115">
                  <c:v>18</c:v>
                </c:pt>
                <c:pt idx="13116">
                  <c:v>3</c:v>
                </c:pt>
                <c:pt idx="13117">
                  <c:v>5</c:v>
                </c:pt>
                <c:pt idx="13118">
                  <c:v>13</c:v>
                </c:pt>
                <c:pt idx="13119">
                  <c:v>6</c:v>
                </c:pt>
                <c:pt idx="13120">
                  <c:v>4</c:v>
                </c:pt>
                <c:pt idx="13121">
                  <c:v>16</c:v>
                </c:pt>
                <c:pt idx="13122">
                  <c:v>9</c:v>
                </c:pt>
                <c:pt idx="13123">
                  <c:v>7</c:v>
                </c:pt>
                <c:pt idx="13124">
                  <c:v>1</c:v>
                </c:pt>
                <c:pt idx="13125">
                  <c:v>5</c:v>
                </c:pt>
                <c:pt idx="13126">
                  <c:v>19</c:v>
                </c:pt>
                <c:pt idx="13127">
                  <c:v>3</c:v>
                </c:pt>
                <c:pt idx="13128">
                  <c:v>2</c:v>
                </c:pt>
                <c:pt idx="13129">
                  <c:v>10</c:v>
                </c:pt>
                <c:pt idx="13130">
                  <c:v>9</c:v>
                </c:pt>
                <c:pt idx="13131">
                  <c:v>3</c:v>
                </c:pt>
                <c:pt idx="13132">
                  <c:v>2</c:v>
                </c:pt>
                <c:pt idx="13133">
                  <c:v>1</c:v>
                </c:pt>
                <c:pt idx="13134">
                  <c:v>1</c:v>
                </c:pt>
                <c:pt idx="13135">
                  <c:v>3</c:v>
                </c:pt>
                <c:pt idx="13136">
                  <c:v>1</c:v>
                </c:pt>
                <c:pt idx="13137">
                  <c:v>5</c:v>
                </c:pt>
                <c:pt idx="13138">
                  <c:v>5</c:v>
                </c:pt>
                <c:pt idx="13139">
                  <c:v>3</c:v>
                </c:pt>
                <c:pt idx="13140">
                  <c:v>5</c:v>
                </c:pt>
                <c:pt idx="13141">
                  <c:v>1</c:v>
                </c:pt>
                <c:pt idx="13142">
                  <c:v>3</c:v>
                </c:pt>
                <c:pt idx="13143">
                  <c:v>5</c:v>
                </c:pt>
                <c:pt idx="13144">
                  <c:v>2</c:v>
                </c:pt>
                <c:pt idx="13145">
                  <c:v>0</c:v>
                </c:pt>
                <c:pt idx="13146">
                  <c:v>5</c:v>
                </c:pt>
                <c:pt idx="13147">
                  <c:v>7</c:v>
                </c:pt>
                <c:pt idx="13148">
                  <c:v>4</c:v>
                </c:pt>
                <c:pt idx="13149">
                  <c:v>0</c:v>
                </c:pt>
                <c:pt idx="13150">
                  <c:v>4</c:v>
                </c:pt>
                <c:pt idx="13151">
                  <c:v>4</c:v>
                </c:pt>
                <c:pt idx="13152">
                  <c:v>3</c:v>
                </c:pt>
                <c:pt idx="13153">
                  <c:v>1</c:v>
                </c:pt>
                <c:pt idx="13154">
                  <c:v>0</c:v>
                </c:pt>
                <c:pt idx="13155">
                  <c:v>4</c:v>
                </c:pt>
                <c:pt idx="13156">
                  <c:v>1</c:v>
                </c:pt>
                <c:pt idx="13157">
                  <c:v>1</c:v>
                </c:pt>
                <c:pt idx="13158">
                  <c:v>9</c:v>
                </c:pt>
                <c:pt idx="13159">
                  <c:v>4</c:v>
                </c:pt>
                <c:pt idx="13160">
                  <c:v>0</c:v>
                </c:pt>
                <c:pt idx="13161">
                  <c:v>0</c:v>
                </c:pt>
                <c:pt idx="13162">
                  <c:v>2</c:v>
                </c:pt>
                <c:pt idx="13163">
                  <c:v>1</c:v>
                </c:pt>
                <c:pt idx="13164">
                  <c:v>7</c:v>
                </c:pt>
                <c:pt idx="13165">
                  <c:v>6</c:v>
                </c:pt>
                <c:pt idx="13166">
                  <c:v>6</c:v>
                </c:pt>
                <c:pt idx="13167">
                  <c:v>3</c:v>
                </c:pt>
                <c:pt idx="13168">
                  <c:v>1</c:v>
                </c:pt>
                <c:pt idx="13169">
                  <c:v>4</c:v>
                </c:pt>
                <c:pt idx="13170">
                  <c:v>1</c:v>
                </c:pt>
                <c:pt idx="13171">
                  <c:v>0</c:v>
                </c:pt>
                <c:pt idx="13172">
                  <c:v>2</c:v>
                </c:pt>
                <c:pt idx="13173">
                  <c:v>1</c:v>
                </c:pt>
                <c:pt idx="13174">
                  <c:v>3</c:v>
                </c:pt>
                <c:pt idx="13175">
                  <c:v>5</c:v>
                </c:pt>
                <c:pt idx="13176">
                  <c:v>3</c:v>
                </c:pt>
                <c:pt idx="13177">
                  <c:v>2</c:v>
                </c:pt>
                <c:pt idx="13178">
                  <c:v>1</c:v>
                </c:pt>
                <c:pt idx="13179">
                  <c:v>1</c:v>
                </c:pt>
                <c:pt idx="13180">
                  <c:v>3</c:v>
                </c:pt>
                <c:pt idx="13181">
                  <c:v>0</c:v>
                </c:pt>
                <c:pt idx="13182">
                  <c:v>0</c:v>
                </c:pt>
                <c:pt idx="13183">
                  <c:v>0</c:v>
                </c:pt>
                <c:pt idx="13184">
                  <c:v>0</c:v>
                </c:pt>
                <c:pt idx="13185">
                  <c:v>2</c:v>
                </c:pt>
                <c:pt idx="13186">
                  <c:v>1</c:v>
                </c:pt>
                <c:pt idx="13187">
                  <c:v>1</c:v>
                </c:pt>
                <c:pt idx="13188">
                  <c:v>1</c:v>
                </c:pt>
                <c:pt idx="13189">
                  <c:v>0</c:v>
                </c:pt>
                <c:pt idx="13190">
                  <c:v>5</c:v>
                </c:pt>
                <c:pt idx="13191">
                  <c:v>1</c:v>
                </c:pt>
                <c:pt idx="13192">
                  <c:v>2</c:v>
                </c:pt>
                <c:pt idx="13193">
                  <c:v>4</c:v>
                </c:pt>
                <c:pt idx="13194">
                  <c:v>3</c:v>
                </c:pt>
                <c:pt idx="13195">
                  <c:v>31</c:v>
                </c:pt>
                <c:pt idx="13196">
                  <c:v>0</c:v>
                </c:pt>
                <c:pt idx="13197">
                  <c:v>6</c:v>
                </c:pt>
                <c:pt idx="13198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7C0-4281-BC72-E3C5B6DBB6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6530831"/>
        <c:axId val="1706527919"/>
      </c:scatterChart>
      <c:valAx>
        <c:axId val="170653083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dk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/>
                  <a:t>Pictures Uploaded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dk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dk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6527919"/>
        <c:crosses val="autoZero"/>
        <c:crossBetween val="midCat"/>
      </c:valAx>
      <c:valAx>
        <c:axId val="1706527919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dk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/>
                  <a:t>Vote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dk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dk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6530831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100000">
          <a:schemeClr val="lt1">
            <a:lumMod val="95000"/>
          </a:schemeClr>
        </a:gs>
        <a:gs pos="43000">
          <a:schemeClr val="lt1"/>
        </a:gs>
      </a:gsLst>
      <a:path path="circle">
        <a:fillToRect l="50000" t="50000" r="50000" b="50000"/>
      </a:path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NI!$C$2:$C$8718</cx:f>
        <cx:lvl ptCount="8717" formatCode="General">
          <cx:pt idx="0">4.2000000000000002</cx:pt>
          <cx:pt idx="1">4.2999999999999998</cx:pt>
          <cx:pt idx="2">4</cx:pt>
          <cx:pt idx="3">3.7999999999999998</cx:pt>
          <cx:pt idx="4">3.3999999999999999</cx:pt>
          <cx:pt idx="5">4.4000000000000004</cx:pt>
          <cx:pt idx="6">4.0999999999999996</cx:pt>
          <cx:pt idx="7">3.5</cx:pt>
          <cx:pt idx="8">4.2999999999999998</cx:pt>
          <cx:pt idx="9">4.4000000000000004</cx:pt>
          <cx:pt idx="10">3.8999999999999999</cx:pt>
          <cx:pt idx="11">3.8999999999999999</cx:pt>
          <cx:pt idx="12">4.2999999999999998</cx:pt>
          <cx:pt idx="13">3.8999999999999999</cx:pt>
          <cx:pt idx="14">3.6000000000000001</cx:pt>
          <cx:pt idx="15">3.8999999999999999</cx:pt>
          <cx:pt idx="16">4.0999999999999996</cx:pt>
          <cx:pt idx="17">4.2000000000000002</cx:pt>
          <cx:pt idx="18">3.7999999999999998</cx:pt>
          <cx:pt idx="19">4</cx:pt>
          <cx:pt idx="20">3.8999999999999999</cx:pt>
          <cx:pt idx="21">4</cx:pt>
          <cx:pt idx="22">4.2000000000000002</cx:pt>
          <cx:pt idx="23">4.0999999999999996</cx:pt>
          <cx:pt idx="24">4.0999999999999996</cx:pt>
          <cx:pt idx="25">4.0999999999999996</cx:pt>
          <cx:pt idx="26">4.0999999999999996</cx:pt>
          <cx:pt idx="27">3.7000000000000002</cx:pt>
          <cx:pt idx="28">4.2999999999999998</cx:pt>
          <cx:pt idx="29">3.2000000000000002</cx:pt>
          <cx:pt idx="30">4.0999999999999996</cx:pt>
          <cx:pt idx="31">4.0999999999999996</cx:pt>
          <cx:pt idx="32">4.2999999999999998</cx:pt>
          <cx:pt idx="33">3.7000000000000002</cx:pt>
          <cx:pt idx="34">4</cx:pt>
          <cx:pt idx="35">4</cx:pt>
          <cx:pt idx="36">4.2000000000000002</cx:pt>
          <cx:pt idx="37">4</cx:pt>
          <cx:pt idx="38">4.0999999999999996</cx:pt>
          <cx:pt idx="39">4.0999999999999996</cx:pt>
          <cx:pt idx="40">3.8999999999999999</cx:pt>
          <cx:pt idx="41">3.8999999999999999</cx:pt>
          <cx:pt idx="42">4.2999999999999998</cx:pt>
          <cx:pt idx="43">3.7999999999999998</cx:pt>
          <cx:pt idx="44">3.3999999999999999</cx:pt>
          <cx:pt idx="45">3.7999999999999998</cx:pt>
          <cx:pt idx="46">0</cx:pt>
          <cx:pt idx="47">3.2999999999999998</cx:pt>
          <cx:pt idx="48">4.0999999999999996</cx:pt>
          <cx:pt idx="49">3.8999999999999999</cx:pt>
          <cx:pt idx="50">3.6000000000000001</cx:pt>
          <cx:pt idx="51">3.2999999999999998</cx:pt>
          <cx:pt idx="52">3.2999999999999998</cx:pt>
          <cx:pt idx="53">0</cx:pt>
          <cx:pt idx="54">0</cx:pt>
          <cx:pt idx="55">0</cx:pt>
          <cx:pt idx="56">3.3999999999999999</cx:pt>
          <cx:pt idx="57">0</cx:pt>
          <cx:pt idx="58">0</cx:pt>
          <cx:pt idx="59">4.0999999999999996</cx:pt>
          <cx:pt idx="60">3.7000000000000002</cx:pt>
          <cx:pt idx="61">3.3999999999999999</cx:pt>
          <cx:pt idx="62">0</cx:pt>
          <cx:pt idx="63">0</cx:pt>
          <cx:pt idx="64">3.2999999999999998</cx:pt>
          <cx:pt idx="65">4</cx:pt>
          <cx:pt idx="66">3.2999999999999998</cx:pt>
          <cx:pt idx="67">0</cx:pt>
          <cx:pt idx="68">0</cx:pt>
          <cx:pt idx="69">0</cx:pt>
          <cx:pt idx="70">3.2999999999999998</cx:pt>
          <cx:pt idx="71">4.2999999999999998</cx:pt>
          <cx:pt idx="72">4.0999999999999996</cx:pt>
          <cx:pt idx="73">3.7999999999999998</cx:pt>
          <cx:pt idx="74">3.7999999999999998</cx:pt>
          <cx:pt idx="75">3.8999999999999999</cx:pt>
          <cx:pt idx="76">3.8999999999999999</cx:pt>
          <cx:pt idx="77">3.7999999999999998</cx:pt>
          <cx:pt idx="78">3.7000000000000002</cx:pt>
          <cx:pt idx="79">3.8999999999999999</cx:pt>
          <cx:pt idx="80">3.7000000000000002</cx:pt>
          <cx:pt idx="81">3</cx:pt>
          <cx:pt idx="82">3.7999999999999998</cx:pt>
          <cx:pt idx="83">3.7000000000000002</cx:pt>
          <cx:pt idx="84">3.7000000000000002</cx:pt>
          <cx:pt idx="85">3.6000000000000001</cx:pt>
          <cx:pt idx="86">3.6000000000000001</cx:pt>
          <cx:pt idx="87">2.7999999999999998</cx:pt>
          <cx:pt idx="88">3.6000000000000001</cx:pt>
          <cx:pt idx="89">3.2999999999999998</cx:pt>
          <cx:pt idx="90">3.5</cx:pt>
          <cx:pt idx="91">3.7999999999999998</cx:pt>
          <cx:pt idx="92">3.6000000000000001</cx:pt>
          <cx:pt idx="93">3.2999999999999998</cx:pt>
          <cx:pt idx="94">3.3999999999999999</cx:pt>
          <cx:pt idx="95">3.3999999999999999</cx:pt>
          <cx:pt idx="96">3.3999999999999999</cx:pt>
          <cx:pt idx="97">3.2999999999999998</cx:pt>
          <cx:pt idx="98">2.7000000000000002</cx:pt>
          <cx:pt idx="99">3.6000000000000001</cx:pt>
          <cx:pt idx="100">3.3999999999999999</cx:pt>
          <cx:pt idx="101">3.5</cx:pt>
          <cx:pt idx="102">3.2000000000000002</cx:pt>
          <cx:pt idx="103">3.2000000000000002</cx:pt>
          <cx:pt idx="104">3.2000000000000002</cx:pt>
          <cx:pt idx="105">3.3999999999999999</cx:pt>
          <cx:pt idx="106">3.1000000000000001</cx:pt>
          <cx:pt idx="107">0</cx:pt>
          <cx:pt idx="108">3.2999999999999998</cx:pt>
          <cx:pt idx="109">3</cx:pt>
          <cx:pt idx="110">3.1000000000000001</cx:pt>
          <cx:pt idx="111">3.3999999999999999</cx:pt>
          <cx:pt idx="112">3.2999999999999998</cx:pt>
          <cx:pt idx="113">2.7999999999999998</cx:pt>
          <cx:pt idx="114">0</cx:pt>
          <cx:pt idx="115">0</cx:pt>
          <cx:pt idx="116">3.2000000000000002</cx:pt>
          <cx:pt idx="117">0</cx:pt>
          <cx:pt idx="118">2.8999999999999999</cx:pt>
          <cx:pt idx="119">0</cx:pt>
          <cx:pt idx="120">0</cx:pt>
          <cx:pt idx="121">3.1000000000000001</cx:pt>
          <cx:pt idx="122">0</cx:pt>
          <cx:pt idx="123">3.1000000000000001</cx:pt>
          <cx:pt idx="124">3.1000000000000001</cx:pt>
          <cx:pt idx="125">0</cx:pt>
          <cx:pt idx="126">3.1000000000000001</cx:pt>
          <cx:pt idx="127">3.2000000000000002</cx:pt>
          <cx:pt idx="128">0</cx:pt>
          <cx:pt idx="129">0</cx:pt>
          <cx:pt idx="130">3.1000000000000001</cx:pt>
          <cx:pt idx="131">3</cx:pt>
          <cx:pt idx="132">0</cx:pt>
          <cx:pt idx="133">0</cx:pt>
          <cx:pt idx="134">0</cx:pt>
          <cx:pt idx="135">2.8999999999999999</cx:pt>
          <cx:pt idx="136">0</cx:pt>
          <cx:pt idx="137">0</cx:pt>
          <cx:pt idx="138">0</cx:pt>
          <cx:pt idx="139">0</cx:pt>
          <cx:pt idx="140">0</cx:pt>
          <cx:pt idx="141">0</cx:pt>
          <cx:pt idx="142">0</cx:pt>
          <cx:pt idx="143">0</cx:pt>
          <cx:pt idx="144">0</cx:pt>
          <cx:pt idx="145">0</cx:pt>
          <cx:pt idx="146">0</cx:pt>
          <cx:pt idx="147">0</cx:pt>
          <cx:pt idx="148">0</cx:pt>
          <cx:pt idx="149">0</cx:pt>
          <cx:pt idx="150">0</cx:pt>
          <cx:pt idx="151">0</cx:pt>
          <cx:pt idx="152">0</cx:pt>
          <cx:pt idx="153">0</cx:pt>
          <cx:pt idx="154">0</cx:pt>
          <cx:pt idx="155">4.4000000000000004</cx:pt>
          <cx:pt idx="156">4.2999999999999998</cx:pt>
          <cx:pt idx="157">4.2999999999999998</cx:pt>
          <cx:pt idx="158">4.2999999999999998</cx:pt>
          <cx:pt idx="159">4.2999999999999998</cx:pt>
          <cx:pt idx="160">4.2000000000000002</cx:pt>
          <cx:pt idx="161">4.2000000000000002</cx:pt>
          <cx:pt idx="162">4.2000000000000002</cx:pt>
          <cx:pt idx="163">4.0999999999999996</cx:pt>
          <cx:pt idx="164">4.0999999999999996</cx:pt>
          <cx:pt idx="165">4.0999999999999996</cx:pt>
          <cx:pt idx="166">4.0999999999999996</cx:pt>
          <cx:pt idx="167">4.0999999999999996</cx:pt>
          <cx:pt idx="168">4.0999999999999996</cx:pt>
          <cx:pt idx="169">2.3999999999999999</cx:pt>
          <cx:pt idx="170">2.7000000000000002</cx:pt>
          <cx:pt idx="171">2.7000000000000002</cx:pt>
          <cx:pt idx="172">2.7000000000000002</cx:pt>
          <cx:pt idx="173">2.7000000000000002</cx:pt>
          <cx:pt idx="174">2.7999999999999998</cx:pt>
          <cx:pt idx="175">2.7999999999999998</cx:pt>
          <cx:pt idx="176">2.7999999999999998</cx:pt>
          <cx:pt idx="177">2.7999999999999998</cx:pt>
          <cx:pt idx="178">2.7999999999999998</cx:pt>
          <cx:pt idx="179">2.7999999999999998</cx:pt>
          <cx:pt idx="180">2.8999999999999999</cx:pt>
          <cx:pt idx="181">2.8999999999999999</cx:pt>
          <cx:pt idx="182">2.8999999999999999</cx:pt>
          <cx:pt idx="183">2.8999999999999999</cx:pt>
          <cx:pt idx="184">2.8999999999999999</cx:pt>
          <cx:pt idx="185">2.8999999999999999</cx:pt>
          <cx:pt idx="186">2.8999999999999999</cx:pt>
          <cx:pt idx="187">2.8999999999999999</cx:pt>
          <cx:pt idx="188">2.8999999999999999</cx:pt>
          <cx:pt idx="189">2.8999999999999999</cx:pt>
          <cx:pt idx="190">2.8999999999999999</cx:pt>
          <cx:pt idx="191">2.8999999999999999</cx:pt>
          <cx:pt idx="192">2.8999999999999999</cx:pt>
          <cx:pt idx="193">2.8999999999999999</cx:pt>
          <cx:pt idx="194">2.8999999999999999</cx:pt>
          <cx:pt idx="195">2.8999999999999999</cx:pt>
          <cx:pt idx="196">2.8999999999999999</cx:pt>
          <cx:pt idx="197">2.8999999999999999</cx:pt>
          <cx:pt idx="198">3.8999999999999999</cx:pt>
          <cx:pt idx="199">3.8999999999999999</cx:pt>
          <cx:pt idx="200">3.8999999999999999</cx:pt>
          <cx:pt idx="201">3.7000000000000002</cx:pt>
          <cx:pt idx="202">3.7999999999999998</cx:pt>
          <cx:pt idx="203">3.3999999999999999</cx:pt>
          <cx:pt idx="204">4</cx:pt>
          <cx:pt idx="205">3.7999999999999998</cx:pt>
          <cx:pt idx="206">3.8999999999999999</cx:pt>
          <cx:pt idx="207">3.7000000000000002</cx:pt>
          <cx:pt idx="208">3.6000000000000001</cx:pt>
          <cx:pt idx="209">3.7000000000000002</cx:pt>
          <cx:pt idx="210">4</cx:pt>
          <cx:pt idx="211">3.8999999999999999</cx:pt>
          <cx:pt idx="212">3.6000000000000001</cx:pt>
          <cx:pt idx="213">3.5</cx:pt>
          <cx:pt idx="214">3.2999999999999998</cx:pt>
          <cx:pt idx="215">3.2999999999999998</cx:pt>
          <cx:pt idx="216">0</cx:pt>
          <cx:pt idx="217">3.2999999999999998</cx:pt>
          <cx:pt idx="218">3.7999999999999998</cx:pt>
          <cx:pt idx="219">3.7999999999999998</cx:pt>
          <cx:pt idx="220">3.8999999999999999</cx:pt>
          <cx:pt idx="221">3.8999999999999999</cx:pt>
          <cx:pt idx="222">3.7000000000000002</cx:pt>
          <cx:pt idx="223">3.7000000000000002</cx:pt>
          <cx:pt idx="224">3.7000000000000002</cx:pt>
          <cx:pt idx="225">3.6000000000000001</cx:pt>
          <cx:pt idx="226">3.8999999999999999</cx:pt>
          <cx:pt idx="227">3.7999999999999998</cx:pt>
          <cx:pt idx="228">3.7000000000000002</cx:pt>
          <cx:pt idx="229">3.8999999999999999</cx:pt>
          <cx:pt idx="230">3.7000000000000002</cx:pt>
          <cx:pt idx="231">3.7999999999999998</cx:pt>
          <cx:pt idx="232">3.6000000000000001</cx:pt>
          <cx:pt idx="233">3.7999999999999998</cx:pt>
          <cx:pt idx="234">3.8999999999999999</cx:pt>
          <cx:pt idx="235">3.6000000000000001</cx:pt>
          <cx:pt idx="236">3.2000000000000002</cx:pt>
          <cx:pt idx="237">0</cx:pt>
          <cx:pt idx="238">0</cx:pt>
          <cx:pt idx="239">0</cx:pt>
          <cx:pt idx="240">0</cx:pt>
          <cx:pt idx="241">0</cx:pt>
          <cx:pt idx="242">3.8999999999999999</cx:pt>
          <cx:pt idx="243">3.7999999999999998</cx:pt>
          <cx:pt idx="244">3.7999999999999998</cx:pt>
          <cx:pt idx="245">3.1000000000000001</cx:pt>
          <cx:pt idx="246">4</cx:pt>
          <cx:pt idx="247">3.5</cx:pt>
          <cx:pt idx="248">4</cx:pt>
          <cx:pt idx="249">3.5</cx:pt>
          <cx:pt idx="250">3.6000000000000001</cx:pt>
          <cx:pt idx="251">3.7999999999999998</cx:pt>
          <cx:pt idx="252">3.7999999999999998</cx:pt>
          <cx:pt idx="253">3.7000000000000002</cx:pt>
          <cx:pt idx="254">3.5</cx:pt>
          <cx:pt idx="255">3.6000000000000001</cx:pt>
          <cx:pt idx="256">3</cx:pt>
          <cx:pt idx="257">3.2999999999999998</cx:pt>
          <cx:pt idx="258">3.1000000000000001</cx:pt>
          <cx:pt idx="259">3.1000000000000001</cx:pt>
          <cx:pt idx="260">0</cx:pt>
          <cx:pt idx="261">0</cx:pt>
          <cx:pt idx="262">3.7999999999999998</cx:pt>
          <cx:pt idx="263">3.8999999999999999</cx:pt>
          <cx:pt idx="264">3.7999999999999998</cx:pt>
          <cx:pt idx="265">3.6000000000000001</cx:pt>
          <cx:pt idx="266">4</cx:pt>
          <cx:pt idx="267">3.7999999999999998</cx:pt>
          <cx:pt idx="268">3.3999999999999999</cx:pt>
          <cx:pt idx="269">3.3999999999999999</cx:pt>
          <cx:pt idx="270">3.3999999999999999</cx:pt>
          <cx:pt idx="271">3.5</cx:pt>
          <cx:pt idx="272">3.6000000000000001</cx:pt>
          <cx:pt idx="273">3.3999999999999999</cx:pt>
          <cx:pt idx="274">3.6000000000000001</cx:pt>
          <cx:pt idx="275">3.5</cx:pt>
          <cx:pt idx="276">3.1000000000000001</cx:pt>
          <cx:pt idx="277">3.3999999999999999</cx:pt>
          <cx:pt idx="278">3.2999999999999998</cx:pt>
          <cx:pt idx="279">3</cx:pt>
          <cx:pt idx="280">3.2000000000000002</cx:pt>
          <cx:pt idx="281">3.2000000000000002</cx:pt>
          <cx:pt idx="282">3.1000000000000001</cx:pt>
          <cx:pt idx="283">0</cx:pt>
          <cx:pt idx="284">0</cx:pt>
          <cx:pt idx="285">3</cx:pt>
          <cx:pt idx="286">0</cx:pt>
          <cx:pt idx="287">0</cx:pt>
          <cx:pt idx="288">0</cx:pt>
          <cx:pt idx="289">0</cx:pt>
          <cx:pt idx="290">0</cx:pt>
          <cx:pt idx="291">0</cx:pt>
          <cx:pt idx="292">0</cx:pt>
          <cx:pt idx="293">0</cx:pt>
          <cx:pt idx="294">3.2999999999999998</cx:pt>
          <cx:pt idx="295">3.6000000000000001</cx:pt>
          <cx:pt idx="296">3.7000000000000002</cx:pt>
          <cx:pt idx="297">3.8999999999999999</cx:pt>
          <cx:pt idx="298">3.8999999999999999</cx:pt>
          <cx:pt idx="299">3.7999999999999998</cx:pt>
          <cx:pt idx="300">3.5</cx:pt>
          <cx:pt idx="301">3.6000000000000001</cx:pt>
          <cx:pt idx="302">3.7000000000000002</cx:pt>
          <cx:pt idx="303">3.6000000000000001</cx:pt>
          <cx:pt idx="304">3.5</cx:pt>
          <cx:pt idx="305">3.7000000000000002</cx:pt>
          <cx:pt idx="306">3.6000000000000001</cx:pt>
          <cx:pt idx="307">3.7000000000000002</cx:pt>
          <cx:pt idx="308">3.6000000000000001</cx:pt>
          <cx:pt idx="309">3.2999999999999998</cx:pt>
          <cx:pt idx="310">3.3999999999999999</cx:pt>
          <cx:pt idx="311">3.5</cx:pt>
          <cx:pt idx="312">3.6000000000000001</cx:pt>
          <cx:pt idx="313">3.6000000000000001</cx:pt>
          <cx:pt idx="314">3.2999999999999998</cx:pt>
          <cx:pt idx="315">3.7999999999999998</cx:pt>
          <cx:pt idx="316">3.6000000000000001</cx:pt>
          <cx:pt idx="317">3.3999999999999999</cx:pt>
          <cx:pt idx="318">3.2999999999999998</cx:pt>
          <cx:pt idx="319">3.5</cx:pt>
          <cx:pt idx="320">3.3999999999999999</cx:pt>
          <cx:pt idx="321">3.2000000000000002</cx:pt>
          <cx:pt idx="322">0</cx:pt>
          <cx:pt idx="323">3.3999999999999999</cx:pt>
          <cx:pt idx="324">3.1000000000000001</cx:pt>
          <cx:pt idx="325">3.2000000000000002</cx:pt>
          <cx:pt idx="326">0</cx:pt>
          <cx:pt idx="327">3.2000000000000002</cx:pt>
          <cx:pt idx="328">3.2999999999999998</cx:pt>
          <cx:pt idx="329">0</cx:pt>
          <cx:pt idx="330">0</cx:pt>
          <cx:pt idx="331">0</cx:pt>
          <cx:pt idx="332">0</cx:pt>
          <cx:pt idx="333">3</cx:pt>
          <cx:pt idx="334">0</cx:pt>
          <cx:pt idx="335">0</cx:pt>
          <cx:pt idx="336">0</cx:pt>
          <cx:pt idx="337">0</cx:pt>
          <cx:pt idx="338">0</cx:pt>
          <cx:pt idx="339">0</cx:pt>
          <cx:pt idx="340">0</cx:pt>
          <cx:pt idx="341">0</cx:pt>
          <cx:pt idx="342">0</cx:pt>
          <cx:pt idx="343">0</cx:pt>
          <cx:pt idx="344">0</cx:pt>
          <cx:pt idx="345">0</cx:pt>
          <cx:pt idx="346">0</cx:pt>
          <cx:pt idx="347">0</cx:pt>
          <cx:pt idx="348">0</cx:pt>
          <cx:pt idx="349">0</cx:pt>
          <cx:pt idx="350">0</cx:pt>
          <cx:pt idx="351">0</cx:pt>
          <cx:pt idx="352">0</cx:pt>
          <cx:pt idx="353">0</cx:pt>
          <cx:pt idx="354">0</cx:pt>
          <cx:pt idx="355">0</cx:pt>
          <cx:pt idx="356">0</cx:pt>
          <cx:pt idx="357">0</cx:pt>
          <cx:pt idx="358">0</cx:pt>
          <cx:pt idx="359">0</cx:pt>
          <cx:pt idx="360">0</cx:pt>
          <cx:pt idx="361">0</cx:pt>
          <cx:pt idx="362">0</cx:pt>
          <cx:pt idx="363">3.8999999999999999</cx:pt>
          <cx:pt idx="364">3.7000000000000002</cx:pt>
          <cx:pt idx="365">3.6000000000000001</cx:pt>
          <cx:pt idx="366">3.7000000000000002</cx:pt>
          <cx:pt idx="367">3.5</cx:pt>
          <cx:pt idx="368">3.2999999999999998</cx:pt>
          <cx:pt idx="369">3.7000000000000002</cx:pt>
          <cx:pt idx="370">3.7000000000000002</cx:pt>
          <cx:pt idx="371">3.5</cx:pt>
          <cx:pt idx="372">3.7000000000000002</cx:pt>
          <cx:pt idx="373">3.6000000000000001</cx:pt>
          <cx:pt idx="374">3.3999999999999999</cx:pt>
          <cx:pt idx="375">3.6000000000000001</cx:pt>
          <cx:pt idx="376">3.5</cx:pt>
          <cx:pt idx="377">3.3999999999999999</cx:pt>
          <cx:pt idx="378">3.6000000000000001</cx:pt>
          <cx:pt idx="379">3.5</cx:pt>
          <cx:pt idx="380">3.3999999999999999</cx:pt>
          <cx:pt idx="381">3.3999999999999999</cx:pt>
          <cx:pt idx="382">3.6000000000000001</cx:pt>
          <cx:pt idx="383">3.2000000000000002</cx:pt>
          <cx:pt idx="384">3.1000000000000001</cx:pt>
          <cx:pt idx="385">3.6000000000000001</cx:pt>
          <cx:pt idx="386">3.3999999999999999</cx:pt>
          <cx:pt idx="387">3.5</cx:pt>
          <cx:pt idx="388">3.2999999999999998</cx:pt>
          <cx:pt idx="389">3.2000000000000002</cx:pt>
          <cx:pt idx="390">3</cx:pt>
          <cx:pt idx="391">3.2000000000000002</cx:pt>
          <cx:pt idx="392">3.2000000000000002</cx:pt>
          <cx:pt idx="393">3</cx:pt>
          <cx:pt idx="394">3.3999999999999999</cx:pt>
          <cx:pt idx="395">3.2999999999999998</cx:pt>
          <cx:pt idx="396">3.1000000000000001</cx:pt>
          <cx:pt idx="397">3.7000000000000002</cx:pt>
          <cx:pt idx="398">3</cx:pt>
          <cx:pt idx="399">3</cx:pt>
          <cx:pt idx="400">0</cx:pt>
          <cx:pt idx="401">3.1000000000000001</cx:pt>
          <cx:pt idx="402">0</cx:pt>
          <cx:pt idx="403">0</cx:pt>
          <cx:pt idx="404">0</cx:pt>
          <cx:pt idx="405">3.2000000000000002</cx:pt>
          <cx:pt idx="406">3.1000000000000001</cx:pt>
          <cx:pt idx="407">0</cx:pt>
          <cx:pt idx="408">0</cx:pt>
          <cx:pt idx="409">3.2000000000000002</cx:pt>
          <cx:pt idx="410">0</cx:pt>
          <cx:pt idx="411">0</cx:pt>
          <cx:pt idx="412">0</cx:pt>
          <cx:pt idx="413">0</cx:pt>
          <cx:pt idx="414">3.1000000000000001</cx:pt>
          <cx:pt idx="415">0</cx:pt>
          <cx:pt idx="416">0</cx:pt>
          <cx:pt idx="417">0</cx:pt>
          <cx:pt idx="418">0</cx:pt>
          <cx:pt idx="419">0</cx:pt>
          <cx:pt idx="420">0</cx:pt>
          <cx:pt idx="421">0</cx:pt>
          <cx:pt idx="422">0</cx:pt>
          <cx:pt idx="423">0</cx:pt>
          <cx:pt idx="424">0</cx:pt>
          <cx:pt idx="425">0</cx:pt>
          <cx:pt idx="426">0</cx:pt>
          <cx:pt idx="427">0</cx:pt>
          <cx:pt idx="428">0</cx:pt>
          <cx:pt idx="429">0</cx:pt>
          <cx:pt idx="430">0</cx:pt>
          <cx:pt idx="431">0</cx:pt>
          <cx:pt idx="432">0</cx:pt>
          <cx:pt idx="433">0</cx:pt>
          <cx:pt idx="434">0</cx:pt>
          <cx:pt idx="435">0</cx:pt>
          <cx:pt idx="436">0</cx:pt>
          <cx:pt idx="437">0</cx:pt>
          <cx:pt idx="438">0</cx:pt>
          <cx:pt idx="439">0</cx:pt>
          <cx:pt idx="440">3.7999999999999998</cx:pt>
          <cx:pt idx="441">3.3999999999999999</cx:pt>
          <cx:pt idx="442">3.2000000000000002</cx:pt>
          <cx:pt idx="443">0</cx:pt>
          <cx:pt idx="444">0</cx:pt>
          <cx:pt idx="445">0</cx:pt>
          <cx:pt idx="446">0</cx:pt>
          <cx:pt idx="447">0</cx:pt>
          <cx:pt idx="448">0</cx:pt>
          <cx:pt idx="449">0</cx:pt>
          <cx:pt idx="450">0</cx:pt>
          <cx:pt idx="451">0</cx:pt>
          <cx:pt idx="452">3.2000000000000002</cx:pt>
          <cx:pt idx="453">3.3999999999999999</cx:pt>
          <cx:pt idx="454">3.2999999999999998</cx:pt>
          <cx:pt idx="455">3.6000000000000001</cx:pt>
          <cx:pt idx="456">3.5</cx:pt>
          <cx:pt idx="457">3.3999999999999999</cx:pt>
          <cx:pt idx="458">0</cx:pt>
          <cx:pt idx="459">0</cx:pt>
          <cx:pt idx="460">0</cx:pt>
          <cx:pt idx="461">0</cx:pt>
          <cx:pt idx="462">0</cx:pt>
          <cx:pt idx="463">0</cx:pt>
          <cx:pt idx="464">0</cx:pt>
          <cx:pt idx="465">0</cx:pt>
          <cx:pt idx="466">4</cx:pt>
          <cx:pt idx="467">3.5</cx:pt>
          <cx:pt idx="468">0</cx:pt>
          <cx:pt idx="469">0</cx:pt>
          <cx:pt idx="470">0</cx:pt>
          <cx:pt idx="471">0</cx:pt>
          <cx:pt idx="472">0</cx:pt>
          <cx:pt idx="473">3</cx:pt>
          <cx:pt idx="474">3.2999999999999998</cx:pt>
          <cx:pt idx="475">3.1000000000000001</cx:pt>
          <cx:pt idx="476">0</cx:pt>
          <cx:pt idx="477">0</cx:pt>
          <cx:pt idx="478">0</cx:pt>
          <cx:pt idx="479">0</cx:pt>
          <cx:pt idx="480">0</cx:pt>
          <cx:pt idx="481">0</cx:pt>
          <cx:pt idx="482">0</cx:pt>
          <cx:pt idx="483">0</cx:pt>
          <cx:pt idx="484">0</cx:pt>
          <cx:pt idx="485">3.3999999999999999</cx:pt>
          <cx:pt idx="486">0</cx:pt>
          <cx:pt idx="487">0</cx:pt>
          <cx:pt idx="488">3.2999999999999998</cx:pt>
          <cx:pt idx="489">3.2000000000000002</cx:pt>
          <cx:pt idx="490">0</cx:pt>
          <cx:pt idx="491">0</cx:pt>
          <cx:pt idx="492">3.2999999999999998</cx:pt>
          <cx:pt idx="493">3.5</cx:pt>
          <cx:pt idx="494">3.5</cx:pt>
          <cx:pt idx="495">3.8999999999999999</cx:pt>
          <cx:pt idx="496">3.3999999999999999</cx:pt>
          <cx:pt idx="497">4</cx:pt>
          <cx:pt idx="498">3.5</cx:pt>
          <cx:pt idx="499">3.8999999999999999</cx:pt>
          <cx:pt idx="500">3.7000000000000002</cx:pt>
          <cx:pt idx="501">4.5</cx:pt>
          <cx:pt idx="502">4.7000000000000002</cx:pt>
          <cx:pt idx="503">4.7999999999999998</cx:pt>
          <cx:pt idx="504">4.5</cx:pt>
          <cx:pt idx="505">4.5</cx:pt>
          <cx:pt idx="506">4.4000000000000004</cx:pt>
          <cx:pt idx="507">4.2000000000000002</cx:pt>
          <cx:pt idx="508">4.0999999999999996</cx:pt>
          <cx:pt idx="509">4.4000000000000004</cx:pt>
          <cx:pt idx="510">4.2000000000000002</cx:pt>
          <cx:pt idx="511">4.0999999999999996</cx:pt>
          <cx:pt idx="512">4.5999999999999996</cx:pt>
          <cx:pt idx="513">4.7000000000000002</cx:pt>
          <cx:pt idx="514">4</cx:pt>
          <cx:pt idx="515">4.2999999999999998</cx:pt>
          <cx:pt idx="516">4.2999999999999998</cx:pt>
          <cx:pt idx="517">4.4000000000000004</cx:pt>
          <cx:pt idx="518">4.0999999999999996</cx:pt>
          <cx:pt idx="519">4.5</cx:pt>
          <cx:pt idx="520">4.5999999999999996</cx:pt>
          <cx:pt idx="521">4.5</cx:pt>
          <cx:pt idx="522">3.7999999999999998</cx:pt>
          <cx:pt idx="523">4.2000000000000002</cx:pt>
          <cx:pt idx="524">4.5</cx:pt>
          <cx:pt idx="525">3.7999999999999998</cx:pt>
          <cx:pt idx="526">3.8999999999999999</cx:pt>
          <cx:pt idx="527">4.0999999999999996</cx:pt>
          <cx:pt idx="528">4.0999999999999996</cx:pt>
          <cx:pt idx="529">4.5</cx:pt>
          <cx:pt idx="530">4.2000000000000002</cx:pt>
          <cx:pt idx="531">4.2999999999999998</cx:pt>
          <cx:pt idx="532">4.0999999999999996</cx:pt>
          <cx:pt idx="533">4.5</cx:pt>
          <cx:pt idx="534">4.2999999999999998</cx:pt>
          <cx:pt idx="535">4.5</cx:pt>
          <cx:pt idx="536">4.2000000000000002</cx:pt>
          <cx:pt idx="537">4.9000000000000004</cx:pt>
          <cx:pt idx="538">4.2999999999999998</cx:pt>
          <cx:pt idx="539">3.8999999999999999</cx:pt>
          <cx:pt idx="540">3.8999999999999999</cx:pt>
          <cx:pt idx="541">4</cx:pt>
          <cx:pt idx="542">4.5</cx:pt>
          <cx:pt idx="543">4.4000000000000004</cx:pt>
          <cx:pt idx="544">4.2000000000000002</cx:pt>
          <cx:pt idx="545">4</cx:pt>
          <cx:pt idx="546">3.7999999999999998</cx:pt>
          <cx:pt idx="547">4.5999999999999996</cx:pt>
          <cx:pt idx="548">4.7000000000000002</cx:pt>
          <cx:pt idx="549">4.0999999999999996</cx:pt>
          <cx:pt idx="550">4.9000000000000004</cx:pt>
          <cx:pt idx="551">4.5</cx:pt>
          <cx:pt idx="552">4</cx:pt>
          <cx:pt idx="553">4</cx:pt>
          <cx:pt idx="554">4.2999999999999998</cx:pt>
          <cx:pt idx="555">3.8999999999999999</cx:pt>
          <cx:pt idx="556">3.2999999999999998</cx:pt>
          <cx:pt idx="557">4.2999999999999998</cx:pt>
          <cx:pt idx="558">4.5999999999999996</cx:pt>
          <cx:pt idx="559">3.6000000000000001</cx:pt>
          <cx:pt idx="560">4.9000000000000004</cx:pt>
          <cx:pt idx="561">3.7999999999999998</cx:pt>
          <cx:pt idx="562">4.0999999999999996</cx:pt>
          <cx:pt idx="563">4.4000000000000004</cx:pt>
          <cx:pt idx="564">4.7000000000000002</cx:pt>
          <cx:pt idx="565">4</cx:pt>
          <cx:pt idx="566">0</cx:pt>
          <cx:pt idx="567">4.2999999999999998</cx:pt>
          <cx:pt idx="568">4.7000000000000002</cx:pt>
          <cx:pt idx="569">3.8999999999999999</cx:pt>
          <cx:pt idx="570">4.9000000000000004</cx:pt>
          <cx:pt idx="571">3.7000000000000002</cx:pt>
          <cx:pt idx="572">4.0999999999999996</cx:pt>
          <cx:pt idx="573">4.4000000000000004</cx:pt>
          <cx:pt idx="574">4.4000000000000004</cx:pt>
          <cx:pt idx="575">4.2999999999999998</cx:pt>
          <cx:pt idx="576">4.0999999999999996</cx:pt>
          <cx:pt idx="577">4.0999999999999996</cx:pt>
          <cx:pt idx="578">4.2000000000000002</cx:pt>
          <cx:pt idx="579">3.8999999999999999</cx:pt>
          <cx:pt idx="580">3.1000000000000001</cx:pt>
          <cx:pt idx="581">4.2000000000000002</cx:pt>
          <cx:pt idx="582">4.2000000000000002</cx:pt>
          <cx:pt idx="583">4</cx:pt>
          <cx:pt idx="584">4</cx:pt>
          <cx:pt idx="585">4</cx:pt>
          <cx:pt idx="586">3.8999999999999999</cx:pt>
          <cx:pt idx="587">3.6000000000000001</cx:pt>
          <cx:pt idx="588">3.5</cx:pt>
          <cx:pt idx="589">3.5</cx:pt>
          <cx:pt idx="590">3.3999999999999999</cx:pt>
          <cx:pt idx="591">3</cx:pt>
          <cx:pt idx="592">0</cx:pt>
          <cx:pt idx="593">0</cx:pt>
          <cx:pt idx="594">0</cx:pt>
          <cx:pt idx="595">4.0999999999999996</cx:pt>
          <cx:pt idx="596">4.2999999999999998</cx:pt>
          <cx:pt idx="597">4.4000000000000004</cx:pt>
          <cx:pt idx="598">3.8999999999999999</cx:pt>
          <cx:pt idx="599">3.7999999999999998</cx:pt>
          <cx:pt idx="600">4</cx:pt>
          <cx:pt idx="601">4</cx:pt>
          <cx:pt idx="602">4</cx:pt>
          <cx:pt idx="603">4</cx:pt>
          <cx:pt idx="604">3.8999999999999999</cx:pt>
          <cx:pt idx="605">4</cx:pt>
          <cx:pt idx="606">4</cx:pt>
          <cx:pt idx="607">4.2000000000000002</cx:pt>
          <cx:pt idx="608">3.7999999999999998</cx:pt>
          <cx:pt idx="609">3.6000000000000001</cx:pt>
          <cx:pt idx="610">3.7999999999999998</cx:pt>
          <cx:pt idx="611">3.8999999999999999</cx:pt>
          <cx:pt idx="612">4</cx:pt>
          <cx:pt idx="613">3.7000000000000002</cx:pt>
          <cx:pt idx="614">4.2000000000000002</cx:pt>
          <cx:pt idx="615">3.7000000000000002</cx:pt>
          <cx:pt idx="616">3.8999999999999999</cx:pt>
          <cx:pt idx="617">3.7999999999999998</cx:pt>
          <cx:pt idx="618">3.7000000000000002</cx:pt>
          <cx:pt idx="619">4.0999999999999996</cx:pt>
          <cx:pt idx="620">3.8999999999999999</cx:pt>
          <cx:pt idx="621">3.6000000000000001</cx:pt>
          <cx:pt idx="622">3.8999999999999999</cx:pt>
          <cx:pt idx="623">3.7000000000000002</cx:pt>
          <cx:pt idx="624">3.8999999999999999</cx:pt>
          <cx:pt idx="625">3.7999999999999998</cx:pt>
          <cx:pt idx="626">3.8999999999999999</cx:pt>
          <cx:pt idx="627">3.6000000000000001</cx:pt>
          <cx:pt idx="628">3.7000000000000002</cx:pt>
          <cx:pt idx="629">3.7999999999999998</cx:pt>
          <cx:pt idx="630">3.7000000000000002</cx:pt>
          <cx:pt idx="631">3.7999999999999998</cx:pt>
          <cx:pt idx="632">4.2999999999999998</cx:pt>
          <cx:pt idx="633">3.8999999999999999</cx:pt>
          <cx:pt idx="634">2.7000000000000002</cx:pt>
          <cx:pt idx="635">3.2999999999999998</cx:pt>
          <cx:pt idx="636">3.8999999999999999</cx:pt>
          <cx:pt idx="637">3.7000000000000002</cx:pt>
          <cx:pt idx="638">3.7000000000000002</cx:pt>
          <cx:pt idx="639">3.7999999999999998</cx:pt>
          <cx:pt idx="640">3.3999999999999999</cx:pt>
          <cx:pt idx="641">3.7999999999999998</cx:pt>
          <cx:pt idx="642">3.2999999999999998</cx:pt>
          <cx:pt idx="643">3.7999999999999998</cx:pt>
          <cx:pt idx="644">3.6000000000000001</cx:pt>
          <cx:pt idx="645">3.6000000000000001</cx:pt>
          <cx:pt idx="646">3.5</cx:pt>
          <cx:pt idx="647">3</cx:pt>
          <cx:pt idx="648">3.5</cx:pt>
          <cx:pt idx="649">3.5</cx:pt>
          <cx:pt idx="650">2.8999999999999999</cx:pt>
          <cx:pt idx="651">3.2999999999999998</cx:pt>
          <cx:pt idx="652">3.6000000000000001</cx:pt>
          <cx:pt idx="653">3.7000000000000002</cx:pt>
          <cx:pt idx="654">3.2000000000000002</cx:pt>
          <cx:pt idx="655">3.2999999999999998</cx:pt>
          <cx:pt idx="656">3.6000000000000001</cx:pt>
          <cx:pt idx="657">3.3999999999999999</cx:pt>
          <cx:pt idx="658">3.5</cx:pt>
          <cx:pt idx="659">3.3999999999999999</cx:pt>
          <cx:pt idx="660">3.3999999999999999</cx:pt>
          <cx:pt idx="661">2.7999999999999998</cx:pt>
          <cx:pt idx="662">3.2000000000000002</cx:pt>
          <cx:pt idx="663">3.2999999999999998</cx:pt>
          <cx:pt idx="664">3.6000000000000001</cx:pt>
          <cx:pt idx="665">3.3999999999999999</cx:pt>
          <cx:pt idx="666">3.5</cx:pt>
          <cx:pt idx="667">3.2000000000000002</cx:pt>
          <cx:pt idx="668">3.2000000000000002</cx:pt>
          <cx:pt idx="669">3.3999999999999999</cx:pt>
          <cx:pt idx="670">3.5</cx:pt>
          <cx:pt idx="671">3.2999999999999998</cx:pt>
          <cx:pt idx="672">3.2999999999999998</cx:pt>
          <cx:pt idx="673">2.8999999999999999</cx:pt>
          <cx:pt idx="674">3.3999999999999999</cx:pt>
          <cx:pt idx="675">3.2999999999999998</cx:pt>
          <cx:pt idx="676">3</cx:pt>
          <cx:pt idx="677">2.8999999999999999</cx:pt>
          <cx:pt idx="678">3.2000000000000002</cx:pt>
          <cx:pt idx="679">3.2000000000000002</cx:pt>
          <cx:pt idx="680">3.2000000000000002</cx:pt>
          <cx:pt idx="681">4.7999999999999998</cx:pt>
          <cx:pt idx="682">4.7000000000000002</cx:pt>
          <cx:pt idx="683">4.7000000000000002</cx:pt>
          <cx:pt idx="684">4.5999999999999996</cx:pt>
          <cx:pt idx="685">4.5999999999999996</cx:pt>
          <cx:pt idx="686">4.5999999999999996</cx:pt>
          <cx:pt idx="687">4.5999999999999996</cx:pt>
          <cx:pt idx="688">4.5999999999999996</cx:pt>
          <cx:pt idx="689">4.5</cx:pt>
          <cx:pt idx="690">4.5</cx:pt>
          <cx:pt idx="691">4.5</cx:pt>
          <cx:pt idx="692">4.5</cx:pt>
          <cx:pt idx="693">4.5</cx:pt>
          <cx:pt idx="694">4.5</cx:pt>
          <cx:pt idx="695">4.5</cx:pt>
          <cx:pt idx="696">4.5</cx:pt>
          <cx:pt idx="697">4.5</cx:pt>
          <cx:pt idx="698">4.5</cx:pt>
          <cx:pt idx="699">4.5</cx:pt>
          <cx:pt idx="700">4.4000000000000004</cx:pt>
          <cx:pt idx="701">4.4000000000000004</cx:pt>
          <cx:pt idx="702">4.4000000000000004</cx:pt>
          <cx:pt idx="703">4.4000000000000004</cx:pt>
          <cx:pt idx="704">4.4000000000000004</cx:pt>
          <cx:pt idx="705">4.4000000000000004</cx:pt>
          <cx:pt idx="706">4.4000000000000004</cx:pt>
          <cx:pt idx="707">4.4000000000000004</cx:pt>
          <cx:pt idx="708">4.4000000000000004</cx:pt>
          <cx:pt idx="709">4.4000000000000004</cx:pt>
          <cx:pt idx="710">4.4000000000000004</cx:pt>
          <cx:pt idx="711">4.4000000000000004</cx:pt>
          <cx:pt idx="712">4.4000000000000004</cx:pt>
          <cx:pt idx="713">4.4000000000000004</cx:pt>
          <cx:pt idx="714">2.1000000000000001</cx:pt>
          <cx:pt idx="715">2.1000000000000001</cx:pt>
          <cx:pt idx="716">2.2999999999999998</cx:pt>
          <cx:pt idx="717">2.2999999999999998</cx:pt>
          <cx:pt idx="718">2.2999999999999998</cx:pt>
          <cx:pt idx="719">2.2999999999999998</cx:pt>
          <cx:pt idx="720">2.2999999999999998</cx:pt>
          <cx:pt idx="721">2.3999999999999999</cx:pt>
          <cx:pt idx="722">2.3999999999999999</cx:pt>
          <cx:pt idx="723">2.3999999999999999</cx:pt>
          <cx:pt idx="724">2.3999999999999999</cx:pt>
          <cx:pt idx="725">2.3999999999999999</cx:pt>
          <cx:pt idx="726">2.3999999999999999</cx:pt>
          <cx:pt idx="727">2.3999999999999999</cx:pt>
          <cx:pt idx="728">2.5</cx:pt>
          <cx:pt idx="729">2.5</cx:pt>
          <cx:pt idx="730">2.5</cx:pt>
          <cx:pt idx="731">2.5</cx:pt>
          <cx:pt idx="732">2.5</cx:pt>
          <cx:pt idx="733">2.5</cx:pt>
          <cx:pt idx="734">2.5</cx:pt>
          <cx:pt idx="735">2.5</cx:pt>
          <cx:pt idx="736">2.5</cx:pt>
          <cx:pt idx="737">2.5</cx:pt>
          <cx:pt idx="738">2.5</cx:pt>
          <cx:pt idx="739">2.5</cx:pt>
          <cx:pt idx="740">2.5</cx:pt>
          <cx:pt idx="741">2.6000000000000001</cx:pt>
          <cx:pt idx="742">2.6000000000000001</cx:pt>
          <cx:pt idx="743">2.6000000000000001</cx:pt>
          <cx:pt idx="744">2.6000000000000001</cx:pt>
          <cx:pt idx="745">2.6000000000000001</cx:pt>
          <cx:pt idx="746">2.6000000000000001</cx:pt>
          <cx:pt idx="747">2.6000000000000001</cx:pt>
          <cx:pt idx="748">2.6000000000000001</cx:pt>
          <cx:pt idx="749">2.6000000000000001</cx:pt>
          <cx:pt idx="750">2.6000000000000001</cx:pt>
          <cx:pt idx="751">2.6000000000000001</cx:pt>
          <cx:pt idx="752">2.6000000000000001</cx:pt>
          <cx:pt idx="753">2.6000000000000001</cx:pt>
          <cx:pt idx="754">2.6000000000000001</cx:pt>
          <cx:pt idx="755">2.6000000000000001</cx:pt>
          <cx:pt idx="756">2.6000000000000001</cx:pt>
          <cx:pt idx="757">2.6000000000000001</cx:pt>
          <cx:pt idx="758">2.6000000000000001</cx:pt>
          <cx:pt idx="759">2.6000000000000001</cx:pt>
          <cx:pt idx="760">2.6000000000000001</cx:pt>
          <cx:pt idx="761">2.6000000000000001</cx:pt>
          <cx:pt idx="762">2.6000000000000001</cx:pt>
          <cx:pt idx="763">2.6000000000000001</cx:pt>
          <cx:pt idx="764">2.6000000000000001</cx:pt>
          <cx:pt idx="765">2.6000000000000001</cx:pt>
          <cx:pt idx="766">2.6000000000000001</cx:pt>
          <cx:pt idx="767">2.6000000000000001</cx:pt>
          <cx:pt idx="768">2.6000000000000001</cx:pt>
          <cx:pt idx="769">2.6000000000000001</cx:pt>
          <cx:pt idx="770">2.6000000000000001</cx:pt>
          <cx:pt idx="771">2.7000000000000002</cx:pt>
          <cx:pt idx="772">2.7000000000000002</cx:pt>
          <cx:pt idx="773">2.7000000000000002</cx:pt>
          <cx:pt idx="774">2.7000000000000002</cx:pt>
          <cx:pt idx="775">2.7000000000000002</cx:pt>
          <cx:pt idx="776">2.7000000000000002</cx:pt>
          <cx:pt idx="777">2.7000000000000002</cx:pt>
          <cx:pt idx="778">2.7000000000000002</cx:pt>
          <cx:pt idx="779">2.7000000000000002</cx:pt>
          <cx:pt idx="780">2.7000000000000002</cx:pt>
          <cx:pt idx="781">3.8999999999999999</cx:pt>
          <cx:pt idx="782">4</cx:pt>
          <cx:pt idx="783">3.7000000000000002</cx:pt>
          <cx:pt idx="784">4.2999999999999998</cx:pt>
          <cx:pt idx="785">3.5</cx:pt>
          <cx:pt idx="786">3.7000000000000002</cx:pt>
          <cx:pt idx="787">4.0999999999999996</cx:pt>
          <cx:pt idx="788">4.0999999999999996</cx:pt>
          <cx:pt idx="789">4.0999999999999996</cx:pt>
          <cx:pt idx="790">4.2000000000000002</cx:pt>
          <cx:pt idx="791">3.8999999999999999</cx:pt>
          <cx:pt idx="792">3.6000000000000001</cx:pt>
          <cx:pt idx="793">4</cx:pt>
          <cx:pt idx="794">3.7999999999999998</cx:pt>
          <cx:pt idx="795">4.0999999999999996</cx:pt>
          <cx:pt idx="796">4.2999999999999998</cx:pt>
          <cx:pt idx="797">4.0999999999999996</cx:pt>
          <cx:pt idx="798">3.7000000000000002</cx:pt>
          <cx:pt idx="799">4.2000000000000002</cx:pt>
          <cx:pt idx="800">4.0999999999999996</cx:pt>
          <cx:pt idx="801">4.2000000000000002</cx:pt>
          <cx:pt idx="802">4.2999999999999998</cx:pt>
          <cx:pt idx="803">3.8999999999999999</cx:pt>
          <cx:pt idx="804">4.0999999999999996</cx:pt>
          <cx:pt idx="805">4</cx:pt>
          <cx:pt idx="806">4</cx:pt>
          <cx:pt idx="807">4.0999999999999996</cx:pt>
          <cx:pt idx="808">3.7999999999999998</cx:pt>
          <cx:pt idx="809">3.8999999999999999</cx:pt>
          <cx:pt idx="810">3.8999999999999999</cx:pt>
          <cx:pt idx="811">3.8999999999999999</cx:pt>
          <cx:pt idx="812">3.7999999999999998</cx:pt>
          <cx:pt idx="813">4.0999999999999996</cx:pt>
          <cx:pt idx="814">4.0999999999999996</cx:pt>
          <cx:pt idx="815">3.7999999999999998</cx:pt>
          <cx:pt idx="816">3.7000000000000002</cx:pt>
          <cx:pt idx="817">3.8999999999999999</cx:pt>
          <cx:pt idx="818">3.8999999999999999</cx:pt>
          <cx:pt idx="819">3.7000000000000002</cx:pt>
          <cx:pt idx="820">3.3999999999999999</cx:pt>
          <cx:pt idx="821">3.8999999999999999</cx:pt>
          <cx:pt idx="822">4</cx:pt>
          <cx:pt idx="823">3.8999999999999999</cx:pt>
          <cx:pt idx="824">3.8999999999999999</cx:pt>
          <cx:pt idx="825">3.7999999999999998</cx:pt>
          <cx:pt idx="826">3.7999999999999998</cx:pt>
          <cx:pt idx="827">4.2999999999999998</cx:pt>
          <cx:pt idx="828">2.8999999999999999</cx:pt>
          <cx:pt idx="829">3.6000000000000001</cx:pt>
          <cx:pt idx="830">4.0999999999999996</cx:pt>
          <cx:pt idx="831">3.8999999999999999</cx:pt>
          <cx:pt idx="832">4</cx:pt>
          <cx:pt idx="833">3.8999999999999999</cx:pt>
          <cx:pt idx="834">4</cx:pt>
          <cx:pt idx="835">4.2000000000000002</cx:pt>
          <cx:pt idx="836">3.7000000000000002</cx:pt>
          <cx:pt idx="837">4.2000000000000002</cx:pt>
          <cx:pt idx="838">3.7000000000000002</cx:pt>
          <cx:pt idx="839">4</cx:pt>
          <cx:pt idx="840">3.7000000000000002</cx:pt>
          <cx:pt idx="841">4.2000000000000002</cx:pt>
          <cx:pt idx="842">3.5</cx:pt>
          <cx:pt idx="843">3.3999999999999999</cx:pt>
          <cx:pt idx="844">4.0999999999999996</cx:pt>
          <cx:pt idx="845">4</cx:pt>
          <cx:pt idx="846">4</cx:pt>
          <cx:pt idx="847">3.3999999999999999</cx:pt>
          <cx:pt idx="848">3.8999999999999999</cx:pt>
          <cx:pt idx="849">3.7999999999999998</cx:pt>
          <cx:pt idx="850">4.0999999999999996</cx:pt>
          <cx:pt idx="851">4.2999999999999998</cx:pt>
          <cx:pt idx="852">4.2999999999999998</cx:pt>
          <cx:pt idx="853">4.2999999999999998</cx:pt>
          <cx:pt idx="854">4</cx:pt>
          <cx:pt idx="855">4.2000000000000002</cx:pt>
          <cx:pt idx="856">4.2000000000000002</cx:pt>
          <cx:pt idx="857">4</cx:pt>
          <cx:pt idx="858">4.2999999999999998</cx:pt>
          <cx:pt idx="859">4.2999999999999998</cx:pt>
          <cx:pt idx="860">3.5</cx:pt>
          <cx:pt idx="861">4.0999999999999996</cx:pt>
          <cx:pt idx="862">4.0999999999999996</cx:pt>
          <cx:pt idx="863">4.0999999999999996</cx:pt>
          <cx:pt idx="864">4.2999999999999998</cx:pt>
          <cx:pt idx="865">3.7999999999999998</cx:pt>
          <cx:pt idx="866">4</cx:pt>
          <cx:pt idx="867">4</cx:pt>
          <cx:pt idx="868">4</cx:pt>
          <cx:pt idx="869">4.2000000000000002</cx:pt>
          <cx:pt idx="870">4</cx:pt>
          <cx:pt idx="871">4.0999999999999996</cx:pt>
          <cx:pt idx="872">4.2999999999999998</cx:pt>
          <cx:pt idx="873">4.2000000000000002</cx:pt>
          <cx:pt idx="874">3.6000000000000001</cx:pt>
          <cx:pt idx="875">4</cx:pt>
          <cx:pt idx="876">4.0999999999999996</cx:pt>
          <cx:pt idx="877">3.8999999999999999</cx:pt>
          <cx:pt idx="878">4.2000000000000002</cx:pt>
          <cx:pt idx="879">3.8999999999999999</cx:pt>
          <cx:pt idx="880">4</cx:pt>
          <cx:pt idx="881">3.8999999999999999</cx:pt>
          <cx:pt idx="882">3.7000000000000002</cx:pt>
          <cx:pt idx="883">4</cx:pt>
          <cx:pt idx="884">4</cx:pt>
          <cx:pt idx="885">3.8999999999999999</cx:pt>
          <cx:pt idx="886">3.7999999999999998</cx:pt>
          <cx:pt idx="887">3.8999999999999999</cx:pt>
          <cx:pt idx="888">3.7000000000000002</cx:pt>
          <cx:pt idx="889">3.7999999999999998</cx:pt>
          <cx:pt idx="890">3.6000000000000001</cx:pt>
          <cx:pt idx="891">3</cx:pt>
          <cx:pt idx="892">4</cx:pt>
          <cx:pt idx="893">3.7999999999999998</cx:pt>
          <cx:pt idx="894">3.8999999999999999</cx:pt>
          <cx:pt idx="895">3.6000000000000001</cx:pt>
          <cx:pt idx="896">3.7999999999999998</cx:pt>
          <cx:pt idx="897">3.8999999999999999</cx:pt>
          <cx:pt idx="898">3.6000000000000001</cx:pt>
          <cx:pt idx="899">3.7999999999999998</cx:pt>
          <cx:pt idx="900">3.8999999999999999</cx:pt>
          <cx:pt idx="901">3.7999999999999998</cx:pt>
          <cx:pt idx="902">3.7000000000000002</cx:pt>
          <cx:pt idx="903">4</cx:pt>
          <cx:pt idx="904">3.2000000000000002</cx:pt>
          <cx:pt idx="905">4.0999999999999996</cx:pt>
          <cx:pt idx="906">3.7000000000000002</cx:pt>
          <cx:pt idx="907">3.6000000000000001</cx:pt>
          <cx:pt idx="908">3.7999999999999998</cx:pt>
          <cx:pt idx="909">4</cx:pt>
          <cx:pt idx="910">4</cx:pt>
          <cx:pt idx="911">3.8999999999999999</cx:pt>
          <cx:pt idx="912">3.6000000000000001</cx:pt>
          <cx:pt idx="913">3</cx:pt>
          <cx:pt idx="914">3.7999999999999998</cx:pt>
          <cx:pt idx="915">3.7000000000000002</cx:pt>
          <cx:pt idx="916">3.8999999999999999</cx:pt>
          <cx:pt idx="917">3.7999999999999998</cx:pt>
          <cx:pt idx="918">3.2999999999999998</cx:pt>
          <cx:pt idx="919">3.7000000000000002</cx:pt>
          <cx:pt idx="920">3.8999999999999999</cx:pt>
          <cx:pt idx="921">3.6000000000000001</cx:pt>
          <cx:pt idx="922">3.7000000000000002</cx:pt>
          <cx:pt idx="923">3.8999999999999999</cx:pt>
          <cx:pt idx="924">4</cx:pt>
          <cx:pt idx="925">3.7000000000000002</cx:pt>
          <cx:pt idx="926">3.7999999999999998</cx:pt>
          <cx:pt idx="927">4.0999999999999996</cx:pt>
          <cx:pt idx="928">3.7000000000000002</cx:pt>
          <cx:pt idx="929">3.7000000000000002</cx:pt>
          <cx:pt idx="930">3.6000000000000001</cx:pt>
          <cx:pt idx="931">3.5</cx:pt>
          <cx:pt idx="932">3.7999999999999998</cx:pt>
          <cx:pt idx="933">3.5</cx:pt>
          <cx:pt idx="934">3.2000000000000002</cx:pt>
          <cx:pt idx="935">3.2000000000000002</cx:pt>
          <cx:pt idx="936">2.7999999999999998</cx:pt>
          <cx:pt idx="937">2.8999999999999999</cx:pt>
          <cx:pt idx="938">3.1000000000000001</cx:pt>
          <cx:pt idx="939">0</cx:pt>
          <cx:pt idx="940">0</cx:pt>
          <cx:pt idx="941">0</cx:pt>
          <cx:pt idx="942">0</cx:pt>
          <cx:pt idx="943">0</cx:pt>
          <cx:pt idx="944">0</cx:pt>
          <cx:pt idx="945">0</cx:pt>
          <cx:pt idx="946">0</cx:pt>
          <cx:pt idx="947">3.8999999999999999</cx:pt>
          <cx:pt idx="948">4.2000000000000002</cx:pt>
          <cx:pt idx="949">3.7999999999999998</cx:pt>
          <cx:pt idx="950">4.2000000000000002</cx:pt>
          <cx:pt idx="951">4.0999999999999996</cx:pt>
          <cx:pt idx="952">4.0999999999999996</cx:pt>
          <cx:pt idx="953">3.8999999999999999</cx:pt>
          <cx:pt idx="954">3.8999999999999999</cx:pt>
          <cx:pt idx="955">3.7000000000000002</cx:pt>
          <cx:pt idx="956">3.7000000000000002</cx:pt>
          <cx:pt idx="957">3.6000000000000001</cx:pt>
          <cx:pt idx="958">3.6000000000000001</cx:pt>
          <cx:pt idx="959">3.2999999999999998</cx:pt>
          <cx:pt idx="960">4</cx:pt>
          <cx:pt idx="961">4.0999999999999996</cx:pt>
          <cx:pt idx="962">4.0999999999999996</cx:pt>
          <cx:pt idx="963">4.0999999999999996</cx:pt>
          <cx:pt idx="964">3.7000000000000002</cx:pt>
          <cx:pt idx="965">4.2000000000000002</cx:pt>
          <cx:pt idx="966">3.7000000000000002</cx:pt>
          <cx:pt idx="967">4.2999999999999998</cx:pt>
          <cx:pt idx="968">4.0999999999999996</cx:pt>
          <cx:pt idx="969">4</cx:pt>
          <cx:pt idx="970">4.0999999999999996</cx:pt>
          <cx:pt idx="971">4.2000000000000002</cx:pt>
          <cx:pt idx="972">4.0999999999999996</cx:pt>
          <cx:pt idx="973">4</cx:pt>
          <cx:pt idx="974">4.2000000000000002</cx:pt>
          <cx:pt idx="975">3.7999999999999998</cx:pt>
          <cx:pt idx="976">3.8999999999999999</cx:pt>
          <cx:pt idx="977">3.6000000000000001</cx:pt>
          <cx:pt idx="978">4.2999999999999998</cx:pt>
          <cx:pt idx="979">4.0999999999999996</cx:pt>
          <cx:pt idx="980">3.7999999999999998</cx:pt>
          <cx:pt idx="981">4.0999999999999996</cx:pt>
          <cx:pt idx="982">3.8999999999999999</cx:pt>
          <cx:pt idx="983">4.0999999999999996</cx:pt>
          <cx:pt idx="984">4</cx:pt>
          <cx:pt idx="985">3.5</cx:pt>
          <cx:pt idx="986">4.2000000000000002</cx:pt>
          <cx:pt idx="987">4.2000000000000002</cx:pt>
          <cx:pt idx="988">4.2000000000000002</cx:pt>
          <cx:pt idx="989">3.7000000000000002</cx:pt>
          <cx:pt idx="990">3.8999999999999999</cx:pt>
          <cx:pt idx="991">3.7000000000000002</cx:pt>
          <cx:pt idx="992">4.2999999999999998</cx:pt>
          <cx:pt idx="993">3.8999999999999999</cx:pt>
          <cx:pt idx="994">3.8999999999999999</cx:pt>
          <cx:pt idx="995">4.2000000000000002</cx:pt>
          <cx:pt idx="996">4</cx:pt>
          <cx:pt idx="997">3.7000000000000002</cx:pt>
          <cx:pt idx="998">4.0999999999999996</cx:pt>
          <cx:pt idx="999">3.7000000000000002</cx:pt>
          <cx:pt idx="1000">3.3999999999999999</cx:pt>
          <cx:pt idx="1001">3.6000000000000001</cx:pt>
          <cx:pt idx="1002">3.7999999999999998</cx:pt>
          <cx:pt idx="1003">3.8999999999999999</cx:pt>
          <cx:pt idx="1004">3.7999999999999998</cx:pt>
          <cx:pt idx="1005">3.5</cx:pt>
          <cx:pt idx="1006">3.8999999999999999</cx:pt>
          <cx:pt idx="1007">3.6000000000000001</cx:pt>
          <cx:pt idx="1008">4</cx:pt>
          <cx:pt idx="1009">3.5</cx:pt>
          <cx:pt idx="1010">3.6000000000000001</cx:pt>
          <cx:pt idx="1011">4</cx:pt>
          <cx:pt idx="1012">4</cx:pt>
          <cx:pt idx="1013">3.7999999999999998</cx:pt>
          <cx:pt idx="1014">3</cx:pt>
          <cx:pt idx="1015">3.7000000000000002</cx:pt>
          <cx:pt idx="1016">4.2000000000000002</cx:pt>
          <cx:pt idx="1017">4.2999999999999998</cx:pt>
          <cx:pt idx="1018">3.7000000000000002</cx:pt>
          <cx:pt idx="1019">4.0999999999999996</cx:pt>
          <cx:pt idx="1020">4.2000000000000002</cx:pt>
          <cx:pt idx="1021">4</cx:pt>
          <cx:pt idx="1022">4.2000000000000002</cx:pt>
          <cx:pt idx="1023">3.7999999999999998</cx:pt>
          <cx:pt idx="1024">3.8999999999999999</cx:pt>
          <cx:pt idx="1025">4.0999999999999996</cx:pt>
          <cx:pt idx="1026">4.2000000000000002</cx:pt>
          <cx:pt idx="1027">3.7000000000000002</cx:pt>
          <cx:pt idx="1028">3.7000000000000002</cx:pt>
          <cx:pt idx="1029">3.6000000000000001</cx:pt>
          <cx:pt idx="1030">3.8999999999999999</cx:pt>
          <cx:pt idx="1031">3.2999999999999998</cx:pt>
          <cx:pt idx="1032">3.7000000000000002</cx:pt>
          <cx:pt idx="1033">4</cx:pt>
          <cx:pt idx="1034">4.0999999999999996</cx:pt>
          <cx:pt idx="1035">3.7999999999999998</cx:pt>
          <cx:pt idx="1036">4</cx:pt>
          <cx:pt idx="1037">3.7999999999999998</cx:pt>
          <cx:pt idx="1038">3.6000000000000001</cx:pt>
          <cx:pt idx="1039">3.6000000000000001</cx:pt>
          <cx:pt idx="1040">3.7999999999999998</cx:pt>
          <cx:pt idx="1041">3.2000000000000002</cx:pt>
          <cx:pt idx="1042">3.6000000000000001</cx:pt>
          <cx:pt idx="1043">3.8999999999999999</cx:pt>
          <cx:pt idx="1044">3.6000000000000001</cx:pt>
          <cx:pt idx="1045">3.5</cx:pt>
          <cx:pt idx="1046">3.6000000000000001</cx:pt>
          <cx:pt idx="1047">3.7999999999999998</cx:pt>
          <cx:pt idx="1048">3.3999999999999999</cx:pt>
          <cx:pt idx="1049">3.5</cx:pt>
          <cx:pt idx="1050">3.7999999999999998</cx:pt>
          <cx:pt idx="1051">3.5</cx:pt>
          <cx:pt idx="1052">3.5</cx:pt>
          <cx:pt idx="1053">3.6000000000000001</cx:pt>
          <cx:pt idx="1054">3.5</cx:pt>
          <cx:pt idx="1055">3.5</cx:pt>
          <cx:pt idx="1056">3.2999999999999998</cx:pt>
          <cx:pt idx="1057">3.5</cx:pt>
          <cx:pt idx="1058">3.2999999999999998</cx:pt>
          <cx:pt idx="1059">3.6000000000000001</cx:pt>
          <cx:pt idx="1060">3.1000000000000001</cx:pt>
          <cx:pt idx="1061">2.7999999999999998</cx:pt>
          <cx:pt idx="1062">3.7999999999999998</cx:pt>
          <cx:pt idx="1063">2.8999999999999999</cx:pt>
          <cx:pt idx="1064">3</cx:pt>
          <cx:pt idx="1065">3.5</cx:pt>
          <cx:pt idx="1066">3.2999999999999998</cx:pt>
          <cx:pt idx="1067">3.7000000000000002</cx:pt>
          <cx:pt idx="1068">3.5</cx:pt>
          <cx:pt idx="1069">3</cx:pt>
          <cx:pt idx="1070">3</cx:pt>
          <cx:pt idx="1071">3.6000000000000001</cx:pt>
          <cx:pt idx="1072">3.6000000000000001</cx:pt>
          <cx:pt idx="1073">3.3999999999999999</cx:pt>
          <cx:pt idx="1074">3.3999999999999999</cx:pt>
          <cx:pt idx="1075">3.5</cx:pt>
          <cx:pt idx="1076">3.2999999999999998</cx:pt>
          <cx:pt idx="1077">2.8999999999999999</cx:pt>
          <cx:pt idx="1078">3.2999999999999998</cx:pt>
          <cx:pt idx="1079">3.2999999999999998</cx:pt>
          <cx:pt idx="1080">3.2999999999999998</cx:pt>
          <cx:pt idx="1081">2.7999999999999998</cx:pt>
          <cx:pt idx="1082">3.2999999999999998</cx:pt>
          <cx:pt idx="1083">3.2000000000000002</cx:pt>
          <cx:pt idx="1084">3.3999999999999999</cx:pt>
          <cx:pt idx="1085">3.2000000000000002</cx:pt>
          <cx:pt idx="1086">3.3999999999999999</cx:pt>
          <cx:pt idx="1087">3.3999999999999999</cx:pt>
          <cx:pt idx="1088">3.5</cx:pt>
          <cx:pt idx="1089">0</cx:pt>
          <cx:pt idx="1090">0</cx:pt>
          <cx:pt idx="1091">3.2000000000000002</cx:pt>
          <cx:pt idx="1092">3.8999999999999999</cx:pt>
          <cx:pt idx="1093">3.7000000000000002</cx:pt>
          <cx:pt idx="1094">3.3999999999999999</cx:pt>
          <cx:pt idx="1095">3.3999999999999999</cx:pt>
          <cx:pt idx="1096">3.5</cx:pt>
          <cx:pt idx="1097">3.3999999999999999</cx:pt>
          <cx:pt idx="1098">3.7000000000000002</cx:pt>
          <cx:pt idx="1099">3.5</cx:pt>
          <cx:pt idx="1100">3.2999999999999998</cx:pt>
          <cx:pt idx="1101">3.2999999999999998</cx:pt>
          <cx:pt idx="1102">3</cx:pt>
          <cx:pt idx="1103">2.7999999999999998</cx:pt>
          <cx:pt idx="1104">2.8999999999999999</cx:pt>
          <cx:pt idx="1105">3.1000000000000001</cx:pt>
          <cx:pt idx="1106">0</cx:pt>
          <cx:pt idx="1107">0</cx:pt>
          <cx:pt idx="1108">0</cx:pt>
          <cx:pt idx="1109">0</cx:pt>
          <cx:pt idx="1110">0</cx:pt>
          <cx:pt idx="1111">0</cx:pt>
          <cx:pt idx="1112">0</cx:pt>
          <cx:pt idx="1113">0</cx:pt>
          <cx:pt idx="1114">0</cx:pt>
          <cx:pt idx="1115">0</cx:pt>
          <cx:pt idx="1116">0</cx:pt>
          <cx:pt idx="1117">0</cx:pt>
          <cx:pt idx="1118">0</cx:pt>
          <cx:pt idx="1119">0</cx:pt>
          <cx:pt idx="1120">0</cx:pt>
          <cx:pt idx="1121">0</cx:pt>
          <cx:pt idx="1122">0</cx:pt>
          <cx:pt idx="1123">0</cx:pt>
          <cx:pt idx="1124">0</cx:pt>
          <cx:pt idx="1125">0</cx:pt>
          <cx:pt idx="1126">0</cx:pt>
          <cx:pt idx="1127">0</cx:pt>
          <cx:pt idx="1128">0</cx:pt>
          <cx:pt idx="1129">0</cx:pt>
          <cx:pt idx="1130">0</cx:pt>
          <cx:pt idx="1131">0</cx:pt>
          <cx:pt idx="1132">0</cx:pt>
          <cx:pt idx="1133">0</cx:pt>
          <cx:pt idx="1134">0</cx:pt>
          <cx:pt idx="1135">0</cx:pt>
          <cx:pt idx="1136">0</cx:pt>
          <cx:pt idx="1137">0</cx:pt>
          <cx:pt idx="1138">0</cx:pt>
          <cx:pt idx="1139">0</cx:pt>
          <cx:pt idx="1140">0</cx:pt>
          <cx:pt idx="1141">0</cx:pt>
          <cx:pt idx="1142">0</cx:pt>
          <cx:pt idx="1143">4</cx:pt>
          <cx:pt idx="1144">4.0999999999999996</cx:pt>
          <cx:pt idx="1145">4.2000000000000002</cx:pt>
          <cx:pt idx="1146">4.2999999999999998</cx:pt>
          <cx:pt idx="1147">3.6000000000000001</cx:pt>
          <cx:pt idx="1148">3.8999999999999999</cx:pt>
          <cx:pt idx="1149">4</cx:pt>
          <cx:pt idx="1150">3.8999999999999999</cx:pt>
          <cx:pt idx="1151">3.3999999999999999</cx:pt>
          <cx:pt idx="1152">3.8999999999999999</cx:pt>
          <cx:pt idx="1153">3.8999999999999999</cx:pt>
          <cx:pt idx="1154">3</cx:pt>
          <cx:pt idx="1155">3.7999999999999998</cx:pt>
          <cx:pt idx="1156">3.7999999999999998</cx:pt>
          <cx:pt idx="1157">3.8999999999999999</cx:pt>
          <cx:pt idx="1158">4.2999999999999998</cx:pt>
          <cx:pt idx="1159">3.7999999999999998</cx:pt>
          <cx:pt idx="1160">3.7000000000000002</cx:pt>
          <cx:pt idx="1161">3.7000000000000002</cx:pt>
          <cx:pt idx="1162">4.2999999999999998</cx:pt>
          <cx:pt idx="1163">3.8999999999999999</cx:pt>
          <cx:pt idx="1164">3.1000000000000001</cx:pt>
          <cx:pt idx="1165">3.8999999999999999</cx:pt>
          <cx:pt idx="1166">3.3999999999999999</cx:pt>
          <cx:pt idx="1167">3.7000000000000002</cx:pt>
          <cx:pt idx="1168">3.7999999999999998</cx:pt>
          <cx:pt idx="1169">3.3999999999999999</cx:pt>
          <cx:pt idx="1170">3.7000000000000002</cx:pt>
          <cx:pt idx="1171">3.7000000000000002</cx:pt>
          <cx:pt idx="1172">3.6000000000000001</cx:pt>
          <cx:pt idx="1173">3.5</cx:pt>
          <cx:pt idx="1174">3.5</cx:pt>
          <cx:pt idx="1175">3.8999999999999999</cx:pt>
          <cx:pt idx="1176">3.3999999999999999</cx:pt>
          <cx:pt idx="1177">3.7999999999999998</cx:pt>
          <cx:pt idx="1178">3.3999999999999999</cx:pt>
          <cx:pt idx="1179">3.7000000000000002</cx:pt>
          <cx:pt idx="1180">3.7000000000000002</cx:pt>
          <cx:pt idx="1181">3.6000000000000001</cx:pt>
          <cx:pt idx="1182">2.7000000000000002</cx:pt>
          <cx:pt idx="1183">3.5</cx:pt>
          <cx:pt idx="1184">3.2999999999999998</cx:pt>
          <cx:pt idx="1185">3.1000000000000001</cx:pt>
          <cx:pt idx="1186">3.2999999999999998</cx:pt>
          <cx:pt idx="1187">3.2999999999999998</cx:pt>
          <cx:pt idx="1188">3.5</cx:pt>
          <cx:pt idx="1189">3.5</cx:pt>
          <cx:pt idx="1190">3.3999999999999999</cx:pt>
          <cx:pt idx="1191">3.2000000000000002</cx:pt>
          <cx:pt idx="1192">3.2999999999999998</cx:pt>
          <cx:pt idx="1193">0</cx:pt>
          <cx:pt idx="1194">3.2999999999999998</cx:pt>
          <cx:pt idx="1195">3.3999999999999999</cx:pt>
          <cx:pt idx="1196">3.2999999999999998</cx:pt>
          <cx:pt idx="1197">3</cx:pt>
          <cx:pt idx="1198">3.2000000000000002</cx:pt>
          <cx:pt idx="1199">3.2000000000000002</cx:pt>
          <cx:pt idx="1200">3.1000000000000001</cx:pt>
          <cx:pt idx="1201">3.1000000000000001</cx:pt>
          <cx:pt idx="1202">3</cx:pt>
          <cx:pt idx="1203">3.2999999999999998</cx:pt>
          <cx:pt idx="1204">0</cx:pt>
          <cx:pt idx="1205">3.1000000000000001</cx:pt>
          <cx:pt idx="1206">0</cx:pt>
          <cx:pt idx="1207">2.8999999999999999</cx:pt>
          <cx:pt idx="1208">3.1000000000000001</cx:pt>
          <cx:pt idx="1209">3</cx:pt>
          <cx:pt idx="1210">3.1000000000000001</cx:pt>
          <cx:pt idx="1211">0</cx:pt>
          <cx:pt idx="1212">3.1000000000000001</cx:pt>
          <cx:pt idx="1213">3.1000000000000001</cx:pt>
          <cx:pt idx="1214">0</cx:pt>
          <cx:pt idx="1215">0</cx:pt>
          <cx:pt idx="1216">3</cx:pt>
          <cx:pt idx="1217">0</cx:pt>
          <cx:pt idx="1218">0</cx:pt>
          <cx:pt idx="1219">0</cx:pt>
          <cx:pt idx="1220">0</cx:pt>
          <cx:pt idx="1221">0</cx:pt>
          <cx:pt idx="1222">0</cx:pt>
          <cx:pt idx="1223">0</cx:pt>
          <cx:pt idx="1224">0</cx:pt>
          <cx:pt idx="1225">0</cx:pt>
          <cx:pt idx="1226">3.6000000000000001</cx:pt>
          <cx:pt idx="1227">3.2000000000000002</cx:pt>
          <cx:pt idx="1228">3.3999999999999999</cx:pt>
          <cx:pt idx="1229">3.5</cx:pt>
          <cx:pt idx="1230">3.2000000000000002</cx:pt>
          <cx:pt idx="1231">2.8999999999999999</cx:pt>
          <cx:pt idx="1232">0</cx:pt>
          <cx:pt idx="1233">0</cx:pt>
          <cx:pt idx="1234">0</cx:pt>
          <cx:pt idx="1235">0</cx:pt>
          <cx:pt idx="1236">0</cx:pt>
          <cx:pt idx="1237">0</cx:pt>
          <cx:pt idx="1238">0</cx:pt>
          <cx:pt idx="1239">0</cx:pt>
          <cx:pt idx="1240">0</cx:pt>
          <cx:pt idx="1241">0</cx:pt>
          <cx:pt idx="1242">0</cx:pt>
          <cx:pt idx="1243">0</cx:pt>
          <cx:pt idx="1244">3.5</cx:pt>
          <cx:pt idx="1245">3.7999999999999998</cx:pt>
          <cx:pt idx="1246">4.0999999999999996</cx:pt>
          <cx:pt idx="1247">3.7000000000000002</cx:pt>
          <cx:pt idx="1248">3.6000000000000001</cx:pt>
          <cx:pt idx="1249">4</cx:pt>
          <cx:pt idx="1250">3.3999999999999999</cx:pt>
          <cx:pt idx="1251">3.7000000000000002</cx:pt>
          <cx:pt idx="1252">3.7000000000000002</cx:pt>
          <cx:pt idx="1253">3.8999999999999999</cx:pt>
          <cx:pt idx="1254">3.3999999999999999</cx:pt>
          <cx:pt idx="1255">2.8999999999999999</cx:pt>
          <cx:pt idx="1256">3.5</cx:pt>
          <cx:pt idx="1257">3.6000000000000001</cx:pt>
          <cx:pt idx="1258">3.7000000000000002</cx:pt>
          <cx:pt idx="1259">3.2999999999999998</cx:pt>
          <cx:pt idx="1260">3.7999999999999998</cx:pt>
          <cx:pt idx="1261">3.2999999999999998</cx:pt>
          <cx:pt idx="1262">3.3999999999999999</cx:pt>
          <cx:pt idx="1263">3.2999999999999998</cx:pt>
          <cx:pt idx="1264">3.3999999999999999</cx:pt>
          <cx:pt idx="1265">2.7000000000000002</cx:pt>
          <cx:pt idx="1266">3.2999999999999998</cx:pt>
          <cx:pt idx="1267">3.1000000000000001</cx:pt>
          <cx:pt idx="1268">3.2999999999999998</cx:pt>
          <cx:pt idx="1269">3.1000000000000001</cx:pt>
          <cx:pt idx="1270">3.2000000000000002</cx:pt>
          <cx:pt idx="1271">3.2000000000000002</cx:pt>
          <cx:pt idx="1272">3.2000000000000002</cx:pt>
          <cx:pt idx="1273">0</cx:pt>
          <cx:pt idx="1274">3.2000000000000002</cx:pt>
          <cx:pt idx="1275">3.2999999999999998</cx:pt>
          <cx:pt idx="1276">3.5</cx:pt>
          <cx:pt idx="1277">3.2000000000000002</cx:pt>
          <cx:pt idx="1278">3</cx:pt>
          <cx:pt idx="1279">3.2000000000000002</cx:pt>
          <cx:pt idx="1280">3.1000000000000001</cx:pt>
          <cx:pt idx="1281">3.2999999999999998</cx:pt>
          <cx:pt idx="1282">3</cx:pt>
          <cx:pt idx="1283">0</cx:pt>
          <cx:pt idx="1284">3</cx:pt>
          <cx:pt idx="1285">3.1000000000000001</cx:pt>
          <cx:pt idx="1286">3.1000000000000001</cx:pt>
          <cx:pt idx="1287">3.1000000000000001</cx:pt>
          <cx:pt idx="1288">2.8999999999999999</cx:pt>
          <cx:pt idx="1289">3.1000000000000001</cx:pt>
          <cx:pt idx="1290">3.2000000000000002</cx:pt>
          <cx:pt idx="1291">0</cx:pt>
          <cx:pt idx="1292">3</cx:pt>
          <cx:pt idx="1293">0</cx:pt>
          <cx:pt idx="1294">0</cx:pt>
          <cx:pt idx="1295">0</cx:pt>
          <cx:pt idx="1296">0</cx:pt>
          <cx:pt idx="1297">0</cx:pt>
          <cx:pt idx="1298">0</cx:pt>
          <cx:pt idx="1299">0</cx:pt>
          <cx:pt idx="1300">0</cx:pt>
          <cx:pt idx="1301">0</cx:pt>
          <cx:pt idx="1302">0</cx:pt>
          <cx:pt idx="1303">0</cx:pt>
          <cx:pt idx="1304">0</cx:pt>
          <cx:pt idx="1305">0</cx:pt>
          <cx:pt idx="1306">0</cx:pt>
          <cx:pt idx="1307">0</cx:pt>
          <cx:pt idx="1308">0</cx:pt>
          <cx:pt idx="1309">0</cx:pt>
          <cx:pt idx="1310">0</cx:pt>
          <cx:pt idx="1311">0</cx:pt>
          <cx:pt idx="1312">0</cx:pt>
          <cx:pt idx="1313">0</cx:pt>
          <cx:pt idx="1314">0</cx:pt>
          <cx:pt idx="1315">0</cx:pt>
          <cx:pt idx="1316">0</cx:pt>
          <cx:pt idx="1317">4.2000000000000002</cx:pt>
          <cx:pt idx="1318">4.0999999999999996</cx:pt>
          <cx:pt idx="1319">4</cx:pt>
          <cx:pt idx="1320">4</cx:pt>
          <cx:pt idx="1321">4</cx:pt>
          <cx:pt idx="1322">3.7999999999999998</cx:pt>
          <cx:pt idx="1323">3.7000000000000002</cx:pt>
          <cx:pt idx="1324">3.7000000000000002</cx:pt>
          <cx:pt idx="1325">3.2999999999999998</cx:pt>
          <cx:pt idx="1326">3.7000000000000002</cx:pt>
          <cx:pt idx="1327">3.7000000000000002</cx:pt>
          <cx:pt idx="1328">3.6000000000000001</cx:pt>
          <cx:pt idx="1329">3.7000000000000002</cx:pt>
          <cx:pt idx="1330">3.5</cx:pt>
          <cx:pt idx="1331">3.3999999999999999</cx:pt>
          <cx:pt idx="1332">3.5</cx:pt>
          <cx:pt idx="1333">2.7999999999999998</cx:pt>
          <cx:pt idx="1334">3.2000000000000002</cx:pt>
          <cx:pt idx="1335">3.1000000000000001</cx:pt>
          <cx:pt idx="1336">0</cx:pt>
          <cx:pt idx="1337">2.8999999999999999</cx:pt>
          <cx:pt idx="1338">3</cx:pt>
          <cx:pt idx="1339">2.8999999999999999</cx:pt>
          <cx:pt idx="1340">0</cx:pt>
          <cx:pt idx="1341">0</cx:pt>
          <cx:pt idx="1342">0</cx:pt>
          <cx:pt idx="1343">0</cx:pt>
          <cx:pt idx="1344">0</cx:pt>
          <cx:pt idx="1345">0</cx:pt>
          <cx:pt idx="1346">0</cx:pt>
          <cx:pt idx="1347">0</cx:pt>
          <cx:pt idx="1348">0</cx:pt>
          <cx:pt idx="1349">0</cx:pt>
          <cx:pt idx="1350">0</cx:pt>
          <cx:pt idx="1351">0</cx:pt>
          <cx:pt idx="1352">0</cx:pt>
          <cx:pt idx="1353">0</cx:pt>
          <cx:pt idx="1354">0</cx:pt>
          <cx:pt idx="1355">0</cx:pt>
          <cx:pt idx="1356">3.2000000000000002</cx:pt>
          <cx:pt idx="1357">0</cx:pt>
          <cx:pt idx="1358">0</cx:pt>
          <cx:pt idx="1359">0</cx:pt>
          <cx:pt idx="1360">0</cx:pt>
          <cx:pt idx="1361">3.5</cx:pt>
          <cx:pt idx="1362">4</cx:pt>
          <cx:pt idx="1363">4</cx:pt>
          <cx:pt idx="1364">4</cx:pt>
          <cx:pt idx="1365">3.8999999999999999</cx:pt>
          <cx:pt idx="1366">3.7999999999999998</cx:pt>
          <cx:pt idx="1367">3.8999999999999999</cx:pt>
          <cx:pt idx="1368">3.7000000000000002</cx:pt>
          <cx:pt idx="1369">3.7000000000000002</cx:pt>
          <cx:pt idx="1370">2.7999999999999998</cx:pt>
          <cx:pt idx="1371">4.2000000000000002</cx:pt>
          <cx:pt idx="1372">4</cx:pt>
          <cx:pt idx="1373">3.7999999999999998</cx:pt>
          <cx:pt idx="1374">3.7999999999999998</cx:pt>
          <cx:pt idx="1375">3.5</cx:pt>
          <cx:pt idx="1376">4</cx:pt>
          <cx:pt idx="1377">4.2999999999999998</cx:pt>
          <cx:pt idx="1378">3.5</cx:pt>
          <cx:pt idx="1379">4.0999999999999996</cx:pt>
          <cx:pt idx="1380">2.8999999999999999</cx:pt>
          <cx:pt idx="1381">3.7999999999999998</cx:pt>
          <cx:pt idx="1382">3.7000000000000002</cx:pt>
          <cx:pt idx="1383">4.0999999999999996</cx:pt>
          <cx:pt idx="1384">4</cx:pt>
          <cx:pt idx="1385">4.2000000000000002</cx:pt>
          <cx:pt idx="1386">3.7000000000000002</cx:pt>
          <cx:pt idx="1387">3.7999999999999998</cx:pt>
          <cx:pt idx="1388">3.7000000000000002</cx:pt>
          <cx:pt idx="1389">3.8999999999999999</cx:pt>
          <cx:pt idx="1390">4</cx:pt>
          <cx:pt idx="1391">3.5</cx:pt>
          <cx:pt idx="1392">3.7999999999999998</cx:pt>
          <cx:pt idx="1393">3.7000000000000002</cx:pt>
          <cx:pt idx="1394">3.6000000000000001</cx:pt>
          <cx:pt idx="1395">3.7000000000000002</cx:pt>
          <cx:pt idx="1396">3.7000000000000002</cx:pt>
          <cx:pt idx="1397">0</cx:pt>
          <cx:pt idx="1398">4.0999999999999996</cx:pt>
          <cx:pt idx="1399">3.7999999999999998</cx:pt>
          <cx:pt idx="1400">3.2000000000000002</cx:pt>
          <cx:pt idx="1401">4</cx:pt>
          <cx:pt idx="1402">3.6000000000000001</cx:pt>
          <cx:pt idx="1403">4</cx:pt>
          <cx:pt idx="1404">3.8999999999999999</cx:pt>
          <cx:pt idx="1405">4.2000000000000002</cx:pt>
          <cx:pt idx="1406">3.2000000000000002</cx:pt>
          <cx:pt idx="1407">4.2000000000000002</cx:pt>
          <cx:pt idx="1408">3.8999999999999999</cx:pt>
          <cx:pt idx="1409">3.6000000000000001</cx:pt>
          <cx:pt idx="1410">4.0999999999999996</cx:pt>
          <cx:pt idx="1411">3.5</cx:pt>
          <cx:pt idx="1412">3.3999999999999999</cx:pt>
          <cx:pt idx="1413">4.0999999999999996</cx:pt>
          <cx:pt idx="1414">3.8999999999999999</cx:pt>
          <cx:pt idx="1415">4.2999999999999998</cx:pt>
          <cx:pt idx="1416">4.0999999999999996</cx:pt>
          <cx:pt idx="1417">3.8999999999999999</cx:pt>
          <cx:pt idx="1418">3.7999999999999998</cx:pt>
          <cx:pt idx="1419">4.0999999999999996</cx:pt>
          <cx:pt idx="1420">4.0999999999999996</cx:pt>
          <cx:pt idx="1421">3.7999999999999998</cx:pt>
          <cx:pt idx="1422">4.2000000000000002</cx:pt>
          <cx:pt idx="1423">4</cx:pt>
          <cx:pt idx="1424">4</cx:pt>
          <cx:pt idx="1425">3.7000000000000002</cx:pt>
          <cx:pt idx="1426">3.6000000000000001</cx:pt>
          <cx:pt idx="1427">4</cx:pt>
          <cx:pt idx="1428">4</cx:pt>
          <cx:pt idx="1429">4</cx:pt>
          <cx:pt idx="1430">4</cx:pt>
          <cx:pt idx="1431">4.2999999999999998</cx:pt>
          <cx:pt idx="1432">3.8999999999999999</cx:pt>
          <cx:pt idx="1433">3.5</cx:pt>
          <cx:pt idx="1434">3.8999999999999999</cx:pt>
          <cx:pt idx="1435">4</cx:pt>
          <cx:pt idx="1436">3.6000000000000001</cx:pt>
          <cx:pt idx="1437">3.6000000000000001</cx:pt>
          <cx:pt idx="1438">4.2999999999999998</cx:pt>
          <cx:pt idx="1439">4.2000000000000002</cx:pt>
          <cx:pt idx="1440">4</cx:pt>
          <cx:pt idx="1441">4.4000000000000004</cx:pt>
          <cx:pt idx="1442">4.0999999999999996</cx:pt>
          <cx:pt idx="1443">4.5</cx:pt>
          <cx:pt idx="1444">4.2000000000000002</cx:pt>
          <cx:pt idx="1445">4.2999999999999998</cx:pt>
          <cx:pt idx="1446">3.8999999999999999</cx:pt>
          <cx:pt idx="1447">4</cx:pt>
          <cx:pt idx="1448">4</cx:pt>
          <cx:pt idx="1449">3.5</cx:pt>
          <cx:pt idx="1450">3.5</cx:pt>
          <cx:pt idx="1451">4</cx:pt>
          <cx:pt idx="1452">4.2000000000000002</cx:pt>
          <cx:pt idx="1453">3.8999999999999999</cx:pt>
          <cx:pt idx="1454">3.7999999999999998</cx:pt>
          <cx:pt idx="1455">4.0999999999999996</cx:pt>
          <cx:pt idx="1456">4</cx:pt>
          <cx:pt idx="1457">4.2000000000000002</cx:pt>
          <cx:pt idx="1458">4</cx:pt>
          <cx:pt idx="1459">4</cx:pt>
          <cx:pt idx="1460">3.7999999999999998</cx:pt>
          <cx:pt idx="1461">3.7000000000000002</cx:pt>
          <cx:pt idx="1462">4</cx:pt>
          <cx:pt idx="1463">3.7000000000000002</cx:pt>
          <cx:pt idx="1464">4</cx:pt>
          <cx:pt idx="1465">3.7999999999999998</cx:pt>
          <cx:pt idx="1466">3.6000000000000001</cx:pt>
          <cx:pt idx="1467">3.2000000000000002</cx:pt>
          <cx:pt idx="1468">3.7999999999999998</cx:pt>
          <cx:pt idx="1469">3.8999999999999999</cx:pt>
          <cx:pt idx="1470">3.7000000000000002</cx:pt>
          <cx:pt idx="1471">4</cx:pt>
          <cx:pt idx="1472">3.5</cx:pt>
          <cx:pt idx="1473">3.6000000000000001</cx:pt>
          <cx:pt idx="1474">3.3999999999999999</cx:pt>
          <cx:pt idx="1475">3.7000000000000002</cx:pt>
          <cx:pt idx="1476">3.7999999999999998</cx:pt>
          <cx:pt idx="1477">3.3999999999999999</cx:pt>
          <cx:pt idx="1478">3.7000000000000002</cx:pt>
          <cx:pt idx="1479">3.7000000000000002</cx:pt>
          <cx:pt idx="1480">3.8999999999999999</cx:pt>
          <cx:pt idx="1481">3.7999999999999998</cx:pt>
          <cx:pt idx="1482">3.7999999999999998</cx:pt>
          <cx:pt idx="1483">3.8999999999999999</cx:pt>
          <cx:pt idx="1484">3.6000000000000001</cx:pt>
          <cx:pt idx="1485">3.5</cx:pt>
          <cx:pt idx="1486">3.6000000000000001</cx:pt>
          <cx:pt idx="1487">3.3999999999999999</cx:pt>
          <cx:pt idx="1488">3.5</cx:pt>
          <cx:pt idx="1489">3.8999999999999999</cx:pt>
          <cx:pt idx="1490">3.5</cx:pt>
          <cx:pt idx="1491">3.5</cx:pt>
          <cx:pt idx="1492">3.2999999999999998</cx:pt>
          <cx:pt idx="1493">2.7000000000000002</cx:pt>
          <cx:pt idx="1494">3.2999999999999998</cx:pt>
          <cx:pt idx="1495">0</cx:pt>
          <cx:pt idx="1496">0</cx:pt>
          <cx:pt idx="1497">0</cx:pt>
          <cx:pt idx="1498">0</cx:pt>
          <cx:pt idx="1499">0</cx:pt>
          <cx:pt idx="1500">0</cx:pt>
          <cx:pt idx="1501">3.5</cx:pt>
          <cx:pt idx="1502">3.5</cx:pt>
          <cx:pt idx="1503">3.3999999999999999</cx:pt>
          <cx:pt idx="1504">3.5</cx:pt>
          <cx:pt idx="1505">3.1000000000000001</cx:pt>
          <cx:pt idx="1506">3.3999999999999999</cx:pt>
          <cx:pt idx="1507">3.2000000000000002</cx:pt>
          <cx:pt idx="1508">3.6000000000000001</cx:pt>
          <cx:pt idx="1509">3.2000000000000002</cx:pt>
          <cx:pt idx="1510">3.2999999999999998</cx:pt>
          <cx:pt idx="1511">3.1000000000000001</cx:pt>
          <cx:pt idx="1512">3.1000000000000001</cx:pt>
          <cx:pt idx="1513">3.2000000000000002</cx:pt>
          <cx:pt idx="1514">3.2000000000000002</cx:pt>
          <cx:pt idx="1515">0</cx:pt>
          <cx:pt idx="1516">2.7999999999999998</cx:pt>
          <cx:pt idx="1517">0</cx:pt>
          <cx:pt idx="1518">3.2000000000000002</cx:pt>
          <cx:pt idx="1519">3.1000000000000001</cx:pt>
          <cx:pt idx="1520">3.2000000000000002</cx:pt>
          <cx:pt idx="1521">3</cx:pt>
          <cx:pt idx="1522">2.8999999999999999</cx:pt>
          <cx:pt idx="1523">3</cx:pt>
          <cx:pt idx="1524">3</cx:pt>
          <cx:pt idx="1525">2.7999999999999998</cx:pt>
          <cx:pt idx="1526">0</cx:pt>
          <cx:pt idx="1527">0</cx:pt>
          <cx:pt idx="1528">0</cx:pt>
          <cx:pt idx="1529">3.7999999999999998</cx:pt>
          <cx:pt idx="1530">3.6000000000000001</cx:pt>
          <cx:pt idx="1531">3.1000000000000001</cx:pt>
          <cx:pt idx="1532">2.6000000000000001</cx:pt>
          <cx:pt idx="1533">3.2999999999999998</cx:pt>
          <cx:pt idx="1534">0</cx:pt>
          <cx:pt idx="1535">3</cx:pt>
          <cx:pt idx="1536">0</cx:pt>
          <cx:pt idx="1537">0</cx:pt>
          <cx:pt idx="1538">0</cx:pt>
          <cx:pt idx="1539">0</cx:pt>
          <cx:pt idx="1540">0</cx:pt>
          <cx:pt idx="1541">3.5</cx:pt>
          <cx:pt idx="1542">0</cx:pt>
          <cx:pt idx="1543">0</cx:pt>
          <cx:pt idx="1544">3.8999999999999999</cx:pt>
          <cx:pt idx="1545">3.6000000000000001</cx:pt>
          <cx:pt idx="1546">3.2999999999999998</cx:pt>
          <cx:pt idx="1547">3.5</cx:pt>
          <cx:pt idx="1548">3.3999999999999999</cx:pt>
          <cx:pt idx="1549">3.7000000000000002</cx:pt>
          <cx:pt idx="1550">3.6000000000000001</cx:pt>
          <cx:pt idx="1551">3.2999999999999998</cx:pt>
          <cx:pt idx="1552">3.3999999999999999</cx:pt>
          <cx:pt idx="1553">3.3999999999999999</cx:pt>
          <cx:pt idx="1554">3</cx:pt>
          <cx:pt idx="1555">3.5</cx:pt>
          <cx:pt idx="1556">3.1000000000000001</cx:pt>
          <cx:pt idx="1557">3.5</cx:pt>
          <cx:pt idx="1558">3.1000000000000001</cx:pt>
          <cx:pt idx="1559">3.2000000000000002</cx:pt>
          <cx:pt idx="1560">3.1000000000000001</cx:pt>
          <cx:pt idx="1561">3.2000000000000002</cx:pt>
          <cx:pt idx="1562">3.2000000000000002</cx:pt>
          <cx:pt idx="1563">2.7999999999999998</cx:pt>
          <cx:pt idx="1564">0</cx:pt>
          <cx:pt idx="1565">3.2000000000000002</cx:pt>
          <cx:pt idx="1566">3</cx:pt>
          <cx:pt idx="1567">2.8999999999999999</cx:pt>
          <cx:pt idx="1568">3.2999999999999998</cx:pt>
          <cx:pt idx="1569">3</cx:pt>
          <cx:pt idx="1570">0</cx:pt>
          <cx:pt idx="1571">0</cx:pt>
          <cx:pt idx="1572">0</cx:pt>
          <cx:pt idx="1573">0</cx:pt>
          <cx:pt idx="1574">0</cx:pt>
          <cx:pt idx="1575">0</cx:pt>
          <cx:pt idx="1576">0</cx:pt>
          <cx:pt idx="1577">4.0999999999999996</cx:pt>
          <cx:pt idx="1578">3.6000000000000001</cx:pt>
          <cx:pt idx="1579">3.7000000000000002</cx:pt>
          <cx:pt idx="1580">3.5</cx:pt>
          <cx:pt idx="1581">3.2999999999999998</cx:pt>
          <cx:pt idx="1582">3.3999999999999999</cx:pt>
          <cx:pt idx="1583">3.5</cx:pt>
          <cx:pt idx="1584">3.2000000000000002</cx:pt>
          <cx:pt idx="1585">3.3999999999999999</cx:pt>
          <cx:pt idx="1586">3.2000000000000002</cx:pt>
          <cx:pt idx="1587">3.2000000000000002</cx:pt>
          <cx:pt idx="1588">3.3999999999999999</cx:pt>
          <cx:pt idx="1589">3.5</cx:pt>
          <cx:pt idx="1590">3.3999999999999999</cx:pt>
          <cx:pt idx="1591">3.2999999999999998</cx:pt>
          <cx:pt idx="1592">3.2999999999999998</cx:pt>
          <cx:pt idx="1593">3.2999999999999998</cx:pt>
          <cx:pt idx="1594">0</cx:pt>
          <cx:pt idx="1595">3.1000000000000001</cx:pt>
          <cx:pt idx="1596">3.7000000000000002</cx:pt>
          <cx:pt idx="1597">2.7999999999999998</cx:pt>
          <cx:pt idx="1598">2.8999999999999999</cx:pt>
          <cx:pt idx="1599">2.8999999999999999</cx:pt>
          <cx:pt idx="1600">2.8999999999999999</cx:pt>
          <cx:pt idx="1601">3</cx:pt>
          <cx:pt idx="1602">3</cx:pt>
          <cx:pt idx="1603">3</cx:pt>
          <cx:pt idx="1604">3.1000000000000001</cx:pt>
          <cx:pt idx="1605">3.1000000000000001</cx:pt>
          <cx:pt idx="1606">3.1000000000000001</cx:pt>
          <cx:pt idx="1607">3.1000000000000001</cx:pt>
          <cx:pt idx="1608">3.1000000000000001</cx:pt>
          <cx:pt idx="1609">3.2000000000000002</cx:pt>
          <cx:pt idx="1610">3.2000000000000002</cx:pt>
          <cx:pt idx="1611">3.2000000000000002</cx:pt>
          <cx:pt idx="1612">3.2000000000000002</cx:pt>
          <cx:pt idx="1613">3.2000000000000002</cx:pt>
          <cx:pt idx="1614">3.2000000000000002</cx:pt>
          <cx:pt idx="1615">3.2000000000000002</cx:pt>
          <cx:pt idx="1616">3.6000000000000001</cx:pt>
          <cx:pt idx="1617">0</cx:pt>
          <cx:pt idx="1618">3.3999999999999999</cx:pt>
          <cx:pt idx="1619">3.3999999999999999</cx:pt>
          <cx:pt idx="1620">3.2999999999999998</cx:pt>
          <cx:pt idx="1621">0</cx:pt>
          <cx:pt idx="1622">0</cx:pt>
          <cx:pt idx="1623">0</cx:pt>
          <cx:pt idx="1624">0</cx:pt>
          <cx:pt idx="1625">0</cx:pt>
          <cx:pt idx="1626">0</cx:pt>
          <cx:pt idx="1627">3.2999999999999998</cx:pt>
          <cx:pt idx="1628">3.2999999999999998</cx:pt>
          <cx:pt idx="1629">3.3999999999999999</cx:pt>
          <cx:pt idx="1630">0</cx:pt>
          <cx:pt idx="1631">0</cx:pt>
          <cx:pt idx="1632">0</cx:pt>
          <cx:pt idx="1633">0</cx:pt>
          <cx:pt idx="1634">0</cx:pt>
          <cx:pt idx="1635">0</cx:pt>
          <cx:pt idx="1636">3.5</cx:pt>
          <cx:pt idx="1637">3.6000000000000001</cx:pt>
          <cx:pt idx="1638">3.2999999999999998</cx:pt>
          <cx:pt idx="1639">0</cx:pt>
          <cx:pt idx="1640">0</cx:pt>
          <cx:pt idx="1641">0</cx:pt>
          <cx:pt idx="1642">3.6000000000000001</cx:pt>
          <cx:pt idx="1643">0</cx:pt>
          <cx:pt idx="1644">0</cx:pt>
          <cx:pt idx="1645">0</cx:pt>
          <cx:pt idx="1646">0</cx:pt>
          <cx:pt idx="1647">0</cx:pt>
          <cx:pt idx="1648">0</cx:pt>
          <cx:pt idx="1649">0</cx:pt>
          <cx:pt idx="1650">0</cx:pt>
          <cx:pt idx="1651">0</cx:pt>
          <cx:pt idx="1652">0</cx:pt>
          <cx:pt idx="1653">3.5</cx:pt>
          <cx:pt idx="1654">0</cx:pt>
          <cx:pt idx="1655">4</cx:pt>
          <cx:pt idx="1656">0</cx:pt>
          <cx:pt idx="1657">3.2999999999999998</cx:pt>
          <cx:pt idx="1658">0</cx:pt>
          <cx:pt idx="1659">4</cx:pt>
          <cx:pt idx="1660">3.7999999999999998</cx:pt>
          <cx:pt idx="1661">0</cx:pt>
          <cx:pt idx="1662">0</cx:pt>
          <cx:pt idx="1663">3.8999999999999999</cx:pt>
          <cx:pt idx="1664">0</cx:pt>
          <cx:pt idx="1665">3.6000000000000001</cx:pt>
          <cx:pt idx="1666">0</cx:pt>
          <cx:pt idx="1667">3.6000000000000001</cx:pt>
          <cx:pt idx="1668">0</cx:pt>
          <cx:pt idx="1669">0</cx:pt>
          <cx:pt idx="1670">0</cx:pt>
          <cx:pt idx="1671">0</cx:pt>
          <cx:pt idx="1672">3.8999999999999999</cx:pt>
          <cx:pt idx="1673">0</cx:pt>
          <cx:pt idx="1674">0</cx:pt>
          <cx:pt idx="1675">0</cx:pt>
          <cx:pt idx="1676">0</cx:pt>
          <cx:pt idx="1677">0</cx:pt>
          <cx:pt idx="1678">0</cx:pt>
          <cx:pt idx="1679">3.7000000000000002</cx:pt>
          <cx:pt idx="1680">0</cx:pt>
          <cx:pt idx="1681">3.5</cx:pt>
          <cx:pt idx="1682">0</cx:pt>
          <cx:pt idx="1683">0</cx:pt>
          <cx:pt idx="1684">3.2999999999999998</cx:pt>
          <cx:pt idx="1685">0</cx:pt>
          <cx:pt idx="1686">3.5</cx:pt>
          <cx:pt idx="1687">3.5</cx:pt>
          <cx:pt idx="1688">3.7000000000000002</cx:pt>
          <cx:pt idx="1689">3.6000000000000001</cx:pt>
          <cx:pt idx="1690">3.6000000000000001</cx:pt>
          <cx:pt idx="1691">0</cx:pt>
          <cx:pt idx="1692">0</cx:pt>
          <cx:pt idx="1693">0</cx:pt>
          <cx:pt idx="1694">3.7000000000000002</cx:pt>
          <cx:pt idx="1695">3.6000000000000001</cx:pt>
          <cx:pt idx="1696">0</cx:pt>
          <cx:pt idx="1697">0</cx:pt>
          <cx:pt idx="1698">0</cx:pt>
          <cx:pt idx="1699">0</cx:pt>
          <cx:pt idx="1700">3.3999999999999999</cx:pt>
          <cx:pt idx="1701">3.5</cx:pt>
          <cx:pt idx="1702">0</cx:pt>
          <cx:pt idx="1703">0</cx:pt>
          <cx:pt idx="1704">0</cx:pt>
          <cx:pt idx="1705">0</cx:pt>
          <cx:pt idx="1706">0</cx:pt>
          <cx:pt idx="1707">0</cx:pt>
          <cx:pt idx="1708">0</cx:pt>
          <cx:pt idx="1709">0</cx:pt>
          <cx:pt idx="1710">0</cx:pt>
          <cx:pt idx="1711">0</cx:pt>
          <cx:pt idx="1712">0</cx:pt>
          <cx:pt idx="1713">0</cx:pt>
          <cx:pt idx="1714">0</cx:pt>
          <cx:pt idx="1715">0</cx:pt>
          <cx:pt idx="1716">0</cx:pt>
          <cx:pt idx="1717">3.2999999999999998</cx:pt>
          <cx:pt idx="1718">0</cx:pt>
          <cx:pt idx="1719">0</cx:pt>
          <cx:pt idx="1720">0</cx:pt>
          <cx:pt idx="1721">0</cx:pt>
          <cx:pt idx="1722">0</cx:pt>
          <cx:pt idx="1723">0</cx:pt>
          <cx:pt idx="1724">0</cx:pt>
          <cx:pt idx="1725">0</cx:pt>
          <cx:pt idx="1726">0</cx:pt>
          <cx:pt idx="1727">0</cx:pt>
          <cx:pt idx="1728">0</cx:pt>
          <cx:pt idx="1729">0</cx:pt>
          <cx:pt idx="1730">0</cx:pt>
          <cx:pt idx="1731">0</cx:pt>
          <cx:pt idx="1732">0</cx:pt>
          <cx:pt idx="1733">0</cx:pt>
          <cx:pt idx="1734">0</cx:pt>
          <cx:pt idx="1735">0</cx:pt>
          <cx:pt idx="1736">0</cx:pt>
          <cx:pt idx="1737">0</cx:pt>
          <cx:pt idx="1738">0</cx:pt>
          <cx:pt idx="1739">0</cx:pt>
          <cx:pt idx="1740">0</cx:pt>
          <cx:pt idx="1741">0</cx:pt>
          <cx:pt idx="1742">0</cx:pt>
          <cx:pt idx="1743">0</cx:pt>
          <cx:pt idx="1744">0</cx:pt>
          <cx:pt idx="1745">0</cx:pt>
          <cx:pt idx="1746">0</cx:pt>
          <cx:pt idx="1747">0</cx:pt>
          <cx:pt idx="1748">0</cx:pt>
          <cx:pt idx="1749">3.5</cx:pt>
          <cx:pt idx="1750">0</cx:pt>
          <cx:pt idx="1751">0</cx:pt>
          <cx:pt idx="1752">0</cx:pt>
          <cx:pt idx="1753">0</cx:pt>
          <cx:pt idx="1754">0</cx:pt>
          <cx:pt idx="1755">0</cx:pt>
          <cx:pt idx="1756">0</cx:pt>
          <cx:pt idx="1757">0</cx:pt>
          <cx:pt idx="1758">0</cx:pt>
          <cx:pt idx="1759">0</cx:pt>
          <cx:pt idx="1760">0</cx:pt>
          <cx:pt idx="1761">0</cx:pt>
          <cx:pt idx="1762">0</cx:pt>
          <cx:pt idx="1763">0</cx:pt>
          <cx:pt idx="1764">0</cx:pt>
          <cx:pt idx="1765">0</cx:pt>
          <cx:pt idx="1766">0</cx:pt>
          <cx:pt idx="1767">0</cx:pt>
          <cx:pt idx="1768">0</cx:pt>
          <cx:pt idx="1769">0</cx:pt>
          <cx:pt idx="1770">0</cx:pt>
          <cx:pt idx="1771">0</cx:pt>
          <cx:pt idx="1772">0</cx:pt>
          <cx:pt idx="1773">0</cx:pt>
          <cx:pt idx="1774">0</cx:pt>
          <cx:pt idx="1775">0</cx:pt>
          <cx:pt idx="1776">0</cx:pt>
          <cx:pt idx="1777">0</cx:pt>
          <cx:pt idx="1778">0</cx:pt>
          <cx:pt idx="1779">0</cx:pt>
          <cx:pt idx="1780">0</cx:pt>
          <cx:pt idx="1781">0</cx:pt>
          <cx:pt idx="1782">0</cx:pt>
          <cx:pt idx="1783">0</cx:pt>
          <cx:pt idx="1784">0</cx:pt>
          <cx:pt idx="1785">0</cx:pt>
          <cx:pt idx="1786">0</cx:pt>
          <cx:pt idx="1787">0</cx:pt>
          <cx:pt idx="1788">0</cx:pt>
          <cx:pt idx="1789">0</cx:pt>
          <cx:pt idx="1790">0</cx:pt>
          <cx:pt idx="1791">0</cx:pt>
          <cx:pt idx="1792">0</cx:pt>
          <cx:pt idx="1793">0</cx:pt>
          <cx:pt idx="1794">0</cx:pt>
          <cx:pt idx="1795">0</cx:pt>
          <cx:pt idx="1796">0</cx:pt>
          <cx:pt idx="1797">0</cx:pt>
          <cx:pt idx="1798">0</cx:pt>
          <cx:pt idx="1799">0</cx:pt>
          <cx:pt idx="1800">0</cx:pt>
          <cx:pt idx="1801">0</cx:pt>
          <cx:pt idx="1802">0</cx:pt>
          <cx:pt idx="1803">0</cx:pt>
          <cx:pt idx="1804">0</cx:pt>
          <cx:pt idx="1805">0</cx:pt>
          <cx:pt idx="1806">0</cx:pt>
          <cx:pt idx="1807">0</cx:pt>
          <cx:pt idx="1808">0</cx:pt>
          <cx:pt idx="1809">0</cx:pt>
          <cx:pt idx="1810">0</cx:pt>
          <cx:pt idx="1811">0</cx:pt>
          <cx:pt idx="1812">0</cx:pt>
          <cx:pt idx="1813">0</cx:pt>
          <cx:pt idx="1814">0</cx:pt>
          <cx:pt idx="1815">0</cx:pt>
          <cx:pt idx="1816">0</cx:pt>
          <cx:pt idx="1817">0</cx:pt>
          <cx:pt idx="1818">0</cx:pt>
          <cx:pt idx="1819">0</cx:pt>
          <cx:pt idx="1820">0</cx:pt>
          <cx:pt idx="1821">0</cx:pt>
          <cx:pt idx="1822">0</cx:pt>
          <cx:pt idx="1823">0</cx:pt>
          <cx:pt idx="1824">0</cx:pt>
          <cx:pt idx="1825">0</cx:pt>
          <cx:pt idx="1826">0</cx:pt>
          <cx:pt idx="1827">0</cx:pt>
          <cx:pt idx="1828">3.2999999999999998</cx:pt>
          <cx:pt idx="1829">0</cx:pt>
          <cx:pt idx="1830">0</cx:pt>
          <cx:pt idx="1831">0</cx:pt>
          <cx:pt idx="1832">0</cx:pt>
          <cx:pt idx="1833">0</cx:pt>
          <cx:pt idx="1834">0</cx:pt>
          <cx:pt idx="1835">0</cx:pt>
          <cx:pt idx="1836">0</cx:pt>
          <cx:pt idx="1837">0</cx:pt>
          <cx:pt idx="1838">0</cx:pt>
          <cx:pt idx="1839">0</cx:pt>
          <cx:pt idx="1840">0</cx:pt>
          <cx:pt idx="1841">0</cx:pt>
          <cx:pt idx="1842">0</cx:pt>
          <cx:pt idx="1843">0</cx:pt>
          <cx:pt idx="1844">0</cx:pt>
          <cx:pt idx="1845">0</cx:pt>
          <cx:pt idx="1846">0</cx:pt>
          <cx:pt idx="1847">0</cx:pt>
          <cx:pt idx="1848">0</cx:pt>
          <cx:pt idx="1849">0</cx:pt>
          <cx:pt idx="1850">0</cx:pt>
          <cx:pt idx="1851">0</cx:pt>
          <cx:pt idx="1852">0</cx:pt>
          <cx:pt idx="1853">0</cx:pt>
          <cx:pt idx="1854">0</cx:pt>
          <cx:pt idx="1855">0</cx:pt>
          <cx:pt idx="1856">0</cx:pt>
          <cx:pt idx="1857">0</cx:pt>
          <cx:pt idx="1858">0</cx:pt>
          <cx:pt idx="1859">0</cx:pt>
          <cx:pt idx="1860">0</cx:pt>
          <cx:pt idx="1861">0</cx:pt>
          <cx:pt idx="1862">0</cx:pt>
          <cx:pt idx="1863">0</cx:pt>
          <cx:pt idx="1864">0</cx:pt>
          <cx:pt idx="1865">0</cx:pt>
          <cx:pt idx="1866">0</cx:pt>
          <cx:pt idx="1867">0</cx:pt>
          <cx:pt idx="1868">0</cx:pt>
          <cx:pt idx="1869">0</cx:pt>
          <cx:pt idx="1870">0</cx:pt>
          <cx:pt idx="1871">4.2999999999999998</cx:pt>
          <cx:pt idx="1872">4</cx:pt>
          <cx:pt idx="1873">4.0999999999999996</cx:pt>
          <cx:pt idx="1874">3.8999999999999999</cx:pt>
          <cx:pt idx="1875">3.8999999999999999</cx:pt>
          <cx:pt idx="1876">4.0999999999999996</cx:pt>
          <cx:pt idx="1877">4.2999999999999998</cx:pt>
          <cx:pt idx="1878">4.0999999999999996</cx:pt>
          <cx:pt idx="1879">4.4000000000000004</cx:pt>
          <cx:pt idx="1880">4.4000000000000004</cx:pt>
          <cx:pt idx="1881">4.2999999999999998</cx:pt>
          <cx:pt idx="1882">4</cx:pt>
          <cx:pt idx="1883">4.4000000000000004</cx:pt>
          <cx:pt idx="1884">4</cx:pt>
          <cx:pt idx="1885">4.0999999999999996</cx:pt>
          <cx:pt idx="1886">4.5</cx:pt>
          <cx:pt idx="1887">4.0999999999999996</cx:pt>
          <cx:pt idx="1888">4.2000000000000002</cx:pt>
          <cx:pt idx="1889">3.5</cx:pt>
          <cx:pt idx="1890">4.2000000000000002</cx:pt>
          <cx:pt idx="1891">3.8999999999999999</cx:pt>
          <cx:pt idx="1892">4.2000000000000002</cx:pt>
          <cx:pt idx="1893">4.2000000000000002</cx:pt>
          <cx:pt idx="1894">3.7999999999999998</cx:pt>
          <cx:pt idx="1895">4.2999999999999998</cx:pt>
          <cx:pt idx="1896">4.0999999999999996</cx:pt>
          <cx:pt idx="1897">4</cx:pt>
          <cx:pt idx="1898">4.0999999999999996</cx:pt>
          <cx:pt idx="1899">4.0999999999999996</cx:pt>
          <cx:pt idx="1900">4</cx:pt>
          <cx:pt idx="1901">4.2000000000000002</cx:pt>
          <cx:pt idx="1902">3.7999999999999998</cx:pt>
          <cx:pt idx="1903">3.8999999999999999</cx:pt>
          <cx:pt idx="1904">4.2000000000000002</cx:pt>
          <cx:pt idx="1905">4.0999999999999996</cx:pt>
          <cx:pt idx="1906">3.7999999999999998</cx:pt>
          <cx:pt idx="1907">4.2999999999999998</cx:pt>
          <cx:pt idx="1908">3.7999999999999998</cx:pt>
          <cx:pt idx="1909">4</cx:pt>
          <cx:pt idx="1910">3.2999999999999998</cx:pt>
          <cx:pt idx="1911">3.7999999999999998</cx:pt>
          <cx:pt idx="1912">3.8999999999999999</cx:pt>
          <cx:pt idx="1913">3.7999999999999998</cx:pt>
          <cx:pt idx="1914">2.8999999999999999</cx:pt>
          <cx:pt idx="1915">3.7000000000000002</cx:pt>
          <cx:pt idx="1916">0</cx:pt>
          <cx:pt idx="1917">3.8999999999999999</cx:pt>
          <cx:pt idx="1918">3.7000000000000002</cx:pt>
          <cx:pt idx="1919">3.7000000000000002</cx:pt>
          <cx:pt idx="1920">3.5</cx:pt>
          <cx:pt idx="1921">3.2000000000000002</cx:pt>
          <cx:pt idx="1922">0</cx:pt>
          <cx:pt idx="1923">4</cx:pt>
          <cx:pt idx="1924">3.7999999999999998</cx:pt>
          <cx:pt idx="1925">0</cx:pt>
          <cx:pt idx="1926">0</cx:pt>
          <cx:pt idx="1927">3.6000000000000001</cx:pt>
          <cx:pt idx="1928">3.5</cx:pt>
          <cx:pt idx="1929">3.7000000000000002</cx:pt>
          <cx:pt idx="1930">3.7000000000000002</cx:pt>
          <cx:pt idx="1931">3.7000000000000002</cx:pt>
          <cx:pt idx="1932">3</cx:pt>
          <cx:pt idx="1933">3.2999999999999998</cx:pt>
          <cx:pt idx="1934">3.8999999999999999</cx:pt>
          <cx:pt idx="1935">3.5</cx:pt>
          <cx:pt idx="1936">2.7999999999999998</cx:pt>
          <cx:pt idx="1937">3.3999999999999999</cx:pt>
          <cx:pt idx="1938">3</cx:pt>
          <cx:pt idx="1939">3.6000000000000001</cx:pt>
          <cx:pt idx="1940">3.2999999999999998</cx:pt>
          <cx:pt idx="1941">2.5</cx:pt>
          <cx:pt idx="1942">3.3999999999999999</cx:pt>
          <cx:pt idx="1943">3.2999999999999998</cx:pt>
          <cx:pt idx="1944">3</cx:pt>
          <cx:pt idx="1945">0</cx:pt>
          <cx:pt idx="1946">0</cx:pt>
          <cx:pt idx="1947">3</cx:pt>
          <cx:pt idx="1948">3</cx:pt>
          <cx:pt idx="1949">0</cx:pt>
          <cx:pt idx="1950">3</cx:pt>
          <cx:pt idx="1951">0</cx:pt>
          <cx:pt idx="1952">0</cx:pt>
          <cx:pt idx="1953">0</cx:pt>
          <cx:pt idx="1954">0</cx:pt>
          <cx:pt idx="1955">0</cx:pt>
          <cx:pt idx="1956">0</cx:pt>
          <cx:pt idx="1957">0</cx:pt>
          <cx:pt idx="1958">0</cx:pt>
          <cx:pt idx="1959">0</cx:pt>
          <cx:pt idx="1960">0</cx:pt>
          <cx:pt idx="1961">0</cx:pt>
          <cx:pt idx="1962">0</cx:pt>
          <cx:pt idx="1963">0</cx:pt>
          <cx:pt idx="1964">0</cx:pt>
          <cx:pt idx="1965">0</cx:pt>
          <cx:pt idx="1966">0</cx:pt>
          <cx:pt idx="1967">0</cx:pt>
          <cx:pt idx="1968">0</cx:pt>
          <cx:pt idx="1969">0</cx:pt>
          <cx:pt idx="1970">0</cx:pt>
          <cx:pt idx="1971">0</cx:pt>
          <cx:pt idx="1972">0</cx:pt>
          <cx:pt idx="1973">0</cx:pt>
          <cx:pt idx="1974">3.7000000000000002</cx:pt>
          <cx:pt idx="1975">3.3999999999999999</cx:pt>
          <cx:pt idx="1976">3.7999999999999998</cx:pt>
          <cx:pt idx="1977">3.7999999999999998</cx:pt>
          <cx:pt idx="1978">3.5</cx:pt>
          <cx:pt idx="1979">3.7000000000000002</cx:pt>
          <cx:pt idx="1980">3.3999999999999999</cx:pt>
          <cx:pt idx="1981">3.7000000000000002</cx:pt>
          <cx:pt idx="1982">3.7999999999999998</cx:pt>
          <cx:pt idx="1983">3.7000000000000002</cx:pt>
          <cx:pt idx="1984">3.7000000000000002</cx:pt>
          <cx:pt idx="1985">3.3999999999999999</cx:pt>
          <cx:pt idx="1986">3.6000000000000001</cx:pt>
          <cx:pt idx="1987">3.1000000000000001</cx:pt>
          <cx:pt idx="1988">3.2999999999999998</cx:pt>
          <cx:pt idx="1989">3.3999999999999999</cx:pt>
          <cx:pt idx="1990">2.7999999999999998</cx:pt>
          <cx:pt idx="1991">3.3999999999999999</cx:pt>
          <cx:pt idx="1992">2.8999999999999999</cx:pt>
          <cx:pt idx="1993">3.2000000000000002</cx:pt>
          <cx:pt idx="1994">3.1000000000000001</cx:pt>
          <cx:pt idx="1995">2.8999999999999999</cx:pt>
          <cx:pt idx="1996">3.1000000000000001</cx:pt>
          <cx:pt idx="1997">4.0999999999999996</cx:pt>
          <cx:pt idx="1998">4.0999999999999996</cx:pt>
          <cx:pt idx="1999">4</cx:pt>
          <cx:pt idx="2000">3.8999999999999999</cx:pt>
          <cx:pt idx="2001">3.8999999999999999</cx:pt>
          <cx:pt idx="2002">3.8999999999999999</cx:pt>
          <cx:pt idx="2003">3.8999999999999999</cx:pt>
          <cx:pt idx="2004">2.6000000000000001</cx:pt>
          <cx:pt idx="2005">2.6000000000000001</cx:pt>
          <cx:pt idx="2006">2.7000000000000002</cx:pt>
          <cx:pt idx="2007">2.7000000000000002</cx:pt>
          <cx:pt idx="2008">2.7000000000000002</cx:pt>
          <cx:pt idx="2009">2.7999999999999998</cx:pt>
          <cx:pt idx="2010">2.8999999999999999</cx:pt>
          <cx:pt idx="2011">2.8999999999999999</cx:pt>
          <cx:pt idx="2012">2.8999999999999999</cx:pt>
          <cx:pt idx="2013">2.8999999999999999</cx:pt>
          <cx:pt idx="2014">2.8999999999999999</cx:pt>
          <cx:pt idx="2015">2.8999999999999999</cx:pt>
          <cx:pt idx="2016">2.8999999999999999</cx:pt>
          <cx:pt idx="2017">3</cx:pt>
          <cx:pt idx="2018">3</cx:pt>
          <cx:pt idx="2019">3</cx:pt>
          <cx:pt idx="2020">3</cx:pt>
          <cx:pt idx="2021">3</cx:pt>
          <cx:pt idx="2022">3</cx:pt>
          <cx:pt idx="2023">3</cx:pt>
          <cx:pt idx="2024">3.1000000000000001</cx:pt>
          <cx:pt idx="2025">3.1000000000000001</cx:pt>
          <cx:pt idx="2026">3.1000000000000001</cx:pt>
          <cx:pt idx="2027">3.1000000000000001</cx:pt>
          <cx:pt idx="2028">3.1000000000000001</cx:pt>
          <cx:pt idx="2029">3.7000000000000002</cx:pt>
          <cx:pt idx="2030">3.6000000000000001</cx:pt>
          <cx:pt idx="2031">3.7999999999999998</cx:pt>
          <cx:pt idx="2032">3.7999999999999998</cx:pt>
          <cx:pt idx="2033">3.7999999999999998</cx:pt>
          <cx:pt idx="2034">3.7000000000000002</cx:pt>
          <cx:pt idx="2035">3.7000000000000002</cx:pt>
          <cx:pt idx="2036">3.7999999999999998</cx:pt>
          <cx:pt idx="2037">3.7000000000000002</cx:pt>
          <cx:pt idx="2038">3.7000000000000002</cx:pt>
          <cx:pt idx="2039">3.2999999999999998</cx:pt>
          <cx:pt idx="2040">3.5</cx:pt>
          <cx:pt idx="2041">3.7000000000000002</cx:pt>
          <cx:pt idx="2042">3.7000000000000002</cx:pt>
          <cx:pt idx="2043">3.5</cx:pt>
          <cx:pt idx="2044">3.6000000000000001</cx:pt>
          <cx:pt idx="2045">3.6000000000000001</cx:pt>
          <cx:pt idx="2046">3.7999999999999998</cx:pt>
          <cx:pt idx="2047">3.3999999999999999</cx:pt>
          <cx:pt idx="2048">3.3999999999999999</cx:pt>
          <cx:pt idx="2049">3.7999999999999998</cx:pt>
          <cx:pt idx="2050">3.2999999999999998</cx:pt>
          <cx:pt idx="2051">3.3999999999999999</cx:pt>
          <cx:pt idx="2052">3.2999999999999998</cx:pt>
          <cx:pt idx="2053">3.2000000000000002</cx:pt>
          <cx:pt idx="2054">0</cx:pt>
          <cx:pt idx="2055">3.5</cx:pt>
          <cx:pt idx="2056">3.2999999999999998</cx:pt>
          <cx:pt idx="2057">3.2000000000000002</cx:pt>
          <cx:pt idx="2058">3.1000000000000001</cx:pt>
          <cx:pt idx="2059">0</cx:pt>
          <cx:pt idx="2060">3.2000000000000002</cx:pt>
          <cx:pt idx="2061">3.2999999999999998</cx:pt>
          <cx:pt idx="2062">3.2000000000000002</cx:pt>
          <cx:pt idx="2063">3.1000000000000001</cx:pt>
          <cx:pt idx="2064">0</cx:pt>
          <cx:pt idx="2065">3.1000000000000001</cx:pt>
          <cx:pt idx="2066">3.1000000000000001</cx:pt>
          <cx:pt idx="2067">3.1000000000000001</cx:pt>
          <cx:pt idx="2068">0</cx:pt>
          <cx:pt idx="2069">3.1000000000000001</cx:pt>
          <cx:pt idx="2070">0</cx:pt>
          <cx:pt idx="2071">0</cx:pt>
          <cx:pt idx="2072">0</cx:pt>
          <cx:pt idx="2073">0</cx:pt>
          <cx:pt idx="2074">0</cx:pt>
          <cx:pt idx="2075">0</cx:pt>
          <cx:pt idx="2076">0</cx:pt>
          <cx:pt idx="2077">0</cx:pt>
          <cx:pt idx="2078">0</cx:pt>
          <cx:pt idx="2079">0</cx:pt>
          <cx:pt idx="2080">0</cx:pt>
          <cx:pt idx="2081">0</cx:pt>
          <cx:pt idx="2082">0</cx:pt>
          <cx:pt idx="2083">0</cx:pt>
          <cx:pt idx="2084">0</cx:pt>
          <cx:pt idx="2085">0</cx:pt>
          <cx:pt idx="2086">0</cx:pt>
          <cx:pt idx="2087">0</cx:pt>
          <cx:pt idx="2088">3.7000000000000002</cx:pt>
          <cx:pt idx="2089">3.5</cx:pt>
          <cx:pt idx="2090">3.6000000000000001</cx:pt>
          <cx:pt idx="2091">3.7000000000000002</cx:pt>
          <cx:pt idx="2092">3.6000000000000001</cx:pt>
          <cx:pt idx="2093">3.6000000000000001</cx:pt>
          <cx:pt idx="2094">3.2999999999999998</cx:pt>
          <cx:pt idx="2095">3.7000000000000002</cx:pt>
          <cx:pt idx="2096">3.5</cx:pt>
          <cx:pt idx="2097">3.7999999999999998</cx:pt>
          <cx:pt idx="2098">3.6000000000000001</cx:pt>
          <cx:pt idx="2099">3.7000000000000002</cx:pt>
          <cx:pt idx="2100">3.5</cx:pt>
          <cx:pt idx="2101">3.3999999999999999</cx:pt>
          <cx:pt idx="2102">3.3999999999999999</cx:pt>
          <cx:pt idx="2103">3.2000000000000002</cx:pt>
          <cx:pt idx="2104">3.2999999999999998</cx:pt>
          <cx:pt idx="2105">3.2999999999999998</cx:pt>
          <cx:pt idx="2106">0</cx:pt>
          <cx:pt idx="2107">3.2000000000000002</cx:pt>
          <cx:pt idx="2108">3.2000000000000002</cx:pt>
          <cx:pt idx="2109">0</cx:pt>
          <cx:pt idx="2110">0</cx:pt>
          <cx:pt idx="2111">0</cx:pt>
          <cx:pt idx="2112">3.7999999999999998</cx:pt>
          <cx:pt idx="2113">3.2000000000000002</cx:pt>
          <cx:pt idx="2114">3.3999999999999999</cx:pt>
          <cx:pt idx="2115">3.5</cx:pt>
          <cx:pt idx="2116">3.2000000000000002</cx:pt>
          <cx:pt idx="2117">3.2999999999999998</cx:pt>
          <cx:pt idx="2118">3.1000000000000001</cx:pt>
          <cx:pt idx="2119">3.1000000000000001</cx:pt>
          <cx:pt idx="2120">3.1000000000000001</cx:pt>
          <cx:pt idx="2121">0</cx:pt>
          <cx:pt idx="2122">0</cx:pt>
          <cx:pt idx="2123">0</cx:pt>
          <cx:pt idx="2124">0</cx:pt>
          <cx:pt idx="2125">0</cx:pt>
          <cx:pt idx="2126">3.6000000000000001</cx:pt>
          <cx:pt idx="2127">0</cx:pt>
          <cx:pt idx="2128">0</cx:pt>
          <cx:pt idx="2129">3.7000000000000002</cx:pt>
          <cx:pt idx="2130">3.6000000000000001</cx:pt>
          <cx:pt idx="2131">3.2999999999999998</cx:pt>
          <cx:pt idx="2132">3.2999999999999998</cx:pt>
          <cx:pt idx="2133">0</cx:pt>
          <cx:pt idx="2134">0</cx:pt>
          <cx:pt idx="2135">0</cx:pt>
          <cx:pt idx="2136">0</cx:pt>
          <cx:pt idx="2137">0</cx:pt>
          <cx:pt idx="2138">0</cx:pt>
          <cx:pt idx="2139">3.2999999999999998</cx:pt>
          <cx:pt idx="2140">3.3999999999999999</cx:pt>
          <cx:pt idx="2141">3.2000000000000002</cx:pt>
          <cx:pt idx="2142">3.7000000000000002</cx:pt>
          <cx:pt idx="2143">0</cx:pt>
          <cx:pt idx="2144">3.2000000000000002</cx:pt>
          <cx:pt idx="2145">0</cx:pt>
          <cx:pt idx="2146">0</cx:pt>
          <cx:pt idx="2147">0</cx:pt>
          <cx:pt idx="2148">0</cx:pt>
          <cx:pt idx="2149">0</cx:pt>
          <cx:pt idx="2150">0</cx:pt>
          <cx:pt idx="2151">0</cx:pt>
          <cx:pt idx="2152">0</cx:pt>
          <cx:pt idx="2153">3.3999999999999999</cx:pt>
          <cx:pt idx="2154">3.2000000000000002</cx:pt>
          <cx:pt idx="2155">3.1000000000000001</cx:pt>
          <cx:pt idx="2156">0</cx:pt>
          <cx:pt idx="2157">0</cx:pt>
          <cx:pt idx="2158">4.2999999999999998</cx:pt>
          <cx:pt idx="2159">3.1000000000000001</cx:pt>
          <cx:pt idx="2160">3.7000000000000002</cx:pt>
          <cx:pt idx="2161">4.0999999999999996</cx:pt>
          <cx:pt idx="2162">4</cx:pt>
          <cx:pt idx="2163">4.2999999999999998</cx:pt>
          <cx:pt idx="2164">3.7999999999999998</cx:pt>
          <cx:pt idx="2165">3.6000000000000001</cx:pt>
          <cx:pt idx="2166">4.4000000000000004</cx:pt>
          <cx:pt idx="2167">4</cx:pt>
          <cx:pt idx="2168">4.0999999999999996</cx:pt>
          <cx:pt idx="2169">4</cx:pt>
          <cx:pt idx="2170">4.0999999999999996</cx:pt>
          <cx:pt idx="2171">3.8999999999999999</cx:pt>
          <cx:pt idx="2172">3.6000000000000001</cx:pt>
          <cx:pt idx="2173">3.2000000000000002</cx:pt>
          <cx:pt idx="2174">4.2000000000000002</cx:pt>
          <cx:pt idx="2175">0</cx:pt>
          <cx:pt idx="2176">3.6000000000000001</cx:pt>
          <cx:pt idx="2177">3.7000000000000002</cx:pt>
          <cx:pt idx="2178">3.7999999999999998</cx:pt>
          <cx:pt idx="2179">4.0999999999999996</cx:pt>
          <cx:pt idx="2180">3.8999999999999999</cx:pt>
          <cx:pt idx="2181">3.8999999999999999</cx:pt>
          <cx:pt idx="2182">3.7999999999999998</cx:pt>
          <cx:pt idx="2183">3.5</cx:pt>
          <cx:pt idx="2184">3.7000000000000002</cx:pt>
          <cx:pt idx="2185">3.7000000000000002</cx:pt>
          <cx:pt idx="2186">3.2999999999999998</cx:pt>
          <cx:pt idx="2187">3.6000000000000001</cx:pt>
          <cx:pt idx="2188">3.3999999999999999</cx:pt>
          <cx:pt idx="2189">3.7000000000000002</cx:pt>
          <cx:pt idx="2190">3.3999999999999999</cx:pt>
          <cx:pt idx="2191">3.5</cx:pt>
          <cx:pt idx="2192">0</cx:pt>
          <cx:pt idx="2193">3.2000000000000002</cx:pt>
          <cx:pt idx="2194">3.6000000000000001</cx:pt>
          <cx:pt idx="2195">3.2000000000000002</cx:pt>
          <cx:pt idx="2196">3.5</cx:pt>
          <cx:pt idx="2197">3.6000000000000001</cx:pt>
          <cx:pt idx="2198">3.2999999999999998</cx:pt>
          <cx:pt idx="2199">3.3999999999999999</cx:pt>
          <cx:pt idx="2200">3.3999999999999999</cx:pt>
          <cx:pt idx="2201">0</cx:pt>
          <cx:pt idx="2202">3.5</cx:pt>
          <cx:pt idx="2203">3.2000000000000002</cx:pt>
          <cx:pt idx="2204">3.2999999999999998</cx:pt>
          <cx:pt idx="2205">0</cx:pt>
          <cx:pt idx="2206">3.2999999999999998</cx:pt>
          <cx:pt idx="2207">2.7999999999999998</cx:pt>
          <cx:pt idx="2208">0</cx:pt>
          <cx:pt idx="2209">0</cx:pt>
          <cx:pt idx="2210">3.7000000000000002</cx:pt>
          <cx:pt idx="2211">3.5</cx:pt>
          <cx:pt idx="2212">3.5</cx:pt>
          <cx:pt idx="2213">0</cx:pt>
          <cx:pt idx="2214">3.2999999999999998</cx:pt>
          <cx:pt idx="2215">3.1000000000000001</cx:pt>
          <cx:pt idx="2216">0</cx:pt>
          <cx:pt idx="2217">3.1000000000000001</cx:pt>
          <cx:pt idx="2218">0</cx:pt>
          <cx:pt idx="2219">2.8999999999999999</cx:pt>
          <cx:pt idx="2220">0</cx:pt>
          <cx:pt idx="2221">0</cx:pt>
          <cx:pt idx="2222">0</cx:pt>
          <cx:pt idx="2223">0</cx:pt>
          <cx:pt idx="2224">0</cx:pt>
          <cx:pt idx="2225">0</cx:pt>
          <cx:pt idx="2226">0</cx:pt>
          <cx:pt idx="2227">0</cx:pt>
          <cx:pt idx="2228">2.8999999999999999</cx:pt>
          <cx:pt idx="2229">2.7999999999999998</cx:pt>
          <cx:pt idx="2230">0</cx:pt>
          <cx:pt idx="2231">0</cx:pt>
          <cx:pt idx="2232">0</cx:pt>
          <cx:pt idx="2233">0</cx:pt>
          <cx:pt idx="2234">3.3999999999999999</cx:pt>
          <cx:pt idx="2235">0</cx:pt>
          <cx:pt idx="2236">3.1000000000000001</cx:pt>
          <cx:pt idx="2237">0</cx:pt>
          <cx:pt idx="2238">3.1000000000000001</cx:pt>
          <cx:pt idx="2239">3.5</cx:pt>
          <cx:pt idx="2240">3.5</cx:pt>
          <cx:pt idx="2241">0</cx:pt>
          <cx:pt idx="2242">0</cx:pt>
          <cx:pt idx="2243">0</cx:pt>
          <cx:pt idx="2244">0</cx:pt>
          <cx:pt idx="2245">3.1000000000000001</cx:pt>
          <cx:pt idx="2246">0</cx:pt>
          <cx:pt idx="2247">0</cx:pt>
          <cx:pt idx="2248">0</cx:pt>
          <cx:pt idx="2249">0</cx:pt>
          <cx:pt idx="2250">0</cx:pt>
          <cx:pt idx="2251">0</cx:pt>
          <cx:pt idx="2252">0</cx:pt>
          <cx:pt idx="2253">0</cx:pt>
          <cx:pt idx="2254">0</cx:pt>
          <cx:pt idx="2255">0</cx:pt>
          <cx:pt idx="2256">0</cx:pt>
          <cx:pt idx="2257">3.2000000000000002</cx:pt>
          <cx:pt idx="2258">0</cx:pt>
          <cx:pt idx="2259">0</cx:pt>
          <cx:pt idx="2260">2.8999999999999999</cx:pt>
          <cx:pt idx="2261">0</cx:pt>
          <cx:pt idx="2262">0</cx:pt>
          <cx:pt idx="2263">0</cx:pt>
          <cx:pt idx="2264">0</cx:pt>
          <cx:pt idx="2265">0</cx:pt>
          <cx:pt idx="2266">0</cx:pt>
          <cx:pt idx="2267">0</cx:pt>
          <cx:pt idx="2268">0</cx:pt>
          <cx:pt idx="2269">0</cx:pt>
          <cx:pt idx="2270">0</cx:pt>
          <cx:pt idx="2271">0</cx:pt>
          <cx:pt idx="2272">0</cx:pt>
          <cx:pt idx="2273">0</cx:pt>
          <cx:pt idx="2274">0</cx:pt>
          <cx:pt idx="2275">0</cx:pt>
          <cx:pt idx="2276">0</cx:pt>
          <cx:pt idx="2277">3.2000000000000002</cx:pt>
          <cx:pt idx="2278">3.2000000000000002</cx:pt>
          <cx:pt idx="2279">2.7000000000000002</cx:pt>
          <cx:pt idx="2280">3.2999999999999998</cx:pt>
          <cx:pt idx="2281">3</cx:pt>
          <cx:pt idx="2282">0</cx:pt>
          <cx:pt idx="2283">0</cx:pt>
          <cx:pt idx="2284">3.3999999999999999</cx:pt>
          <cx:pt idx="2285">2.6000000000000001</cx:pt>
          <cx:pt idx="2286">3.3999999999999999</cx:pt>
          <cx:pt idx="2287">3.1000000000000001</cx:pt>
          <cx:pt idx="2288">3.6000000000000001</cx:pt>
          <cx:pt idx="2289">3.3999999999999999</cx:pt>
          <cx:pt idx="2290">0</cx:pt>
          <cx:pt idx="2291">3.5</cx:pt>
          <cx:pt idx="2292">0</cx:pt>
          <cx:pt idx="2293">0</cx:pt>
          <cx:pt idx="2294">0</cx:pt>
          <cx:pt idx="2295">0</cx:pt>
          <cx:pt idx="2296">0</cx:pt>
          <cx:pt idx="2297">0</cx:pt>
          <cx:pt idx="2298">0</cx:pt>
          <cx:pt idx="2299">0</cx:pt>
          <cx:pt idx="2300">0</cx:pt>
          <cx:pt idx="2301">0</cx:pt>
          <cx:pt idx="2302">0</cx:pt>
          <cx:pt idx="2303">0</cx:pt>
          <cx:pt idx="2304">0</cx:pt>
          <cx:pt idx="2305">3.7999999999999998</cx:pt>
          <cx:pt idx="2306">3.7000000000000002</cx:pt>
          <cx:pt idx="2307">3.7000000000000002</cx:pt>
          <cx:pt idx="2308">3.6000000000000001</cx:pt>
          <cx:pt idx="2309">3.5</cx:pt>
          <cx:pt idx="2310">3.5</cx:pt>
          <cx:pt idx="2311">3.3999999999999999</cx:pt>
          <cx:pt idx="2312">3.3999999999999999</cx:pt>
          <cx:pt idx="2313">3.3999999999999999</cx:pt>
          <cx:pt idx="2314">3.3999999999999999</cx:pt>
          <cx:pt idx="2315">2.5</cx:pt>
          <cx:pt idx="2316">2.6000000000000001</cx:pt>
          <cx:pt idx="2317">2.7000000000000002</cx:pt>
          <cx:pt idx="2318">2.7000000000000002</cx:pt>
          <cx:pt idx="2319">2.7999999999999998</cx:pt>
          <cx:pt idx="2320">2.7999999999999998</cx:pt>
          <cx:pt idx="2321">2.8999999999999999</cx:pt>
          <cx:pt idx="2322">3</cx:pt>
          <cx:pt idx="2323">3</cx:pt>
          <cx:pt idx="2324">3</cx:pt>
          <cx:pt idx="2325">3.1000000000000001</cx:pt>
          <cx:pt idx="2326">3.1000000000000001</cx:pt>
          <cx:pt idx="2327">3.1000000000000001</cx:pt>
          <cx:pt idx="2328">3.1000000000000001</cx:pt>
          <cx:pt idx="2329">3.2000000000000002</cx:pt>
          <cx:pt idx="2330">3.2000000000000002</cx:pt>
          <cx:pt idx="2331">3.2000000000000002</cx:pt>
          <cx:pt idx="2332">3.2000000000000002</cx:pt>
          <cx:pt idx="2333">3.2000000000000002</cx:pt>
          <cx:pt idx="2334">3.2999999999999998</cx:pt>
          <cx:pt idx="2335">3.2999999999999998</cx:pt>
          <cx:pt idx="2336">3.2999999999999998</cx:pt>
          <cx:pt idx="2337">3.2999999999999998</cx:pt>
          <cx:pt idx="2338">0</cx:pt>
          <cx:pt idx="2339">0</cx:pt>
          <cx:pt idx="2340">0</cx:pt>
          <cx:pt idx="2341">0</cx:pt>
          <cx:pt idx="2342">0</cx:pt>
          <cx:pt idx="2343">0</cx:pt>
          <cx:pt idx="2344">0</cx:pt>
          <cx:pt idx="2345">0</cx:pt>
          <cx:pt idx="2346">0</cx:pt>
          <cx:pt idx="2347">0</cx:pt>
          <cx:pt idx="2348">0</cx:pt>
          <cx:pt idx="2349">0</cx:pt>
          <cx:pt idx="2350">0</cx:pt>
          <cx:pt idx="2351">0</cx:pt>
          <cx:pt idx="2352">0</cx:pt>
          <cx:pt idx="2353">0</cx:pt>
          <cx:pt idx="2354">0</cx:pt>
          <cx:pt idx="2355">0</cx:pt>
          <cx:pt idx="2356">0</cx:pt>
          <cx:pt idx="2357">0</cx:pt>
          <cx:pt idx="2358">0</cx:pt>
          <cx:pt idx="2359">0</cx:pt>
          <cx:pt idx="2360">0</cx:pt>
          <cx:pt idx="2361">0</cx:pt>
          <cx:pt idx="2362">0</cx:pt>
          <cx:pt idx="2363">0</cx:pt>
          <cx:pt idx="2364">0</cx:pt>
          <cx:pt idx="2365">0</cx:pt>
          <cx:pt idx="2366">0</cx:pt>
          <cx:pt idx="2367">0</cx:pt>
          <cx:pt idx="2368">0</cx:pt>
          <cx:pt idx="2369">0</cx:pt>
          <cx:pt idx="2370">0</cx:pt>
          <cx:pt idx="2371">0</cx:pt>
          <cx:pt idx="2372">0</cx:pt>
          <cx:pt idx="2373">0</cx:pt>
          <cx:pt idx="2374">0</cx:pt>
          <cx:pt idx="2375">0</cx:pt>
          <cx:pt idx="2376">0</cx:pt>
          <cx:pt idx="2377">0</cx:pt>
          <cx:pt idx="2378">0</cx:pt>
          <cx:pt idx="2379">0</cx:pt>
          <cx:pt idx="2380">0</cx:pt>
          <cx:pt idx="2381">0</cx:pt>
          <cx:pt idx="2382">0</cx:pt>
          <cx:pt idx="2383">0</cx:pt>
          <cx:pt idx="2384">0</cx:pt>
          <cx:pt idx="2385">0</cx:pt>
          <cx:pt idx="2386">0</cx:pt>
          <cx:pt idx="2387">0</cx:pt>
          <cx:pt idx="2388">0</cx:pt>
          <cx:pt idx="2389">0</cx:pt>
          <cx:pt idx="2390">0</cx:pt>
          <cx:pt idx="2391">0</cx:pt>
          <cx:pt idx="2392">0</cx:pt>
          <cx:pt idx="2393">0</cx:pt>
          <cx:pt idx="2394">0</cx:pt>
          <cx:pt idx="2395">0</cx:pt>
          <cx:pt idx="2396">0</cx:pt>
          <cx:pt idx="2397">0</cx:pt>
          <cx:pt idx="2398">0</cx:pt>
          <cx:pt idx="2399">0</cx:pt>
          <cx:pt idx="2400">4.9000000000000004</cx:pt>
          <cx:pt idx="2401">4.2000000000000002</cx:pt>
          <cx:pt idx="2402">4</cx:pt>
          <cx:pt idx="2403">3.6000000000000001</cx:pt>
          <cx:pt idx="2404">4</cx:pt>
          <cx:pt idx="2405">3.7999999999999998</cx:pt>
          <cx:pt idx="2406">4.0999999999999996</cx:pt>
          <cx:pt idx="2407">4.2000000000000002</cx:pt>
          <cx:pt idx="2408">4.0999999999999996</cx:pt>
          <cx:pt idx="2409">3.7999999999999998</cx:pt>
          <cx:pt idx="2410">4.2999999999999998</cx:pt>
          <cx:pt idx="2411">4.0999999999999996</cx:pt>
          <cx:pt idx="2412">4</cx:pt>
          <cx:pt idx="2413">3.8999999999999999</cx:pt>
          <cx:pt idx="2414">4.2000000000000002</cx:pt>
          <cx:pt idx="2415">3.8999999999999999</cx:pt>
          <cx:pt idx="2416">4</cx:pt>
          <cx:pt idx="2417">4.2000000000000002</cx:pt>
          <cx:pt idx="2418">3.7000000000000002</cx:pt>
          <cx:pt idx="2419">3.6000000000000001</cx:pt>
          <cx:pt idx="2420">4.0999999999999996</cx:pt>
          <cx:pt idx="2421">4.7000000000000002</cx:pt>
          <cx:pt idx="2422">3.7999999999999998</cx:pt>
          <cx:pt idx="2423">4.2000000000000002</cx:pt>
          <cx:pt idx="2424">4.2000000000000002</cx:pt>
          <cx:pt idx="2425">4.0999999999999996</cx:pt>
          <cx:pt idx="2426">3.8999999999999999</cx:pt>
          <cx:pt idx="2427">4.4000000000000004</cx:pt>
          <cx:pt idx="2428">4.0999999999999996</cx:pt>
          <cx:pt idx="2429">4.2000000000000002</cx:pt>
          <cx:pt idx="2430">4</cx:pt>
          <cx:pt idx="2431">4.5</cx:pt>
          <cx:pt idx="2432">4</cx:pt>
          <cx:pt idx="2433">4.0999999999999996</cx:pt>
          <cx:pt idx="2434">4</cx:pt>
          <cx:pt idx="2435">4</cx:pt>
          <cx:pt idx="2436">3.8999999999999999</cx:pt>
          <cx:pt idx="2437">3.6000000000000001</cx:pt>
          <cx:pt idx="2438">4.0999999999999996</cx:pt>
          <cx:pt idx="2439">4.2000000000000002</cx:pt>
          <cx:pt idx="2440">3.6000000000000001</cx:pt>
          <cx:pt idx="2441">4.2999999999999998</cx:pt>
          <cx:pt idx="2442">4.2000000000000002</cx:pt>
          <cx:pt idx="2443">3.7999999999999998</cx:pt>
          <cx:pt idx="2444">4.2999999999999998</cx:pt>
          <cx:pt idx="2445">4.2000000000000002</cx:pt>
          <cx:pt idx="2446">3.7000000000000002</cx:pt>
          <cx:pt idx="2447">4.2000000000000002</cx:pt>
          <cx:pt idx="2448">3.7000000000000002</cx:pt>
          <cx:pt idx="2449">3.6000000000000001</cx:pt>
          <cx:pt idx="2450">3</cx:pt>
          <cx:pt idx="2451">3.7000000000000002</cx:pt>
          <cx:pt idx="2452">3.3999999999999999</cx:pt>
          <cx:pt idx="2453">3.2000000000000002</cx:pt>
          <cx:pt idx="2454">0</cx:pt>
          <cx:pt idx="2455">0</cx:pt>
          <cx:pt idx="2456">3.8999999999999999</cx:pt>
          <cx:pt idx="2457">3</cx:pt>
          <cx:pt idx="2458">3.5</cx:pt>
          <cx:pt idx="2459">3.7000000000000002</cx:pt>
          <cx:pt idx="2460">3.7999999999999998</cx:pt>
          <cx:pt idx="2461">3.2999999999999998</cx:pt>
          <cx:pt idx="2462">0</cx:pt>
          <cx:pt idx="2463">0</cx:pt>
          <cx:pt idx="2464">3.8999999999999999</cx:pt>
          <cx:pt idx="2465">3.5</cx:pt>
          <cx:pt idx="2466">0</cx:pt>
          <cx:pt idx="2467">3.2000000000000002</cx:pt>
          <cx:pt idx="2468">2.7999999999999998</cx:pt>
          <cx:pt idx="2469">3.7000000000000002</cx:pt>
          <cx:pt idx="2470">2.7999999999999998</cx:pt>
          <cx:pt idx="2471">3.5</cx:pt>
          <cx:pt idx="2472">3.2000000000000002</cx:pt>
          <cx:pt idx="2473">3.1000000000000001</cx:pt>
          <cx:pt idx="2474">3.2999999999999998</cx:pt>
          <cx:pt idx="2475">3.5</cx:pt>
          <cx:pt idx="2476">3.3999999999999999</cx:pt>
          <cx:pt idx="2477">3.2999999999999998</cx:pt>
          <cx:pt idx="2478">3.2000000000000002</cx:pt>
          <cx:pt idx="2479">3.2999999999999998</cx:pt>
          <cx:pt idx="2480">3.1000000000000001</cx:pt>
          <cx:pt idx="2481">3</cx:pt>
          <cx:pt idx="2482">3.2000000000000002</cx:pt>
          <cx:pt idx="2483">3.2000000000000002</cx:pt>
          <cx:pt idx="2484">3</cx:pt>
          <cx:pt idx="2485">3</cx:pt>
          <cx:pt idx="2486">3.1000000000000001</cx:pt>
          <cx:pt idx="2487">2.8999999999999999</cx:pt>
          <cx:pt idx="2488">3.1000000000000001</cx:pt>
          <cx:pt idx="2489">2.8999999999999999</cx:pt>
          <cx:pt idx="2490">3</cx:pt>
          <cx:pt idx="2491">2.7999999999999998</cx:pt>
          <cx:pt idx="2492">3</cx:pt>
          <cx:pt idx="2493">3</cx:pt>
          <cx:pt idx="2494">0</cx:pt>
          <cx:pt idx="2495">0</cx:pt>
          <cx:pt idx="2496">0</cx:pt>
          <cx:pt idx="2497">0</cx:pt>
          <cx:pt idx="2498">0</cx:pt>
          <cx:pt idx="2499">0</cx:pt>
          <cx:pt idx="2500">0</cx:pt>
          <cx:pt idx="2501">0</cx:pt>
          <cx:pt idx="2502">0</cx:pt>
          <cx:pt idx="2503">0</cx:pt>
          <cx:pt idx="2504">0</cx:pt>
          <cx:pt idx="2505">0</cx:pt>
          <cx:pt idx="2506">4.4000000000000004</cx:pt>
          <cx:pt idx="2507">3.3999999999999999</cx:pt>
          <cx:pt idx="2508">3.7000000000000002</cx:pt>
          <cx:pt idx="2509">3.2999999999999998</cx:pt>
          <cx:pt idx="2510">3.2999999999999998</cx:pt>
          <cx:pt idx="2511">3.7000000000000002</cx:pt>
          <cx:pt idx="2512">3.6000000000000001</cx:pt>
          <cx:pt idx="2513">3.5</cx:pt>
          <cx:pt idx="2514">3.2999999999999998</cx:pt>
          <cx:pt idx="2515">3.7999999999999998</cx:pt>
          <cx:pt idx="2516">3.6000000000000001</cx:pt>
          <cx:pt idx="2517">3.6000000000000001</cx:pt>
          <cx:pt idx="2518">3.3999999999999999</cx:pt>
          <cx:pt idx="2519">3.3999999999999999</cx:pt>
          <cx:pt idx="2520">3.3999999999999999</cx:pt>
          <cx:pt idx="2521">3.5</cx:pt>
          <cx:pt idx="2522">0</cx:pt>
          <cx:pt idx="2523">2.7000000000000002</cx:pt>
          <cx:pt idx="2524">3.2999999999999998</cx:pt>
          <cx:pt idx="2525">3.2000000000000002</cx:pt>
          <cx:pt idx="2526">3.1000000000000001</cx:pt>
          <cx:pt idx="2527">3.1000000000000001</cx:pt>
          <cx:pt idx="2528">3.2000000000000002</cx:pt>
          <cx:pt idx="2529">2.7000000000000002</cx:pt>
          <cx:pt idx="2530">0</cx:pt>
          <cx:pt idx="2531">0</cx:pt>
          <cx:pt idx="2532">2.8999999999999999</cx:pt>
          <cx:pt idx="2533">2.6000000000000001</cx:pt>
          <cx:pt idx="2534">0</cx:pt>
          <cx:pt idx="2535">4.4000000000000004</cx:pt>
          <cx:pt idx="2536">4.2000000000000002</cx:pt>
          <cx:pt idx="2537">4.2000000000000002</cx:pt>
          <cx:pt idx="2538">4.0999999999999996</cx:pt>
          <cx:pt idx="2539">4.0999999999999996</cx:pt>
          <cx:pt idx="2540">4.0999999999999996</cx:pt>
          <cx:pt idx="2541">4</cx:pt>
          <cx:pt idx="2542">4</cx:pt>
          <cx:pt idx="2543">4</cx:pt>
          <cx:pt idx="2544">4</cx:pt>
          <cx:pt idx="2545">2.2999999999999998</cx:pt>
          <cx:pt idx="2546">2.6000000000000001</cx:pt>
          <cx:pt idx="2547">2.6000000000000001</cx:pt>
          <cx:pt idx="2548">2.6000000000000001</cx:pt>
          <cx:pt idx="2549">2.6000000000000001</cx:pt>
          <cx:pt idx="2550">2.6000000000000001</cx:pt>
          <cx:pt idx="2551">2.6000000000000001</cx:pt>
          <cx:pt idx="2552">2.7000000000000002</cx:pt>
          <cx:pt idx="2553">2.7000000000000002</cx:pt>
          <cx:pt idx="2554">2.7000000000000002</cx:pt>
          <cx:pt idx="2555">2.7000000000000002</cx:pt>
          <cx:pt idx="2556">2.7000000000000002</cx:pt>
          <cx:pt idx="2557">2.7000000000000002</cx:pt>
          <cx:pt idx="2558">2.7999999999999998</cx:pt>
          <cx:pt idx="2559">2.7999999999999998</cx:pt>
          <cx:pt idx="2560">2.7999999999999998</cx:pt>
          <cx:pt idx="2561">2.7999999999999998</cx:pt>
          <cx:pt idx="2562">2.7999999999999998</cx:pt>
          <cx:pt idx="2563">2.7999999999999998</cx:pt>
          <cx:pt idx="2564">2.7999999999999998</cx:pt>
          <cx:pt idx="2565">2.7999999999999998</cx:pt>
          <cx:pt idx="2566">2.7999999999999998</cx:pt>
          <cx:pt idx="2567">2.7999999999999998</cx:pt>
          <cx:pt idx="2568">2.7999999999999998</cx:pt>
          <cx:pt idx="2569">2.8999999999999999</cx:pt>
          <cx:pt idx="2570">2.8999999999999999</cx:pt>
          <cx:pt idx="2571">2.8999999999999999</cx:pt>
          <cx:pt idx="2572">2.8999999999999999</cx:pt>
          <cx:pt idx="2573">2.8999999999999999</cx:pt>
          <cx:pt idx="2574">2.8999999999999999</cx:pt>
          <cx:pt idx="2575">2.8999999999999999</cx:pt>
          <cx:pt idx="2576">2.8999999999999999</cx:pt>
          <cx:pt idx="2577">2.8999999999999999</cx:pt>
          <cx:pt idx="2578">2.8999999999999999</cx:pt>
          <cx:pt idx="2579">2.8999999999999999</cx:pt>
          <cx:pt idx="2580">2.8999999999999999</cx:pt>
          <cx:pt idx="2581">2.8999999999999999</cx:pt>
          <cx:pt idx="2582">3</cx:pt>
          <cx:pt idx="2583">3</cx:pt>
          <cx:pt idx="2584">3</cx:pt>
          <cx:pt idx="2585">3</cx:pt>
          <cx:pt idx="2586">3.7000000000000002</cx:pt>
          <cx:pt idx="2587">3.7999999999999998</cx:pt>
          <cx:pt idx="2588">3.3999999999999999</cx:pt>
          <cx:pt idx="2589">3.6000000000000001</cx:pt>
          <cx:pt idx="2590">3.8999999999999999</cx:pt>
          <cx:pt idx="2591">3.8999999999999999</cx:pt>
          <cx:pt idx="2592">3.7999999999999998</cx:pt>
          <cx:pt idx="2593">3.7999999999999998</cx:pt>
          <cx:pt idx="2594">3.2999999999999998</cx:pt>
          <cx:pt idx="2595">3.8999999999999999</cx:pt>
          <cx:pt idx="2596">3.7000000000000002</cx:pt>
          <cx:pt idx="2597">3.3999999999999999</cx:pt>
          <cx:pt idx="2598">3.7000000000000002</cx:pt>
          <cx:pt idx="2599">3.7000000000000002</cx:pt>
          <cx:pt idx="2600">3.3999999999999999</cx:pt>
          <cx:pt idx="2601">3.6000000000000001</cx:pt>
          <cx:pt idx="2602">3.6000000000000001</cx:pt>
          <cx:pt idx="2603">3.6000000000000001</cx:pt>
          <cx:pt idx="2604">3.5</cx:pt>
          <cx:pt idx="2605">3.3999999999999999</cx:pt>
          <cx:pt idx="2606">3.6000000000000001</cx:pt>
          <cx:pt idx="2607">3.6000000000000001</cx:pt>
          <cx:pt idx="2608">3.8999999999999999</cx:pt>
          <cx:pt idx="2609">3.8999999999999999</cx:pt>
          <cx:pt idx="2610">3.6000000000000001</cx:pt>
          <cx:pt idx="2611">3.8999999999999999</cx:pt>
          <cx:pt idx="2612">3.7999999999999998</cx:pt>
          <cx:pt idx="2613">3.5</cx:pt>
          <cx:pt idx="2614">3.7999999999999998</cx:pt>
          <cx:pt idx="2615">3.7999999999999998</cx:pt>
          <cx:pt idx="2616">3.7999999999999998</cx:pt>
          <cx:pt idx="2617">3.7000000000000002</cx:pt>
          <cx:pt idx="2618">3.6000000000000001</cx:pt>
          <cx:pt idx="2619">3.3999999999999999</cx:pt>
          <cx:pt idx="2620">3.2999999999999998</cx:pt>
          <cx:pt idx="2621">3.2000000000000002</cx:pt>
          <cx:pt idx="2622">3.3999999999999999</cx:pt>
          <cx:pt idx="2623">0</cx:pt>
          <cx:pt idx="2624">0</cx:pt>
          <cx:pt idx="2625">3.7999999999999998</cx:pt>
          <cx:pt idx="2626">3.7999999999999998</cx:pt>
          <cx:pt idx="2627">3.7000000000000002</cx:pt>
          <cx:pt idx="2628">3.5</cx:pt>
          <cx:pt idx="2629">3.6000000000000001</cx:pt>
          <cx:pt idx="2630">3.2999999999999998</cx:pt>
          <cx:pt idx="2631">3.5</cx:pt>
          <cx:pt idx="2632">3.2999999999999998</cx:pt>
          <cx:pt idx="2633">3.3999999999999999</cx:pt>
          <cx:pt idx="2634">3.3999999999999999</cx:pt>
          <cx:pt idx="2635">3.2000000000000002</cx:pt>
          <cx:pt idx="2636">3.1000000000000001</cx:pt>
          <cx:pt idx="2637">0</cx:pt>
          <cx:pt idx="2638">3</cx:pt>
          <cx:pt idx="2639">3</cx:pt>
          <cx:pt idx="2640">0</cx:pt>
          <cx:pt idx="2641">0</cx:pt>
          <cx:pt idx="2642">0</cx:pt>
          <cx:pt idx="2643">0</cx:pt>
          <cx:pt idx="2644">0</cx:pt>
          <cx:pt idx="2645">0</cx:pt>
          <cx:pt idx="2646">3.1000000000000001</cx:pt>
          <cx:pt idx="2647">3.7999999999999998</cx:pt>
          <cx:pt idx="2648">3.6000000000000001</cx:pt>
          <cx:pt idx="2649">3.7000000000000002</cx:pt>
          <cx:pt idx="2650">3.3999999999999999</cx:pt>
          <cx:pt idx="2651">3.7000000000000002</cx:pt>
          <cx:pt idx="2652">3.5</cx:pt>
          <cx:pt idx="2653">3.2999999999999998</cx:pt>
          <cx:pt idx="2654">3.5</cx:pt>
          <cx:pt idx="2655">3.2999999999999998</cx:pt>
          <cx:pt idx="2656">3.2000000000000002</cx:pt>
          <cx:pt idx="2657">3.2000000000000002</cx:pt>
          <cx:pt idx="2658">3.2000000000000002</cx:pt>
          <cx:pt idx="2659">3.2000000000000002</cx:pt>
          <cx:pt idx="2660">0</cx:pt>
          <cx:pt idx="2661">3.2000000000000002</cx:pt>
          <cx:pt idx="2662">0</cx:pt>
          <cx:pt idx="2663">0</cx:pt>
          <cx:pt idx="2664">0</cx:pt>
          <cx:pt idx="2665">0</cx:pt>
          <cx:pt idx="2666">0</cx:pt>
          <cx:pt idx="2667">0</cx:pt>
          <cx:pt idx="2668">0</cx:pt>
          <cx:pt idx="2669">0</cx:pt>
          <cx:pt idx="2670">3.6000000000000001</cx:pt>
          <cx:pt idx="2671">3.6000000000000001</cx:pt>
          <cx:pt idx="2672">3.2999999999999998</cx:pt>
          <cx:pt idx="2673">3.1000000000000001</cx:pt>
          <cx:pt idx="2674">3.5</cx:pt>
          <cx:pt idx="2675">3.1000000000000001</cx:pt>
          <cx:pt idx="2676">3.1000000000000001</cx:pt>
          <cx:pt idx="2677">0</cx:pt>
          <cx:pt idx="2678">0</cx:pt>
          <cx:pt idx="2679">0</cx:pt>
          <cx:pt idx="2680">0</cx:pt>
          <cx:pt idx="2681">3.2999999999999998</cx:pt>
          <cx:pt idx="2682">3.7000000000000002</cx:pt>
          <cx:pt idx="2683">3.7000000000000002</cx:pt>
          <cx:pt idx="2684">3.3999999999999999</cx:pt>
          <cx:pt idx="2685">3.3999999999999999</cx:pt>
          <cx:pt idx="2686">3.1000000000000001</cx:pt>
          <cx:pt idx="2687">3.1000000000000001</cx:pt>
          <cx:pt idx="2688">3.3999999999999999</cx:pt>
          <cx:pt idx="2689">3.2000000000000002</cx:pt>
          <cx:pt idx="2690">3.2999999999999998</cx:pt>
          <cx:pt idx="2691">0</cx:pt>
          <cx:pt idx="2692">3.1000000000000001</cx:pt>
          <cx:pt idx="2693">3.2000000000000002</cx:pt>
          <cx:pt idx="2694">3.1000000000000001</cx:pt>
          <cx:pt idx="2695">0</cx:pt>
          <cx:pt idx="2696">0</cx:pt>
          <cx:pt idx="2697">0</cx:pt>
          <cx:pt idx="2698">0</cx:pt>
          <cx:pt idx="2699">0</cx:pt>
          <cx:pt idx="2700">0</cx:pt>
          <cx:pt idx="2701">0</cx:pt>
          <cx:pt idx="2702">0</cx:pt>
          <cx:pt idx="2703">0</cx:pt>
          <cx:pt idx="2704">0</cx:pt>
          <cx:pt idx="2705">3.7999999999999998</cx:pt>
          <cx:pt idx="2706">3.6000000000000001</cx:pt>
          <cx:pt idx="2707">3.5</cx:pt>
          <cx:pt idx="2708">3.3999999999999999</cx:pt>
          <cx:pt idx="2709">3.1000000000000001</cx:pt>
          <cx:pt idx="2710">0</cx:pt>
          <cx:pt idx="2711">0</cx:pt>
          <cx:pt idx="2712">0</cx:pt>
          <cx:pt idx="2713">0</cx:pt>
          <cx:pt idx="2714">3.1000000000000001</cx:pt>
          <cx:pt idx="2715">0</cx:pt>
          <cx:pt idx="2716">3.1000000000000001</cx:pt>
          <cx:pt idx="2717">0</cx:pt>
          <cx:pt idx="2718">3.7000000000000002</cx:pt>
          <cx:pt idx="2719">0</cx:pt>
          <cx:pt idx="2720">3.1000000000000001</cx:pt>
          <cx:pt idx="2721">0</cx:pt>
          <cx:pt idx="2722">0</cx:pt>
          <cx:pt idx="2723">0</cx:pt>
          <cx:pt idx="2724">0</cx:pt>
          <cx:pt idx="2725">0</cx:pt>
          <cx:pt idx="2726">0</cx:pt>
          <cx:pt idx="2727">0</cx:pt>
          <cx:pt idx="2728">0</cx:pt>
          <cx:pt idx="2729">3.6000000000000001</cx:pt>
          <cx:pt idx="2730">4.4000000000000004</cx:pt>
          <cx:pt idx="2731">4.4000000000000004</cx:pt>
          <cx:pt idx="2732">4.4000000000000004</cx:pt>
          <cx:pt idx="2733">2.7000000000000002</cx:pt>
          <cx:pt idx="2734">3.3999999999999999</cx:pt>
          <cx:pt idx="2735">3.3999999999999999</cx:pt>
          <cx:pt idx="2736">4.4000000000000004</cx:pt>
          <cx:pt idx="2737">3.7999999999999998</cx:pt>
          <cx:pt idx="2738">4.2999999999999998</cx:pt>
          <cx:pt idx="2739">3.8999999999999999</cx:pt>
          <cx:pt idx="2740">4.4000000000000004</cx:pt>
          <cx:pt idx="2741">4</cx:pt>
          <cx:pt idx="2742">4</cx:pt>
          <cx:pt idx="2743">3.7000000000000002</cx:pt>
          <cx:pt idx="2744">4.5</cx:pt>
          <cx:pt idx="2745">4.2000000000000002</cx:pt>
          <cx:pt idx="2746">4.4000000000000004</cx:pt>
          <cx:pt idx="2747">2.6000000000000001</cx:pt>
          <cx:pt idx="2748">3.7999999999999998</cx:pt>
          <cx:pt idx="2749">3.6000000000000001</cx:pt>
          <cx:pt idx="2750">4.4000000000000004</cx:pt>
          <cx:pt idx="2751">3.8999999999999999</cx:pt>
          <cx:pt idx="2752">3.7999999999999998</cx:pt>
          <cx:pt idx="2753">3.8999999999999999</cx:pt>
          <cx:pt idx="2754">3.7000000000000002</cx:pt>
          <cx:pt idx="2755">3.8999999999999999</cx:pt>
          <cx:pt idx="2756">4</cx:pt>
          <cx:pt idx="2757">3.7999999999999998</cx:pt>
          <cx:pt idx="2758">3.7000000000000002</cx:pt>
          <cx:pt idx="2759">3.2999999999999998</cx:pt>
          <cx:pt idx="2760">4</cx:pt>
          <cx:pt idx="2761">3.7999999999999998</cx:pt>
          <cx:pt idx="2762">3.7000000000000002</cx:pt>
          <cx:pt idx="2763">3.8999999999999999</cx:pt>
          <cx:pt idx="2764">3.6000000000000001</cx:pt>
          <cx:pt idx="2765">3.8999999999999999</cx:pt>
          <cx:pt idx="2766">3.8999999999999999</cx:pt>
          <cx:pt idx="2767">4</cx:pt>
          <cx:pt idx="2768">3.8999999999999999</cx:pt>
          <cx:pt idx="2769">4</cx:pt>
          <cx:pt idx="2770">4</cx:pt>
          <cx:pt idx="2771">3.8999999999999999</cx:pt>
          <cx:pt idx="2772">3.3999999999999999</cx:pt>
          <cx:pt idx="2773">4.2999999999999998</cx:pt>
          <cx:pt idx="2774">0</cx:pt>
          <cx:pt idx="2775">3.7000000000000002</cx:pt>
          <cx:pt idx="2776">3.1000000000000001</cx:pt>
          <cx:pt idx="2777">0</cx:pt>
          <cx:pt idx="2778">3.2999999999999998</cx:pt>
          <cx:pt idx="2779">3.2000000000000002</cx:pt>
          <cx:pt idx="2780">3.3999999999999999</cx:pt>
          <cx:pt idx="2781">3.6000000000000001</cx:pt>
          <cx:pt idx="2782">3.6000000000000001</cx:pt>
          <cx:pt idx="2783">3.8999999999999999</cx:pt>
          <cx:pt idx="2784">3.1000000000000001</cx:pt>
          <cx:pt idx="2785">0</cx:pt>
          <cx:pt idx="2786">0</cx:pt>
          <cx:pt idx="2787">3.3999999999999999</cx:pt>
          <cx:pt idx="2788">3.6000000000000001</cx:pt>
          <cx:pt idx="2789">3.1000000000000001</cx:pt>
          <cx:pt idx="2790">3.2999999999999998</cx:pt>
          <cx:pt idx="2791">0</cx:pt>
          <cx:pt idx="2792">0</cx:pt>
          <cx:pt idx="2793">0</cx:pt>
          <cx:pt idx="2794">0</cx:pt>
          <cx:pt idx="2795">0</cx:pt>
          <cx:pt idx="2796">0</cx:pt>
          <cx:pt idx="2797">0</cx:pt>
          <cx:pt idx="2798">0</cx:pt>
          <cx:pt idx="2799">3.1000000000000001</cx:pt>
          <cx:pt idx="2800">0</cx:pt>
          <cx:pt idx="2801">4.2000000000000002</cx:pt>
          <cx:pt idx="2802">4</cx:pt>
          <cx:pt idx="2803">4</cx:pt>
          <cx:pt idx="2804">3.8999999999999999</cx:pt>
          <cx:pt idx="2805">3.7000000000000002</cx:pt>
          <cx:pt idx="2806">3.7999999999999998</cx:pt>
          <cx:pt idx="2807">3.8999999999999999</cx:pt>
          <cx:pt idx="2808">3.5</cx:pt>
          <cx:pt idx="2809">3.3999999999999999</cx:pt>
          <cx:pt idx="2810">3.7000000000000002</cx:pt>
          <cx:pt idx="2811">3.6000000000000001</cx:pt>
          <cx:pt idx="2812">3.5</cx:pt>
          <cx:pt idx="2813">3.2000000000000002</cx:pt>
          <cx:pt idx="2814">3.3999999999999999</cx:pt>
          <cx:pt idx="2815">3.7000000000000002</cx:pt>
          <cx:pt idx="2816">0</cx:pt>
          <cx:pt idx="2817">3.5</cx:pt>
          <cx:pt idx="2818">3.6000000000000001</cx:pt>
          <cx:pt idx="2819">3.1000000000000001</cx:pt>
          <cx:pt idx="2820">0</cx:pt>
          <cx:pt idx="2821">3.1000000000000001</cx:pt>
          <cx:pt idx="2822">0</cx:pt>
          <cx:pt idx="2823">3.3999999999999999</cx:pt>
          <cx:pt idx="2824">2.8999999999999999</cx:pt>
          <cx:pt idx="2825">3.3999999999999999</cx:pt>
          <cx:pt idx="2826">0</cx:pt>
          <cx:pt idx="2827">3.1000000000000001</cx:pt>
          <cx:pt idx="2828">3.2999999999999998</cx:pt>
          <cx:pt idx="2829">3.2000000000000002</cx:pt>
          <cx:pt idx="2830">3.2999999999999998</cx:pt>
          <cx:pt idx="2831">3.2999999999999998</cx:pt>
          <cx:pt idx="2832">0</cx:pt>
          <cx:pt idx="2833">0</cx:pt>
          <cx:pt idx="2834">2.7999999999999998</cx:pt>
          <cx:pt idx="2835">0</cx:pt>
          <cx:pt idx="2836">3.1000000000000001</cx:pt>
          <cx:pt idx="2837">3.1000000000000001</cx:pt>
          <cx:pt idx="2838">0</cx:pt>
          <cx:pt idx="2839">2.8999999999999999</cx:pt>
          <cx:pt idx="2840">0</cx:pt>
          <cx:pt idx="2841">3.2000000000000002</cx:pt>
          <cx:pt idx="2842">0</cx:pt>
          <cx:pt idx="2843">0</cx:pt>
          <cx:pt idx="2844">0</cx:pt>
          <cx:pt idx="2845">3.1000000000000001</cx:pt>
          <cx:pt idx="2846">0</cx:pt>
          <cx:pt idx="2847">0</cx:pt>
          <cx:pt idx="2848">0</cx:pt>
          <cx:pt idx="2849">0</cx:pt>
          <cx:pt idx="2850">0</cx:pt>
          <cx:pt idx="2851">0</cx:pt>
          <cx:pt idx="2852">0</cx:pt>
          <cx:pt idx="2853">0</cx:pt>
          <cx:pt idx="2854">0</cx:pt>
          <cx:pt idx="2855">0</cx:pt>
          <cx:pt idx="2856">0</cx:pt>
          <cx:pt idx="2857">0</cx:pt>
          <cx:pt idx="2858">0</cx:pt>
          <cx:pt idx="2859">0</cx:pt>
          <cx:pt idx="2860">0</cx:pt>
          <cx:pt idx="2861">0</cx:pt>
          <cx:pt idx="2862">0</cx:pt>
          <cx:pt idx="2863">0</cx:pt>
          <cx:pt idx="2864">0</cx:pt>
          <cx:pt idx="2865">0</cx:pt>
          <cx:pt idx="2866">0</cx:pt>
          <cx:pt idx="2867">0</cx:pt>
          <cx:pt idx="2868">0</cx:pt>
          <cx:pt idx="2869">0</cx:pt>
          <cx:pt idx="2870">0</cx:pt>
          <cx:pt idx="2871">0</cx:pt>
          <cx:pt idx="2872">0</cx:pt>
          <cx:pt idx="2873">0</cx:pt>
          <cx:pt idx="2874">0</cx:pt>
          <cx:pt idx="2875">0</cx:pt>
          <cx:pt idx="2876">0</cx:pt>
          <cx:pt idx="2877">0</cx:pt>
          <cx:pt idx="2878">3.1000000000000001</cx:pt>
          <cx:pt idx="2879">0</cx:pt>
          <cx:pt idx="2880">0</cx:pt>
          <cx:pt idx="2881">0</cx:pt>
          <cx:pt idx="2882">4.2000000000000002</cx:pt>
          <cx:pt idx="2883">4.0999999999999996</cx:pt>
          <cx:pt idx="2884">4.0999999999999996</cx:pt>
          <cx:pt idx="2885">4.0999999999999996</cx:pt>
          <cx:pt idx="2886">4.0999999999999996</cx:pt>
          <cx:pt idx="2887">4</cx:pt>
          <cx:pt idx="2888">4</cx:pt>
          <cx:pt idx="2889">4</cx:pt>
          <cx:pt idx="2890">4</cx:pt>
          <cx:pt idx="2891">4</cx:pt>
          <cx:pt idx="2892">4</cx:pt>
          <cx:pt idx="2893">4</cx:pt>
          <cx:pt idx="2894">2.2999999999999998</cx:pt>
          <cx:pt idx="2895">2.3999999999999999</cx:pt>
          <cx:pt idx="2896">2.6000000000000001</cx:pt>
          <cx:pt idx="2897">2.6000000000000001</cx:pt>
          <cx:pt idx="2898">2.7000000000000002</cx:pt>
          <cx:pt idx="2899">2.7000000000000002</cx:pt>
          <cx:pt idx="2900">2.7000000000000002</cx:pt>
          <cx:pt idx="2901">2.7000000000000002</cx:pt>
          <cx:pt idx="2902">2.7000000000000002</cx:pt>
          <cx:pt idx="2903">2.7000000000000002</cx:pt>
          <cx:pt idx="2904">2.7000000000000002</cx:pt>
          <cx:pt idx="2905">2.7000000000000002</cx:pt>
          <cx:pt idx="2906">2.7000000000000002</cx:pt>
          <cx:pt idx="2907">2.7999999999999998</cx:pt>
          <cx:pt idx="2908">2.7999999999999998</cx:pt>
          <cx:pt idx="2909">2.7999999999999998</cx:pt>
          <cx:pt idx="2910">2.7999999999999998</cx:pt>
          <cx:pt idx="2911">2.7999999999999998</cx:pt>
          <cx:pt idx="2912">2.7999999999999998</cx:pt>
          <cx:pt idx="2913">2.7999999999999998</cx:pt>
          <cx:pt idx="2914">2.7999999999999998</cx:pt>
          <cx:pt idx="2915">2.7999999999999998</cx:pt>
          <cx:pt idx="2916">2.7999999999999998</cx:pt>
          <cx:pt idx="2917">2.8999999999999999</cx:pt>
          <cx:pt idx="2918">2.8999999999999999</cx:pt>
          <cx:pt idx="2919">2.8999999999999999</cx:pt>
          <cx:pt idx="2920">2.8999999999999999</cx:pt>
          <cx:pt idx="2921">2.8999999999999999</cx:pt>
          <cx:pt idx="2922">2.8999999999999999</cx:pt>
          <cx:pt idx="2923">2.8999999999999999</cx:pt>
          <cx:pt idx="2924">2.8999999999999999</cx:pt>
          <cx:pt idx="2925">2.8999999999999999</cx:pt>
          <cx:pt idx="2926">2.8999999999999999</cx:pt>
          <cx:pt idx="2927">2.8999999999999999</cx:pt>
          <cx:pt idx="2928">2.8999999999999999</cx:pt>
          <cx:pt idx="2929">2.8999999999999999</cx:pt>
          <cx:pt idx="2930">2.8999999999999999</cx:pt>
          <cx:pt idx="2931">2.8999999999999999</cx:pt>
          <cx:pt idx="2932">2.8999999999999999</cx:pt>
          <cx:pt idx="2933">2.8999999999999999</cx:pt>
          <cx:pt idx="2934">2.8999999999999999</cx:pt>
          <cx:pt idx="2935">2.8999999999999999</cx:pt>
          <cx:pt idx="2936">2.8999999999999999</cx:pt>
          <cx:pt idx="2937">3</cx:pt>
          <cx:pt idx="2938">3</cx:pt>
          <cx:pt idx="2939">3</cx:pt>
          <cx:pt idx="2940">3</cx:pt>
          <cx:pt idx="2941">3</cx:pt>
          <cx:pt idx="2942">3</cx:pt>
          <cx:pt idx="2943">3</cx:pt>
          <cx:pt idx="2944">3.8999999999999999</cx:pt>
          <cx:pt idx="2945">3.7000000000000002</cx:pt>
          <cx:pt idx="2946">3.6000000000000001</cx:pt>
          <cx:pt idx="2947">3.5</cx:pt>
          <cx:pt idx="2948">3.7999999999999998</cx:pt>
          <cx:pt idx="2949">3.8999999999999999</cx:pt>
          <cx:pt idx="2950">3.7999999999999998</cx:pt>
          <cx:pt idx="2951">3.2999999999999998</cx:pt>
          <cx:pt idx="2952">3.7000000000000002</cx:pt>
          <cx:pt idx="2953">3.7999999999999998</cx:pt>
          <cx:pt idx="2954">3.7000000000000002</cx:pt>
          <cx:pt idx="2955">3.7000000000000002</cx:pt>
          <cx:pt idx="2956">3.7000000000000002</cx:pt>
          <cx:pt idx="2957">3.7999999999999998</cx:pt>
          <cx:pt idx="2958">3.7000000000000002</cx:pt>
          <cx:pt idx="2959">3.8999999999999999</cx:pt>
          <cx:pt idx="2960">3.7000000000000002</cx:pt>
          <cx:pt idx="2961">3.7999999999999998</cx:pt>
          <cx:pt idx="2962">3.6000000000000001</cx:pt>
          <cx:pt idx="2963">3.7000000000000002</cx:pt>
          <cx:pt idx="2964">3.7000000000000002</cx:pt>
          <cx:pt idx="2965">3.7999999999999998</cx:pt>
          <cx:pt idx="2966">3.7000000000000002</cx:pt>
          <cx:pt idx="2967">3.8999999999999999</cx:pt>
          <cx:pt idx="2968">3.7999999999999998</cx:pt>
          <cx:pt idx="2969">3.8999999999999999</cx:pt>
          <cx:pt idx="2970">3.6000000000000001</cx:pt>
          <cx:pt idx="2971">3.5</cx:pt>
          <cx:pt idx="2972">3.6000000000000001</cx:pt>
          <cx:pt idx="2973">3.7000000000000002</cx:pt>
          <cx:pt idx="2974">3.6000000000000001</cx:pt>
          <cx:pt idx="2975">3.6000000000000001</cx:pt>
          <cx:pt idx="2976">3.7999999999999998</cx:pt>
          <cx:pt idx="2977">3.5</cx:pt>
          <cx:pt idx="2978">3.3999999999999999</cx:pt>
          <cx:pt idx="2979">3.5</cx:pt>
          <cx:pt idx="2980">3.3999999999999999</cx:pt>
          <cx:pt idx="2981">3.7000000000000002</cx:pt>
          <cx:pt idx="2982">3.7000000000000002</cx:pt>
          <cx:pt idx="2983">3.7999999999999998</cx:pt>
          <cx:pt idx="2984">3.7000000000000002</cx:pt>
          <cx:pt idx="2985">3.6000000000000001</cx:pt>
          <cx:pt idx="2986">3.7000000000000002</cx:pt>
          <cx:pt idx="2987">3.8999999999999999</cx:pt>
          <cx:pt idx="2988">3.5</cx:pt>
          <cx:pt idx="2989">3.7999999999999998</cx:pt>
          <cx:pt idx="2990">3.5</cx:pt>
          <cx:pt idx="2991">3.3999999999999999</cx:pt>
          <cx:pt idx="2992">3.6000000000000001</cx:pt>
          <cx:pt idx="2993">3.2999999999999998</cx:pt>
          <cx:pt idx="2994">3.2000000000000002</cx:pt>
          <cx:pt idx="2995">3.5</cx:pt>
          <cx:pt idx="2996">3.2000000000000002</cx:pt>
          <cx:pt idx="2997">3.5</cx:pt>
          <cx:pt idx="2998">3.2000000000000002</cx:pt>
          <cx:pt idx="2999">3.3999999999999999</cx:pt>
          <cx:pt idx="3000">3.2999999999999998</cx:pt>
          <cx:pt idx="3001">3.1000000000000001</cx:pt>
          <cx:pt idx="3002">3.2999999999999998</cx:pt>
          <cx:pt idx="3003">0</cx:pt>
          <cx:pt idx="3004">0</cx:pt>
          <cx:pt idx="3005">3.2000000000000002</cx:pt>
          <cx:pt idx="3006">0</cx:pt>
          <cx:pt idx="3007">0</cx:pt>
          <cx:pt idx="3008">3.7000000000000002</cx:pt>
          <cx:pt idx="3009">3.8999999999999999</cx:pt>
          <cx:pt idx="3010">3.7999999999999998</cx:pt>
          <cx:pt idx="3011">3.8999999999999999</cx:pt>
          <cx:pt idx="3012">3.6000000000000001</cx:pt>
          <cx:pt idx="3013">3.3999999999999999</cx:pt>
          <cx:pt idx="3014">3.7000000000000002</cx:pt>
          <cx:pt idx="3015">3.7999999999999998</cx:pt>
          <cx:pt idx="3016">3.7999999999999998</cx:pt>
          <cx:pt idx="3017">3.5</cx:pt>
          <cx:pt idx="3018">3.3999999999999999</cx:pt>
          <cx:pt idx="3019">3.5</cx:pt>
          <cx:pt idx="3020">3.5</cx:pt>
          <cx:pt idx="3021">3.5</cx:pt>
          <cx:pt idx="3022">3.1000000000000001</cx:pt>
          <cx:pt idx="3023">3.5</cx:pt>
          <cx:pt idx="3024">3.6000000000000001</cx:pt>
          <cx:pt idx="3025">3.3999999999999999</cx:pt>
          <cx:pt idx="3026">0</cx:pt>
          <cx:pt idx="3027">0</cx:pt>
          <cx:pt idx="3028">3.5</cx:pt>
          <cx:pt idx="3029">3.3999999999999999</cx:pt>
          <cx:pt idx="3030">3.2999999999999998</cx:pt>
          <cx:pt idx="3031">3.1000000000000001</cx:pt>
          <cx:pt idx="3032">3.2000000000000002</cx:pt>
          <cx:pt idx="3033">0</cx:pt>
          <cx:pt idx="3034">3</cx:pt>
          <cx:pt idx="3035">0</cx:pt>
          <cx:pt idx="3036">0</cx:pt>
          <cx:pt idx="3037">3</cx:pt>
          <cx:pt idx="3038">0</cx:pt>
          <cx:pt idx="3039">0</cx:pt>
          <cx:pt idx="3040">0</cx:pt>
          <cx:pt idx="3041">0</cx:pt>
          <cx:pt idx="3042">0</cx:pt>
          <cx:pt idx="3043">3.6000000000000001</cx:pt>
          <cx:pt idx="3044">3.3999999999999999</cx:pt>
          <cx:pt idx="3045">3.1000000000000001</cx:pt>
          <cx:pt idx="3046">3.2999999999999998</cx:pt>
          <cx:pt idx="3047">3.2000000000000002</cx:pt>
          <cx:pt idx="3048">0</cx:pt>
          <cx:pt idx="3049">0</cx:pt>
          <cx:pt idx="3050">0</cx:pt>
          <cx:pt idx="3051">0</cx:pt>
          <cx:pt idx="3052">0</cx:pt>
          <cx:pt idx="3053">0</cx:pt>
          <cx:pt idx="3054">0</cx:pt>
          <cx:pt idx="3055">0</cx:pt>
          <cx:pt idx="3056">3.5</cx:pt>
          <cx:pt idx="3057">3.3999999999999999</cx:pt>
          <cx:pt idx="3058">3.6000000000000001</cx:pt>
          <cx:pt idx="3059">3.3999999999999999</cx:pt>
          <cx:pt idx="3060">3.3999999999999999</cx:pt>
          <cx:pt idx="3061">3.1000000000000001</cx:pt>
          <cx:pt idx="3062">3.6000000000000001</cx:pt>
          <cx:pt idx="3063">3.5</cx:pt>
          <cx:pt idx="3064">3.2000000000000002</cx:pt>
          <cx:pt idx="3065">3.2999999999999998</cx:pt>
          <cx:pt idx="3066">0</cx:pt>
          <cx:pt idx="3067">3.2999999999999998</cx:pt>
          <cx:pt idx="3068">3.1000000000000001</cx:pt>
          <cx:pt idx="3069">0</cx:pt>
          <cx:pt idx="3070">0</cx:pt>
          <cx:pt idx="3071">3</cx:pt>
          <cx:pt idx="3072">0</cx:pt>
          <cx:pt idx="3073">0</cx:pt>
          <cx:pt idx="3074">0</cx:pt>
          <cx:pt idx="3075">0</cx:pt>
          <cx:pt idx="3076">0</cx:pt>
          <cx:pt idx="3077">0</cx:pt>
          <cx:pt idx="3078">0</cx:pt>
          <cx:pt idx="3079">0</cx:pt>
          <cx:pt idx="3080">0</cx:pt>
          <cx:pt idx="3081">0</cx:pt>
          <cx:pt idx="3082">0</cx:pt>
          <cx:pt idx="3083">0</cx:pt>
          <cx:pt idx="3084">0</cx:pt>
          <cx:pt idx="3085">0</cx:pt>
          <cx:pt idx="3086">3.7000000000000002</cx:pt>
          <cx:pt idx="3087">3.8999999999999999</cx:pt>
          <cx:pt idx="3088">0</cx:pt>
          <cx:pt idx="3089">3.3999999999999999</cx:pt>
          <cx:pt idx="3090">3.2000000000000002</cx:pt>
          <cx:pt idx="3091">3.2999999999999998</cx:pt>
          <cx:pt idx="3092">3.2999999999999998</cx:pt>
          <cx:pt idx="3093">3</cx:pt>
          <cx:pt idx="3094">0</cx:pt>
          <cx:pt idx="3095">3.2999999999999998</cx:pt>
          <cx:pt idx="3096">3</cx:pt>
          <cx:pt idx="3097">0</cx:pt>
          <cx:pt idx="3098">0</cx:pt>
          <cx:pt idx="3099">0</cx:pt>
          <cx:pt idx="3100">0</cx:pt>
          <cx:pt idx="3101">3.6000000000000001</cx:pt>
          <cx:pt idx="3102">3.6000000000000001</cx:pt>
          <cx:pt idx="3103">3</cx:pt>
          <cx:pt idx="3104">0</cx:pt>
          <cx:pt idx="3105">0</cx:pt>
          <cx:pt idx="3106">3.2000000000000002</cx:pt>
          <cx:pt idx="3107">3</cx:pt>
          <cx:pt idx="3108">0</cx:pt>
          <cx:pt idx="3109">3.5</cx:pt>
          <cx:pt idx="3110">3.2000000000000002</cx:pt>
          <cx:pt idx="3111">0</cx:pt>
          <cx:pt idx="3112">3.2999999999999998</cx:pt>
          <cx:pt idx="3113">3.2999999999999998</cx:pt>
          <cx:pt idx="3114">3.1000000000000001</cx:pt>
          <cx:pt idx="3115">0</cx:pt>
          <cx:pt idx="3116">0</cx:pt>
          <cx:pt idx="3117">3.6000000000000001</cx:pt>
          <cx:pt idx="3118">3.6000000000000001</cx:pt>
          <cx:pt idx="3119">3.7000000000000002</cx:pt>
          <cx:pt idx="3120">3.6000000000000001</cx:pt>
          <cx:pt idx="3121">3.3999999999999999</cx:pt>
          <cx:pt idx="3122">3.7000000000000002</cx:pt>
          <cx:pt idx="3123">3.5</cx:pt>
          <cx:pt idx="3124">3.3999999999999999</cx:pt>
          <cx:pt idx="3125">3.2000000000000002</cx:pt>
          <cx:pt idx="3126">4.7999999999999998</cx:pt>
          <cx:pt idx="3127">4.5999999999999996</cx:pt>
          <cx:pt idx="3128">4.9000000000000004</cx:pt>
          <cx:pt idx="3129">4.4000000000000004</cx:pt>
          <cx:pt idx="3130">4.5999999999999996</cx:pt>
          <cx:pt idx="3131">4.7999999999999998</cx:pt>
          <cx:pt idx="3132">4.4000000000000004</cx:pt>
          <cx:pt idx="3133">4.4000000000000004</cx:pt>
          <cx:pt idx="3134">4.5</cx:pt>
          <cx:pt idx="3135">4.5</cx:pt>
          <cx:pt idx="3136">4.4000000000000004</cx:pt>
          <cx:pt idx="3137">4.4000000000000004</cx:pt>
          <cx:pt idx="3138">4.4000000000000004</cx:pt>
          <cx:pt idx="3139">4.7000000000000002</cx:pt>
          <cx:pt idx="3140">4.5</cx:pt>
          <cx:pt idx="3141">4.5999999999999996</cx:pt>
          <cx:pt idx="3142">4.7999999999999998</cx:pt>
          <cx:pt idx="3143">4.4000000000000004</cx:pt>
          <cx:pt idx="3144">4.2999999999999998</cx:pt>
          <cx:pt idx="3145">4.4000000000000004</cx:pt>
          <cx:pt idx="3146">4.5</cx:pt>
          <cx:pt idx="3147">4.4000000000000004</cx:pt>
          <cx:pt idx="3148">4</cx:pt>
          <cx:pt idx="3149">4.5999999999999996</cx:pt>
          <cx:pt idx="3150">4.2999999999999998</cx:pt>
          <cx:pt idx="3151">4.5</cx:pt>
          <cx:pt idx="3152">4.5999999999999996</cx:pt>
          <cx:pt idx="3153">4.5</cx:pt>
          <cx:pt idx="3154">4.2000000000000002</cx:pt>
          <cx:pt idx="3155">4.4000000000000004</cx:pt>
          <cx:pt idx="3156">4.5999999999999996</cx:pt>
          <cx:pt idx="3157">4.2000000000000002</cx:pt>
          <cx:pt idx="3158">4.2000000000000002</cx:pt>
          <cx:pt idx="3159">4.2999999999999998</cx:pt>
          <cx:pt idx="3160">4.2999999999999998</cx:pt>
          <cx:pt idx="3161">4.2000000000000002</cx:pt>
          <cx:pt idx="3162">4.5</cx:pt>
          <cx:pt idx="3163">4.2999999999999998</cx:pt>
          <cx:pt idx="3164">4.5</cx:pt>
          <cx:pt idx="3165">4.2000000000000002</cx:pt>
          <cx:pt idx="3166">4.4000000000000004</cx:pt>
          <cx:pt idx="3167">4.2000000000000002</cx:pt>
          <cx:pt idx="3168">4</cx:pt>
          <cx:pt idx="3169">4</cx:pt>
          <cx:pt idx="3170">4.4000000000000004</cx:pt>
          <cx:pt idx="3171">4.0999999999999996</cx:pt>
          <cx:pt idx="3172">4.4000000000000004</cx:pt>
          <cx:pt idx="3173">4.4000000000000004</cx:pt>
          <cx:pt idx="3174">4.5999999999999996</cx:pt>
          <cx:pt idx="3175">4.2000000000000002</cx:pt>
          <cx:pt idx="3176">4.2999999999999998</cx:pt>
          <cx:pt idx="3177">4.5</cx:pt>
          <cx:pt idx="3178">4.2999999999999998</cx:pt>
          <cx:pt idx="3179">4.2000000000000002</cx:pt>
          <cx:pt idx="3180">4.2999999999999998</cx:pt>
          <cx:pt idx="3181">4.2999999999999998</cx:pt>
          <cx:pt idx="3182">4.2999999999999998</cx:pt>
          <cx:pt idx="3183">4.2999999999999998</cx:pt>
          <cx:pt idx="3184">4.0999999999999996</cx:pt>
          <cx:pt idx="3185">4.2999999999999998</cx:pt>
          <cx:pt idx="3186">4.0999999999999996</cx:pt>
          <cx:pt idx="3187">4.0999999999999996</cx:pt>
          <cx:pt idx="3188">3.8999999999999999</cx:pt>
          <cx:pt idx="3189">4.2000000000000002</cx:pt>
          <cx:pt idx="3190">4</cx:pt>
          <cx:pt idx="3191">0</cx:pt>
          <cx:pt idx="3192">4.0999999999999996</cx:pt>
          <cx:pt idx="3193">4.2000000000000002</cx:pt>
          <cx:pt idx="3194">4.2000000000000002</cx:pt>
          <cx:pt idx="3195">3.8999999999999999</cx:pt>
          <cx:pt idx="3196">4.5</cx:pt>
          <cx:pt idx="3197">4.2999999999999998</cx:pt>
          <cx:pt idx="3198">4.5</cx:pt>
          <cx:pt idx="3199">4.2999999999999998</cx:pt>
          <cx:pt idx="3200">4.2999999999999998</cx:pt>
          <cx:pt idx="3201">3.8999999999999999</cx:pt>
          <cx:pt idx="3202">4.2999999999999998</cx:pt>
          <cx:pt idx="3203">4.0999999999999996</cx:pt>
          <cx:pt idx="3204">4.2999999999999998</cx:pt>
          <cx:pt idx="3205">4.2000000000000002</cx:pt>
          <cx:pt idx="3206">3.8999999999999999</cx:pt>
          <cx:pt idx="3207">4.2000000000000002</cx:pt>
          <cx:pt idx="3208">4.2000000000000002</cx:pt>
          <cx:pt idx="3209">3.8999999999999999</cx:pt>
          <cx:pt idx="3210">4</cx:pt>
          <cx:pt idx="3211">4</cx:pt>
          <cx:pt idx="3212">3.8999999999999999</cx:pt>
          <cx:pt idx="3213">3.7999999999999998</cx:pt>
          <cx:pt idx="3214">3.7000000000000002</cx:pt>
          <cx:pt idx="3215">4.5</cx:pt>
          <cx:pt idx="3216">3.8999999999999999</cx:pt>
          <cx:pt idx="3217">3.7000000000000002</cx:pt>
          <cx:pt idx="3218">3.3999999999999999</cx:pt>
          <cx:pt idx="3219">3.2999999999999998</cx:pt>
          <cx:pt idx="3220">0</cx:pt>
          <cx:pt idx="3221">0</cx:pt>
          <cx:pt idx="3222">0</cx:pt>
          <cx:pt idx="3223">0</cx:pt>
          <cx:pt idx="3224">0</cx:pt>
          <cx:pt idx="3225">0</cx:pt>
          <cx:pt idx="3226">0</cx:pt>
          <cx:pt idx="3227">0</cx:pt>
          <cx:pt idx="3228">0</cx:pt>
          <cx:pt idx="3229">0</cx:pt>
          <cx:pt idx="3230">0</cx:pt>
          <cx:pt idx="3231">0</cx:pt>
          <cx:pt idx="3232">0</cx:pt>
          <cx:pt idx="3233">0</cx:pt>
          <cx:pt idx="3234">0</cx:pt>
          <cx:pt idx="3235">0</cx:pt>
          <cx:pt idx="3236">0</cx:pt>
          <cx:pt idx="3237">0</cx:pt>
          <cx:pt idx="3238">0</cx:pt>
          <cx:pt idx="3239">0</cx:pt>
          <cx:pt idx="3240">0</cx:pt>
          <cx:pt idx="3241">3.7999999999999998</cx:pt>
          <cx:pt idx="3242">0</cx:pt>
          <cx:pt idx="3243">0</cx:pt>
          <cx:pt idx="3244">0</cx:pt>
          <cx:pt idx="3245">3.2999999999999998</cx:pt>
          <cx:pt idx="3246">3.7999999999999998</cx:pt>
          <cx:pt idx="3247">3.3999999999999999</cx:pt>
          <cx:pt idx="3248">3.3999999999999999</cx:pt>
          <cx:pt idx="3249">0</cx:pt>
          <cx:pt idx="3250">0</cx:pt>
          <cx:pt idx="3251">0</cx:pt>
          <cx:pt idx="3252">4.2999999999999998</cx:pt>
          <cx:pt idx="3253">4.9000000000000004</cx:pt>
          <cx:pt idx="3254">4.9000000000000004</cx:pt>
          <cx:pt idx="3255">4.7000000000000002</cx:pt>
          <cx:pt idx="3256">4.4000000000000004</cx:pt>
          <cx:pt idx="3257">4.4000000000000004</cx:pt>
          <cx:pt idx="3258">4.7000000000000002</cx:pt>
          <cx:pt idx="3259">4.0999999999999996</cx:pt>
          <cx:pt idx="3260">4.2000000000000002</cx:pt>
          <cx:pt idx="3261">4.2000000000000002</cx:pt>
          <cx:pt idx="3262">4.4000000000000004</cx:pt>
          <cx:pt idx="3263">4.2999999999999998</cx:pt>
          <cx:pt idx="3264">4.2000000000000002</cx:pt>
          <cx:pt idx="3265">4.5</cx:pt>
          <cx:pt idx="3266">4.2000000000000002</cx:pt>
          <cx:pt idx="3267">4.5999999999999996</cx:pt>
          <cx:pt idx="3268">4.0999999999999996</cx:pt>
          <cx:pt idx="3269">4.2000000000000002</cx:pt>
          <cx:pt idx="3270">4.0999999999999996</cx:pt>
          <cx:pt idx="3271">4.0999999999999996</cx:pt>
          <cx:pt idx="3272">4.2000000000000002</cx:pt>
          <cx:pt idx="3273">3.7999999999999998</cx:pt>
          <cx:pt idx="3274">4.0999999999999996</cx:pt>
          <cx:pt idx="3275">4.2999999999999998</cx:pt>
          <cx:pt idx="3276">4.0999999999999996</cx:pt>
          <cx:pt idx="3277">4.2000000000000002</cx:pt>
          <cx:pt idx="3278">3.7999999999999998</cx:pt>
          <cx:pt idx="3279">3.7000000000000002</cx:pt>
          <cx:pt idx="3280">4.0999999999999996</cx:pt>
          <cx:pt idx="3281">3.2000000000000002</cx:pt>
          <cx:pt idx="3282">4.0999999999999996</cx:pt>
          <cx:pt idx="3283">4</cx:pt>
          <cx:pt idx="3284">4.0999999999999996</cx:pt>
          <cx:pt idx="3285">4</cx:pt>
          <cx:pt idx="3286">4.2999999999999998</cx:pt>
          <cx:pt idx="3287">3.8999999999999999</cx:pt>
          <cx:pt idx="3288">3.7999999999999998</cx:pt>
          <cx:pt idx="3289">3.6000000000000001</cx:pt>
          <cx:pt idx="3290">4.4000000000000004</cx:pt>
          <cx:pt idx="3291">4.0999999999999996</cx:pt>
          <cx:pt idx="3292">3.8999999999999999</cx:pt>
          <cx:pt idx="3293">4</cx:pt>
          <cx:pt idx="3294">4</cx:pt>
          <cx:pt idx="3295">3.6000000000000001</cx:pt>
          <cx:pt idx="3296">4.0999999999999996</cx:pt>
          <cx:pt idx="3297">3.8999999999999999</cx:pt>
          <cx:pt idx="3298">3.8999999999999999</cx:pt>
          <cx:pt idx="3299">3.2999999999999998</cx:pt>
          <cx:pt idx="3300">4.2000000000000002</cx:pt>
          <cx:pt idx="3301">3.7000000000000002</cx:pt>
          <cx:pt idx="3302">4.0999999999999996</cx:pt>
          <cx:pt idx="3303">3.7999999999999998</cx:pt>
          <cx:pt idx="3304">4</cx:pt>
          <cx:pt idx="3305">3.3999999999999999</cx:pt>
          <cx:pt idx="3306">4</cx:pt>
          <cx:pt idx="3307">3.7000000000000002</cx:pt>
          <cx:pt idx="3308">4</cx:pt>
          <cx:pt idx="3309">4.2999999999999998</cx:pt>
          <cx:pt idx="3310">4.2000000000000002</cx:pt>
          <cx:pt idx="3311">4.9000000000000004</cx:pt>
          <cx:pt idx="3312">4.9000000000000004</cx:pt>
          <cx:pt idx="3313">4.9000000000000004</cx:pt>
          <cx:pt idx="3314">4.7999999999999998</cx:pt>
          <cx:pt idx="3315">4.7999999999999998</cx:pt>
          <cx:pt idx="3316">4.7999999999999998</cx:pt>
          <cx:pt idx="3317">4.7999999999999998</cx:pt>
          <cx:pt idx="3318">4.7000000000000002</cx:pt>
          <cx:pt idx="3319">4.7000000000000002</cx:pt>
          <cx:pt idx="3320">4.7000000000000002</cx:pt>
          <cx:pt idx="3321">4.7000000000000002</cx:pt>
          <cx:pt idx="3322">4.7000000000000002</cx:pt>
          <cx:pt idx="3323">4.7000000000000002</cx:pt>
          <cx:pt idx="3324">4.7000000000000002</cx:pt>
          <cx:pt idx="3325">4.7000000000000002</cx:pt>
          <cx:pt idx="3326">4.7000000000000002</cx:pt>
          <cx:pt idx="3327">4.7000000000000002</cx:pt>
          <cx:pt idx="3328">4.7000000000000002</cx:pt>
          <cx:pt idx="3329">4.7000000000000002</cx:pt>
          <cx:pt idx="3330">4.7000000000000002</cx:pt>
          <cx:pt idx="3331">4.7000000000000002</cx:pt>
          <cx:pt idx="3332">4.5999999999999996</cx:pt>
          <cx:pt idx="3333">4.5999999999999996</cx:pt>
          <cx:pt idx="3334">4.5999999999999996</cx:pt>
          <cx:pt idx="3335">4.5999999999999996</cx:pt>
          <cx:pt idx="3336">4.5999999999999996</cx:pt>
          <cx:pt idx="3337">4.5999999999999996</cx:pt>
          <cx:pt idx="3338">4.5999999999999996</cx:pt>
          <cx:pt idx="3339">4.5999999999999996</cx:pt>
          <cx:pt idx="3340">4.5999999999999996</cx:pt>
          <cx:pt idx="3341">4.5999999999999996</cx:pt>
          <cx:pt idx="3342">4.5999999999999996</cx:pt>
          <cx:pt idx="3343">4.5999999999999996</cx:pt>
          <cx:pt idx="3344">4.5999999999999996</cx:pt>
          <cx:pt idx="3345">4.5999999999999996</cx:pt>
          <cx:pt idx="3346">4.5999999999999996</cx:pt>
          <cx:pt idx="3347">4.5999999999999996</cx:pt>
          <cx:pt idx="3348">4.5999999999999996</cx:pt>
          <cx:pt idx="3349">2</cx:pt>
          <cx:pt idx="3350">2.1000000000000001</cx:pt>
          <cx:pt idx="3351">2.1000000000000001</cx:pt>
          <cx:pt idx="3352">2.1000000000000001</cx:pt>
          <cx:pt idx="3353">2.2000000000000002</cx:pt>
          <cx:pt idx="3354">2.2999999999999998</cx:pt>
          <cx:pt idx="3355">2.2999999999999998</cx:pt>
          <cx:pt idx="3356">2.2999999999999998</cx:pt>
          <cx:pt idx="3357">2.2999999999999998</cx:pt>
          <cx:pt idx="3358">2.2999999999999998</cx:pt>
          <cx:pt idx="3359">2.2999999999999998</cx:pt>
          <cx:pt idx="3360">2.3999999999999999</cx:pt>
          <cx:pt idx="3361">2.3999999999999999</cx:pt>
          <cx:pt idx="3362">2.3999999999999999</cx:pt>
          <cx:pt idx="3363">2.3999999999999999</cx:pt>
          <cx:pt idx="3364">2.3999999999999999</cx:pt>
          <cx:pt idx="3365">2.3999999999999999</cx:pt>
          <cx:pt idx="3366">2.3999999999999999</cx:pt>
          <cx:pt idx="3367">2.3999999999999999</cx:pt>
          <cx:pt idx="3368">2.3999999999999999</cx:pt>
          <cx:pt idx="3369">2.3999999999999999</cx:pt>
          <cx:pt idx="3370">2.3999999999999999</cx:pt>
          <cx:pt idx="3371">2.3999999999999999</cx:pt>
          <cx:pt idx="3372">2.3999999999999999</cx:pt>
          <cx:pt idx="3373">2.3999999999999999</cx:pt>
          <cx:pt idx="3374">2.5</cx:pt>
          <cx:pt idx="3375">2.5</cx:pt>
          <cx:pt idx="3376">2.5</cx:pt>
          <cx:pt idx="3377">2.5</cx:pt>
          <cx:pt idx="3378">2.5</cx:pt>
          <cx:pt idx="3379">2.5</cx:pt>
          <cx:pt idx="3380">2.5</cx:pt>
          <cx:pt idx="3381">2.5</cx:pt>
          <cx:pt idx="3382">2.5</cx:pt>
          <cx:pt idx="3383">2.5</cx:pt>
          <cx:pt idx="3384">2.5</cx:pt>
          <cx:pt idx="3385">2.5</cx:pt>
          <cx:pt idx="3386">2.5</cx:pt>
          <cx:pt idx="3387">2.5</cx:pt>
          <cx:pt idx="3388">2.5</cx:pt>
          <cx:pt idx="3389">2.5</cx:pt>
          <cx:pt idx="3390">2.5</cx:pt>
          <cx:pt idx="3391">4.2999999999999998</cx:pt>
          <cx:pt idx="3392">4.2999999999999998</cx:pt>
          <cx:pt idx="3393">4.0999999999999996</cx:pt>
          <cx:pt idx="3394">4.2999999999999998</cx:pt>
          <cx:pt idx="3395">4.5</cx:pt>
          <cx:pt idx="3396">4.2000000000000002</cx:pt>
          <cx:pt idx="3397">4.2999999999999998</cx:pt>
          <cx:pt idx="3398">4.2999999999999998</cx:pt>
          <cx:pt idx="3399">4.2000000000000002</cx:pt>
          <cx:pt idx="3400">4.2000000000000002</cx:pt>
          <cx:pt idx="3401">4.0999999999999996</cx:pt>
          <cx:pt idx="3402">4.4000000000000004</cx:pt>
          <cx:pt idx="3403">4.0999999999999996</cx:pt>
          <cx:pt idx="3404">4.2000000000000002</cx:pt>
          <cx:pt idx="3405">3.8999999999999999</cx:pt>
          <cx:pt idx="3406">3.8999999999999999</cx:pt>
          <cx:pt idx="3407">3.5</cx:pt>
          <cx:pt idx="3408">4.5</cx:pt>
          <cx:pt idx="3409">4</cx:pt>
          <cx:pt idx="3410">3.8999999999999999</cx:pt>
          <cx:pt idx="3411">4.0999999999999996</cx:pt>
          <cx:pt idx="3412">3.7999999999999998</cx:pt>
          <cx:pt idx="3413">4</cx:pt>
          <cx:pt idx="3414">4.2999999999999998</cx:pt>
          <cx:pt idx="3415">4.5</cx:pt>
          <cx:pt idx="3416">4.0999999999999996</cx:pt>
          <cx:pt idx="3417">3.8999999999999999</cx:pt>
          <cx:pt idx="3418">4.0999999999999996</cx:pt>
          <cx:pt idx="3419">4.5</cx:pt>
          <cx:pt idx="3420">4.4000000000000004</cx:pt>
          <cx:pt idx="3421">4.2000000000000002</cx:pt>
          <cx:pt idx="3422">4.2000000000000002</cx:pt>
          <cx:pt idx="3423">4.0999999999999996</cx:pt>
          <cx:pt idx="3424">3.7999999999999998</cx:pt>
          <cx:pt idx="3425">4</cx:pt>
          <cx:pt idx="3426">3.8999999999999999</cx:pt>
          <cx:pt idx="3427">4.2999999999999998</cx:pt>
          <cx:pt idx="3428">3.8999999999999999</cx:pt>
          <cx:pt idx="3429">3.8999999999999999</cx:pt>
          <cx:pt idx="3430">4</cx:pt>
          <cx:pt idx="3431">4</cx:pt>
          <cx:pt idx="3432">4.2999999999999998</cx:pt>
          <cx:pt idx="3433">4</cx:pt>
          <cx:pt idx="3434">4.2000000000000002</cx:pt>
          <cx:pt idx="3435">3.8999999999999999</cx:pt>
          <cx:pt idx="3436">4.4000000000000004</cx:pt>
          <cx:pt idx="3437">3.8999999999999999</cx:pt>
          <cx:pt idx="3438">4</cx:pt>
          <cx:pt idx="3439">4.2999999999999998</cx:pt>
          <cx:pt idx="3440">4</cx:pt>
          <cx:pt idx="3441">4.2999999999999998</cx:pt>
          <cx:pt idx="3442">3.2999999999999998</cx:pt>
          <cx:pt idx="3443">4</cx:pt>
          <cx:pt idx="3444">4.2999999999999998</cx:pt>
          <cx:pt idx="3445">3.7999999999999998</cx:pt>
          <cx:pt idx="3446">4.4000000000000004</cx:pt>
          <cx:pt idx="3447">4.2000000000000002</cx:pt>
          <cx:pt idx="3448">4.2000000000000002</cx:pt>
          <cx:pt idx="3449">4.0999999999999996</cx:pt>
          <cx:pt idx="3450">3.8999999999999999</cx:pt>
          <cx:pt idx="3451">4.2000000000000002</cx:pt>
          <cx:pt idx="3452">4.0999999999999996</cx:pt>
          <cx:pt idx="3453">3.5</cx:pt>
          <cx:pt idx="3454">4</cx:pt>
          <cx:pt idx="3455">4.5</cx:pt>
          <cx:pt idx="3456">4</cx:pt>
          <cx:pt idx="3457">4</cx:pt>
          <cx:pt idx="3458">4.2000000000000002</cx:pt>
          <cx:pt idx="3459">4.2000000000000002</cx:pt>
          <cx:pt idx="3460">4.2000000000000002</cx:pt>
          <cx:pt idx="3461">4.0999999999999996</cx:pt>
          <cx:pt idx="3462">3.7000000000000002</cx:pt>
          <cx:pt idx="3463">3.7000000000000002</cx:pt>
          <cx:pt idx="3464">4.4000000000000004</cx:pt>
          <cx:pt idx="3465">4.2999999999999998</cx:pt>
          <cx:pt idx="3466">4.0999999999999996</cx:pt>
          <cx:pt idx="3467">3.8999999999999999</cx:pt>
          <cx:pt idx="3468">4.2999999999999998</cx:pt>
          <cx:pt idx="3469">4.2999999999999998</cx:pt>
          <cx:pt idx="3470">4.0999999999999996</cx:pt>
          <cx:pt idx="3471">4</cx:pt>
          <cx:pt idx="3472">4.2000000000000002</cx:pt>
          <cx:pt idx="3473">4.2999999999999998</cx:pt>
          <cx:pt idx="3474">4.2999999999999998</cx:pt>
          <cx:pt idx="3475">4.2000000000000002</cx:pt>
          <cx:pt idx="3476">4.4000000000000004</cx:pt>
          <cx:pt idx="3477">4.2000000000000002</cx:pt>
          <cx:pt idx="3478">4.0999999999999996</cx:pt>
          <cx:pt idx="3479">4.0999999999999996</cx:pt>
          <cx:pt idx="3480">4.0999999999999996</cx:pt>
          <cx:pt idx="3481">4.2999999999999998</cx:pt>
          <cx:pt idx="3482">4</cx:pt>
          <cx:pt idx="3483">4</cx:pt>
          <cx:pt idx="3484">4.2999999999999998</cx:pt>
          <cx:pt idx="3485">3.7999999999999998</cx:pt>
          <cx:pt idx="3486">4.4000000000000004</cx:pt>
          <cx:pt idx="3487">4.4000000000000004</cx:pt>
          <cx:pt idx="3488">4.0999999999999996</cx:pt>
          <cx:pt idx="3489">3.8999999999999999</cx:pt>
          <cx:pt idx="3490">4.0999999999999996</cx:pt>
          <cx:pt idx="3491">4.0999999999999996</cx:pt>
          <cx:pt idx="3492">4.2000000000000002</cx:pt>
          <cx:pt idx="3493">4.0999999999999996</cx:pt>
          <cx:pt idx="3494">4.0999999999999996</cx:pt>
          <cx:pt idx="3495">4</cx:pt>
          <cx:pt idx="3496">4</cx:pt>
          <cx:pt idx="3497">4.0999999999999996</cx:pt>
          <cx:pt idx="3498">4.0999999999999996</cx:pt>
          <cx:pt idx="3499">4.0999999999999996</cx:pt>
          <cx:pt idx="3500">4.0999999999999996</cx:pt>
          <cx:pt idx="3501">3.8999999999999999</cx:pt>
          <cx:pt idx="3502">3.6000000000000001</cx:pt>
          <cx:pt idx="3503">4</cx:pt>
          <cx:pt idx="3504">4.0999999999999996</cx:pt>
          <cx:pt idx="3505">3.6000000000000001</cx:pt>
          <cx:pt idx="3506">4.4000000000000004</cx:pt>
          <cx:pt idx="3507">4</cx:pt>
          <cx:pt idx="3508">4.0999999999999996</cx:pt>
          <cx:pt idx="3509">3.8999999999999999</cx:pt>
          <cx:pt idx="3510">3.6000000000000001</cx:pt>
          <cx:pt idx="3511">4</cx:pt>
          <cx:pt idx="3512">3.7999999999999998</cx:pt>
          <cx:pt idx="3513">4</cx:pt>
          <cx:pt idx="3514">4.0999999999999996</cx:pt>
          <cx:pt idx="3515">2.7999999999999998</cx:pt>
          <cx:pt idx="3516">3.8999999999999999</cx:pt>
          <cx:pt idx="3517">3.7000000000000002</cx:pt>
          <cx:pt idx="3518">3.6000000000000001</cx:pt>
          <cx:pt idx="3519">3.8999999999999999</cx:pt>
          <cx:pt idx="3520">4.0999999999999996</cx:pt>
          <cx:pt idx="3521">4.4000000000000004</cx:pt>
          <cx:pt idx="3522">3.8999999999999999</cx:pt>
          <cx:pt idx="3523">3.8999999999999999</cx:pt>
          <cx:pt idx="3524">4</cx:pt>
          <cx:pt idx="3525">3.6000000000000001</cx:pt>
          <cx:pt idx="3526">4.2000000000000002</cx:pt>
          <cx:pt idx="3527">4.0999999999999996</cx:pt>
          <cx:pt idx="3528">3.7999999999999998</cx:pt>
          <cx:pt idx="3529">4</cx:pt>
          <cx:pt idx="3530">3.3999999999999999</cx:pt>
          <cx:pt idx="3531">3.8999999999999999</cx:pt>
          <cx:pt idx="3532">3.2000000000000002</cx:pt>
          <cx:pt idx="3533">3.8999999999999999</cx:pt>
          <cx:pt idx="3534">3.7999999999999998</cx:pt>
          <cx:pt idx="3535">3.7999999999999998</cx:pt>
          <cx:pt idx="3536">4.2000000000000002</cx:pt>
          <cx:pt idx="3537">3</cx:pt>
          <cx:pt idx="3538">2.6000000000000001</cx:pt>
          <cx:pt idx="3539">3.7000000000000002</cx:pt>
          <cx:pt idx="3540">3.8999999999999999</cx:pt>
          <cx:pt idx="3541">3.8999999999999999</cx:pt>
          <cx:pt idx="3542">3.7999999999999998</cx:pt>
          <cx:pt idx="3543">3.8999999999999999</cx:pt>
          <cx:pt idx="3544">4</cx:pt>
          <cx:pt idx="3545">3.7999999999999998</cx:pt>
          <cx:pt idx="3546">4</cx:pt>
          <cx:pt idx="3547">3.8999999999999999</cx:pt>
          <cx:pt idx="3548">3.8999999999999999</cx:pt>
          <cx:pt idx="3549">4</cx:pt>
          <cx:pt idx="3550">4</cx:pt>
          <cx:pt idx="3551">3.5</cx:pt>
          <cx:pt idx="3552">3.7000000000000002</cx:pt>
          <cx:pt idx="3553">3.7000000000000002</cx:pt>
          <cx:pt idx="3554">3.7000000000000002</cx:pt>
          <cx:pt idx="3555">3.5</cx:pt>
          <cx:pt idx="3556">3.7000000000000002</cx:pt>
          <cx:pt idx="3557">4</cx:pt>
          <cx:pt idx="3558">4.5</cx:pt>
          <cx:pt idx="3559">4.5</cx:pt>
          <cx:pt idx="3560">4.5</cx:pt>
          <cx:pt idx="3561">4.2999999999999998</cx:pt>
          <cx:pt idx="3562">4.2000000000000002</cx:pt>
          <cx:pt idx="3563">4.4000000000000004</cx:pt>
          <cx:pt idx="3564">4</cx:pt>
          <cx:pt idx="3565">4.4000000000000004</cx:pt>
          <cx:pt idx="3566">4.4000000000000004</cx:pt>
          <cx:pt idx="3567">4.2999999999999998</cx:pt>
          <cx:pt idx="3568">4.2000000000000002</cx:pt>
          <cx:pt idx="3569">4.5</cx:pt>
          <cx:pt idx="3570">4.5</cx:pt>
          <cx:pt idx="3571">4.4000000000000004</cx:pt>
          <cx:pt idx="3572">4.5</cx:pt>
          <cx:pt idx="3573">4.4000000000000004</cx:pt>
          <cx:pt idx="3574">4.5999999999999996</cx:pt>
          <cx:pt idx="3575">4.4000000000000004</cx:pt>
          <cx:pt idx="3576">4.2999999999999998</cx:pt>
          <cx:pt idx="3577">4.5</cx:pt>
          <cx:pt idx="3578">4.2000000000000002</cx:pt>
          <cx:pt idx="3579">4.0999999999999996</cx:pt>
          <cx:pt idx="3580">4</cx:pt>
          <cx:pt idx="3581">4.5</cx:pt>
          <cx:pt idx="3582">4.4000000000000004</cx:pt>
          <cx:pt idx="3583">4.0999999999999996</cx:pt>
          <cx:pt idx="3584">4.2999999999999998</cx:pt>
          <cx:pt idx="3585">4.0999999999999996</cx:pt>
          <cx:pt idx="3586">4.2000000000000002</cx:pt>
          <cx:pt idx="3587">4.2000000000000002</cx:pt>
          <cx:pt idx="3588">4</cx:pt>
          <cx:pt idx="3589">4.2000000000000002</cx:pt>
          <cx:pt idx="3590">4.4000000000000004</cx:pt>
          <cx:pt idx="3591">4.0999999999999996</cx:pt>
          <cx:pt idx="3592">4.0999999999999996</cx:pt>
          <cx:pt idx="3593">4.4000000000000004</cx:pt>
          <cx:pt idx="3594">4.0999999999999996</cx:pt>
          <cx:pt idx="3595">4.2999999999999998</cx:pt>
          <cx:pt idx="3596">2.7999999999999998</cx:pt>
          <cx:pt idx="3597">4.2999999999999998</cx:pt>
          <cx:pt idx="3598">4.4000000000000004</cx:pt>
          <cx:pt idx="3599">4.2000000000000002</cx:pt>
          <cx:pt idx="3600">4.0999999999999996</cx:pt>
          <cx:pt idx="3601">4.5999999999999996</cx:pt>
          <cx:pt idx="3602">4.2999999999999998</cx:pt>
          <cx:pt idx="3603">4.2000000000000002</cx:pt>
          <cx:pt idx="3604">4.4000000000000004</cx:pt>
          <cx:pt idx="3605">4.2999999999999998</cx:pt>
          <cx:pt idx="3606">4.5</cx:pt>
          <cx:pt idx="3607">4.5</cx:pt>
          <cx:pt idx="3608">4.2000000000000002</cx:pt>
          <cx:pt idx="3609">4.2999999999999998</cx:pt>
          <cx:pt idx="3610">4.4000000000000004</cx:pt>
          <cx:pt idx="3611">4.0999999999999996</cx:pt>
          <cx:pt idx="3612">3.7999999999999998</cx:pt>
          <cx:pt idx="3613">4.2000000000000002</cx:pt>
          <cx:pt idx="3614">4.2999999999999998</cx:pt>
          <cx:pt idx="3615">4.5999999999999996</cx:pt>
          <cx:pt idx="3616">4</cx:pt>
          <cx:pt idx="3617">4.2999999999999998</cx:pt>
          <cx:pt idx="3618">4.4000000000000004</cx:pt>
          <cx:pt idx="3619">4</cx:pt>
          <cx:pt idx="3620">4</cx:pt>
          <cx:pt idx="3621">4.4000000000000004</cx:pt>
          <cx:pt idx="3622">4.2000000000000002</cx:pt>
          <cx:pt idx="3623">4.5</cx:pt>
          <cx:pt idx="3624">4.2999999999999998</cx:pt>
          <cx:pt idx="3625">4.0999999999999996</cx:pt>
          <cx:pt idx="3626">4.0999999999999996</cx:pt>
          <cx:pt idx="3627">4.5999999999999996</cx:pt>
          <cx:pt idx="3628">4.5999999999999996</cx:pt>
          <cx:pt idx="3629">4.0999999999999996</cx:pt>
          <cx:pt idx="3630">4.4000000000000004</cx:pt>
          <cx:pt idx="3631">3.7999999999999998</cx:pt>
          <cx:pt idx="3632">4</cx:pt>
          <cx:pt idx="3633">3.8999999999999999</cx:pt>
          <cx:pt idx="3634">4.2000000000000002</cx:pt>
          <cx:pt idx="3635">4.4000000000000004</cx:pt>
          <cx:pt idx="3636">4.2999999999999998</cx:pt>
          <cx:pt idx="3637">4.2999999999999998</cx:pt>
          <cx:pt idx="3638">4.0999999999999996</cx:pt>
          <cx:pt idx="3639">4.0999999999999996</cx:pt>
          <cx:pt idx="3640">4.2000000000000002</cx:pt>
          <cx:pt idx="3641">4.5</cx:pt>
          <cx:pt idx="3642">4.2999999999999998</cx:pt>
          <cx:pt idx="3643">4.5</cx:pt>
          <cx:pt idx="3644">4.5</cx:pt>
          <cx:pt idx="3645">4.5</cx:pt>
          <cx:pt idx="3646">4.2000000000000002</cx:pt>
          <cx:pt idx="3647">4.4000000000000004</cx:pt>
          <cx:pt idx="3648">4.2000000000000002</cx:pt>
          <cx:pt idx="3649">4.4000000000000004</cx:pt>
          <cx:pt idx="3650">4.4000000000000004</cx:pt>
          <cx:pt idx="3651">4.2000000000000002</cx:pt>
          <cx:pt idx="3652">4.2999999999999998</cx:pt>
          <cx:pt idx="3653">4.2999999999999998</cx:pt>
          <cx:pt idx="3654">4.2999999999999998</cx:pt>
          <cx:pt idx="3655">4.2999999999999998</cx:pt>
          <cx:pt idx="3656">4.5</cx:pt>
          <cx:pt idx="3657">4.0999999999999996</cx:pt>
          <cx:pt idx="3658">3.8999999999999999</cx:pt>
          <cx:pt idx="3659">4.2000000000000002</cx:pt>
          <cx:pt idx="3660">4.0999999999999996</cx:pt>
          <cx:pt idx="3661">4</cx:pt>
          <cx:pt idx="3662">4</cx:pt>
          <cx:pt idx="3663">4.2000000000000002</cx:pt>
          <cx:pt idx="3664">4.0999999999999996</cx:pt>
          <cx:pt idx="3665">4.0999999999999996</cx:pt>
          <cx:pt idx="3666">4</cx:pt>
          <cx:pt idx="3667">4</cx:pt>
          <cx:pt idx="3668">4.0999999999999996</cx:pt>
          <cx:pt idx="3669">4.2000000000000002</cx:pt>
          <cx:pt idx="3670">4.2999999999999998</cx:pt>
          <cx:pt idx="3671">4.2999999999999998</cx:pt>
          <cx:pt idx="3672">4.2999999999999998</cx:pt>
          <cx:pt idx="3673">4.4000000000000004</cx:pt>
          <cx:pt idx="3674">3.8999999999999999</cx:pt>
          <cx:pt idx="3675">4.2999999999999998</cx:pt>
          <cx:pt idx="3676">4</cx:pt>
          <cx:pt idx="3677">3.8999999999999999</cx:pt>
          <cx:pt idx="3678">3.8999999999999999</cx:pt>
          <cx:pt idx="3679">4</cx:pt>
          <cx:pt idx="3680">3.5</cx:pt>
          <cx:pt idx="3681">3.7999999999999998</cx:pt>
          <cx:pt idx="3682">3.7999999999999998</cx:pt>
          <cx:pt idx="3683">4</cx:pt>
          <cx:pt idx="3684">4</cx:pt>
          <cx:pt idx="3685">4.0999999999999996</cx:pt>
          <cx:pt idx="3686">4</cx:pt>
          <cx:pt idx="3687">3.7999999999999998</cx:pt>
          <cx:pt idx="3688">3.7000000000000002</cx:pt>
          <cx:pt idx="3689">3.7999999999999998</cx:pt>
          <cx:pt idx="3690">3.7000000000000002</cx:pt>
          <cx:pt idx="3691">3.8999999999999999</cx:pt>
          <cx:pt idx="3692">3.7999999999999998</cx:pt>
          <cx:pt idx="3693">3.7000000000000002</cx:pt>
          <cx:pt idx="3694">3.7999999999999998</cx:pt>
          <cx:pt idx="3695">3.7000000000000002</cx:pt>
          <cx:pt idx="3696">3.3999999999999999</cx:pt>
          <cx:pt idx="3697">3.6000000000000001</cx:pt>
          <cx:pt idx="3698">3.7000000000000002</cx:pt>
          <cx:pt idx="3699">3.5</cx:pt>
          <cx:pt idx="3700">3.1000000000000001</cx:pt>
          <cx:pt idx="3701">3.5</cx:pt>
          <cx:pt idx="3702">3.2999999999999998</cx:pt>
          <cx:pt idx="3703">0</cx:pt>
          <cx:pt idx="3704">4.2999999999999998</cx:pt>
          <cx:pt idx="3705">4.5</cx:pt>
          <cx:pt idx="3706">4.2999999999999998</cx:pt>
          <cx:pt idx="3707">4.4000000000000004</cx:pt>
          <cx:pt idx="3708">4.2999999999999998</cx:pt>
          <cx:pt idx="3709">4.0999999999999996</cx:pt>
          <cx:pt idx="3710">4.2000000000000002</cx:pt>
          <cx:pt idx="3711">4.5</cx:pt>
          <cx:pt idx="3712">4.5</cx:pt>
          <cx:pt idx="3713">4.2999999999999998</cx:pt>
          <cx:pt idx="3714">4.2999999999999998</cx:pt>
          <cx:pt idx="3715">4.4000000000000004</cx:pt>
          <cx:pt idx="3716">4.2999999999999998</cx:pt>
          <cx:pt idx="3717">4.2999999999999998</cx:pt>
          <cx:pt idx="3718">4.0999999999999996</cx:pt>
          <cx:pt idx="3719">4.4000000000000004</cx:pt>
          <cx:pt idx="3720">4.2999999999999998</cx:pt>
          <cx:pt idx="3721">4.2000000000000002</cx:pt>
          <cx:pt idx="3722">4.2999999999999998</cx:pt>
          <cx:pt idx="3723">4.5</cx:pt>
          <cx:pt idx="3724">4.5</cx:pt>
          <cx:pt idx="3725">4.0999999999999996</cx:pt>
          <cx:pt idx="3726">4.4000000000000004</cx:pt>
          <cx:pt idx="3727">4.2999999999999998</cx:pt>
          <cx:pt idx="3728">4.2999999999999998</cx:pt>
          <cx:pt idx="3729">4.5</cx:pt>
          <cx:pt idx="3730">4.5</cx:pt>
          <cx:pt idx="3731">4.0999999999999996</cx:pt>
          <cx:pt idx="3732">4.2999999999999998</cx:pt>
          <cx:pt idx="3733">3.7000000000000002</cx:pt>
          <cx:pt idx="3734">4.0999999999999996</cx:pt>
          <cx:pt idx="3735">4.0999999999999996</cx:pt>
          <cx:pt idx="3736">4.2000000000000002</cx:pt>
          <cx:pt idx="3737">4.2000000000000002</cx:pt>
          <cx:pt idx="3738">4.2999999999999998</cx:pt>
          <cx:pt idx="3739">4.2000000000000002</cx:pt>
          <cx:pt idx="3740">4.2999999999999998</cx:pt>
          <cx:pt idx="3741">4.2000000000000002</cx:pt>
          <cx:pt idx="3742">4.2999999999999998</cx:pt>
          <cx:pt idx="3743">4.2999999999999998</cx:pt>
          <cx:pt idx="3744">4.5</cx:pt>
          <cx:pt idx="3745">4.2000000000000002</cx:pt>
          <cx:pt idx="3746">4.0999999999999996</cx:pt>
          <cx:pt idx="3747">4.2999999999999998</cx:pt>
          <cx:pt idx="3748">4.2000000000000002</cx:pt>
          <cx:pt idx="3749">4.4000000000000004</cx:pt>
          <cx:pt idx="3750">4.5</cx:pt>
          <cx:pt idx="3751">4.2000000000000002</cx:pt>
          <cx:pt idx="3752">4</cx:pt>
          <cx:pt idx="3753">4.2999999999999998</cx:pt>
          <cx:pt idx="3754">4.4000000000000004</cx:pt>
          <cx:pt idx="3755">4.2000000000000002</cx:pt>
          <cx:pt idx="3756">4.4000000000000004</cx:pt>
          <cx:pt idx="3757">4.5</cx:pt>
          <cx:pt idx="3758">3.8999999999999999</cx:pt>
          <cx:pt idx="3759">4.5</cx:pt>
          <cx:pt idx="3760">4.0999999999999996</cx:pt>
          <cx:pt idx="3761">4.2000000000000002</cx:pt>
          <cx:pt idx="3762">3.7999999999999998</cx:pt>
          <cx:pt idx="3763">4</cx:pt>
          <cx:pt idx="3764">4.4000000000000004</cx:pt>
          <cx:pt idx="3765">4</cx:pt>
          <cx:pt idx="3766">4.0999999999999996</cx:pt>
          <cx:pt idx="3767">4.2000000000000002</cx:pt>
          <cx:pt idx="3768">4.4000000000000004</cx:pt>
          <cx:pt idx="3769">4.0999999999999996</cx:pt>
          <cx:pt idx="3770">4.0999999999999996</cx:pt>
          <cx:pt idx="3771">4.2999999999999998</cx:pt>
          <cx:pt idx="3772">4.2000000000000002</cx:pt>
          <cx:pt idx="3773">4.2000000000000002</cx:pt>
          <cx:pt idx="3774">4.0999999999999996</cx:pt>
          <cx:pt idx="3775">4</cx:pt>
          <cx:pt idx="3776">4.2000000000000002</cx:pt>
          <cx:pt idx="3777">4.2999999999999998</cx:pt>
          <cx:pt idx="3778">3.8999999999999999</cx:pt>
          <cx:pt idx="3779">4</cx:pt>
          <cx:pt idx="3780">4</cx:pt>
          <cx:pt idx="3781">3.8999999999999999</cx:pt>
          <cx:pt idx="3782">4.0999999999999996</cx:pt>
          <cx:pt idx="3783">4.0999999999999996</cx:pt>
          <cx:pt idx="3784">3.6000000000000001</cx:pt>
          <cx:pt idx="3785">3.7999999999999998</cx:pt>
          <cx:pt idx="3786">3.7999999999999998</cx:pt>
          <cx:pt idx="3787">3.8999999999999999</cx:pt>
          <cx:pt idx="3788">3.2000000000000002</cx:pt>
          <cx:pt idx="3789">4.0999999999999996</cx:pt>
          <cx:pt idx="3790">3.7000000000000002</cx:pt>
          <cx:pt idx="3791">3.7999999999999998</cx:pt>
          <cx:pt idx="3792">3.8999999999999999</cx:pt>
          <cx:pt idx="3793">3.8999999999999999</cx:pt>
          <cx:pt idx="3794">3.7999999999999998</cx:pt>
          <cx:pt idx="3795">3.8999999999999999</cx:pt>
          <cx:pt idx="3796">3.8999999999999999</cx:pt>
          <cx:pt idx="3797">3.5</cx:pt>
          <cx:pt idx="3798">3.3999999999999999</cx:pt>
          <cx:pt idx="3799">3.7999999999999998</cx:pt>
          <cx:pt idx="3800">3</cx:pt>
          <cx:pt idx="3801">3.3999999999999999</cx:pt>
          <cx:pt idx="3802">3.8999999999999999</cx:pt>
          <cx:pt idx="3803">3.5</cx:pt>
          <cx:pt idx="3804">2.6000000000000001</cx:pt>
          <cx:pt idx="3805">3.7000000000000002</cx:pt>
          <cx:pt idx="3806">3.5</cx:pt>
          <cx:pt idx="3807">3.7000000000000002</cx:pt>
          <cx:pt idx="3808">2.8999999999999999</cx:pt>
          <cx:pt idx="3809">3.6000000000000001</cx:pt>
          <cx:pt idx="3810">3.6000000000000001</cx:pt>
          <cx:pt idx="3811">3.7999999999999998</cx:pt>
          <cx:pt idx="3812">2.7999999999999998</cx:pt>
          <cx:pt idx="3813">3.5</cx:pt>
          <cx:pt idx="3814">3.7999999999999998</cx:pt>
          <cx:pt idx="3815">3.6000000000000001</cx:pt>
          <cx:pt idx="3816">3.7000000000000002</cx:pt>
          <cx:pt idx="3817">3.3999999999999999</cx:pt>
          <cx:pt idx="3818">3.5</cx:pt>
          <cx:pt idx="3819">3.6000000000000001</cx:pt>
          <cx:pt idx="3820">3.7000000000000002</cx:pt>
          <cx:pt idx="3821">3.7000000000000002</cx:pt>
          <cx:pt idx="3822">3.2000000000000002</cx:pt>
          <cx:pt idx="3823">3.2999999999999998</cx:pt>
          <cx:pt idx="3824">3.6000000000000001</cx:pt>
          <cx:pt idx="3825">3.1000000000000001</cx:pt>
          <cx:pt idx="3826">3.5</cx:pt>
          <cx:pt idx="3827">3.2000000000000002</cx:pt>
          <cx:pt idx="3828">3.5</cx:pt>
          <cx:pt idx="3829">3.6000000000000001</cx:pt>
          <cx:pt idx="3830">2.8999999999999999</cx:pt>
          <cx:pt idx="3831">3.1000000000000001</cx:pt>
          <cx:pt idx="3832">3.6000000000000001</cx:pt>
          <cx:pt idx="3833">3</cx:pt>
          <cx:pt idx="3834">4</cx:pt>
          <cx:pt idx="3835">3.3999999999999999</cx:pt>
          <cx:pt idx="3836">3.2999999999999998</cx:pt>
          <cx:pt idx="3837">3.5</cx:pt>
          <cx:pt idx="3838">3.7000000000000002</cx:pt>
          <cx:pt idx="3839">3.5</cx:pt>
          <cx:pt idx="3840">3.3999999999999999</cx:pt>
          <cx:pt idx="3841">3.2000000000000002</cx:pt>
          <cx:pt idx="3842">3.2000000000000002</cx:pt>
          <cx:pt idx="3843">3.3999999999999999</cx:pt>
          <cx:pt idx="3844">3.1000000000000001</cx:pt>
          <cx:pt idx="3845">3.5</cx:pt>
          <cx:pt idx="3846">3.2000000000000002</cx:pt>
          <cx:pt idx="3847">3.2999999999999998</cx:pt>
          <cx:pt idx="3848">3.2999999999999998</cx:pt>
          <cx:pt idx="3849">0</cx:pt>
          <cx:pt idx="3850">3.3999999999999999</cx:pt>
          <cx:pt idx="3851">3.2000000000000002</cx:pt>
          <cx:pt idx="3852">3.2999999999999998</cx:pt>
          <cx:pt idx="3853">0</cx:pt>
          <cx:pt idx="3854">3.3999999999999999</cx:pt>
          <cx:pt idx="3855">0</cx:pt>
          <cx:pt idx="3856">3.3999999999999999</cx:pt>
          <cx:pt idx="3857">0</cx:pt>
          <cx:pt idx="3858">0</cx:pt>
          <cx:pt idx="3859">0</cx:pt>
          <cx:pt idx="3860">0</cx:pt>
          <cx:pt idx="3861">0</cx:pt>
          <cx:pt idx="3862">0</cx:pt>
          <cx:pt idx="3863">0</cx:pt>
          <cx:pt idx="3864">0</cx:pt>
          <cx:pt idx="3865">0</cx:pt>
          <cx:pt idx="3866">0</cx:pt>
          <cx:pt idx="3867">0</cx:pt>
          <cx:pt idx="3868">0</cx:pt>
          <cx:pt idx="3869">0</cx:pt>
          <cx:pt idx="3870">0</cx:pt>
          <cx:pt idx="3871">0</cx:pt>
          <cx:pt idx="3872">0</cx:pt>
          <cx:pt idx="3873">0</cx:pt>
          <cx:pt idx="3874">4</cx:pt>
          <cx:pt idx="3875">4.2999999999999998</cx:pt>
          <cx:pt idx="3876">4.2000000000000002</cx:pt>
          <cx:pt idx="3877">4.2000000000000002</cx:pt>
          <cx:pt idx="3878">4</cx:pt>
          <cx:pt idx="3879">3.7999999999999998</cx:pt>
          <cx:pt idx="3880">4.5999999999999996</cx:pt>
          <cx:pt idx="3881">3.8999999999999999</cx:pt>
          <cx:pt idx="3882">3.1000000000000001</cx:pt>
          <cx:pt idx="3883">3.8999999999999999</cx:pt>
          <cx:pt idx="3884">4.0999999999999996</cx:pt>
          <cx:pt idx="3885">3.6000000000000001</cx:pt>
          <cx:pt idx="3886">4</cx:pt>
          <cx:pt idx="3887">4.0999999999999996</cx:pt>
          <cx:pt idx="3888">4.4000000000000004</cx:pt>
          <cx:pt idx="3889">2.6000000000000001</cx:pt>
          <cx:pt idx="3890">2.7999999999999998</cx:pt>
          <cx:pt idx="3891">4</cx:pt>
          <cx:pt idx="3892">4</cx:pt>
          <cx:pt idx="3893">3.7999999999999998</cx:pt>
          <cx:pt idx="3894">3.7000000000000002</cx:pt>
          <cx:pt idx="3895">3.7000000000000002</cx:pt>
          <cx:pt idx="3896">2.7999999999999998</cx:pt>
          <cx:pt idx="3897">4</cx:pt>
          <cx:pt idx="3898">3.6000000000000001</cx:pt>
          <cx:pt idx="3899">3.7000000000000002</cx:pt>
          <cx:pt idx="3900">4</cx:pt>
          <cx:pt idx="3901">4.0999999999999996</cx:pt>
          <cx:pt idx="3902">3.8999999999999999</cx:pt>
          <cx:pt idx="3903">3.8999999999999999</cx:pt>
          <cx:pt idx="3904">2.6000000000000001</cx:pt>
          <cx:pt idx="3905">3.5</cx:pt>
          <cx:pt idx="3906">3.8999999999999999</cx:pt>
          <cx:pt idx="3907">3.7999999999999998</cx:pt>
          <cx:pt idx="3908">3.7999999999999998</cx:pt>
          <cx:pt idx="3909">3</cx:pt>
          <cx:pt idx="3910">4.0999999999999996</cx:pt>
          <cx:pt idx="3911">3.7999999999999998</cx:pt>
          <cx:pt idx="3912">4</cx:pt>
          <cx:pt idx="3913">3.1000000000000001</cx:pt>
          <cx:pt idx="3914">2.8999999999999999</cx:pt>
          <cx:pt idx="3915">3.5</cx:pt>
          <cx:pt idx="3916">3.7999999999999998</cx:pt>
          <cx:pt idx="3917">3.7000000000000002</cx:pt>
          <cx:pt idx="3918">3.8999999999999999</cx:pt>
          <cx:pt idx="3919">3.8999999999999999</cx:pt>
          <cx:pt idx="3920">3.8999999999999999</cx:pt>
          <cx:pt idx="3921">4.0999999999999996</cx:pt>
          <cx:pt idx="3922">3.6000000000000001</cx:pt>
          <cx:pt idx="3923">3.6000000000000001</cx:pt>
          <cx:pt idx="3924">3.1000000000000001</cx:pt>
          <cx:pt idx="3925">2.6000000000000001</cx:pt>
          <cx:pt idx="3926">3.1000000000000001</cx:pt>
          <cx:pt idx="3927">2.8999999999999999</cx:pt>
          <cx:pt idx="3928">2.8999999999999999</cx:pt>
          <cx:pt idx="3929">3.2000000000000002</cx:pt>
          <cx:pt idx="3930">3.3999999999999999</cx:pt>
          <cx:pt idx="3931">3.6000000000000001</cx:pt>
          <cx:pt idx="3932">4</cx:pt>
          <cx:pt idx="3933">3.7999999999999998</cx:pt>
          <cx:pt idx="3934">2.7000000000000002</cx:pt>
          <cx:pt idx="3935">3.6000000000000001</cx:pt>
          <cx:pt idx="3936">3.8999999999999999</cx:pt>
          <cx:pt idx="3937">4</cx:pt>
          <cx:pt idx="3938">3.7999999999999998</cx:pt>
          <cx:pt idx="3939">3.7999999999999998</cx:pt>
          <cx:pt idx="3940">3.5</cx:pt>
          <cx:pt idx="3941">3.8999999999999999</cx:pt>
          <cx:pt idx="3942">3.2000000000000002</cx:pt>
          <cx:pt idx="3943">2.8999999999999999</cx:pt>
          <cx:pt idx="3944">2.7999999999999998</cx:pt>
          <cx:pt idx="3945">3.7999999999999998</cx:pt>
          <cx:pt idx="3946">2.8999999999999999</cx:pt>
          <cx:pt idx="3947">2.7000000000000002</cx:pt>
          <cx:pt idx="3948">3</cx:pt>
          <cx:pt idx="3949">4.4000000000000004</cx:pt>
          <cx:pt idx="3950">4.4000000000000004</cx:pt>
          <cx:pt idx="3951">4.2000000000000002</cx:pt>
          <cx:pt idx="3952">4.2000000000000002</cx:pt>
          <cx:pt idx="3953">4.2000000000000002</cx:pt>
          <cx:pt idx="3954">4.0999999999999996</cx:pt>
          <cx:pt idx="3955">4.2999999999999998</cx:pt>
          <cx:pt idx="3956">4.2000000000000002</cx:pt>
          <cx:pt idx="3957">4.2000000000000002</cx:pt>
          <cx:pt idx="3958">4.2999999999999998</cx:pt>
          <cx:pt idx="3959">4.2000000000000002</cx:pt>
          <cx:pt idx="3960">4.2000000000000002</cx:pt>
          <cx:pt idx="3961">4.0999999999999996</cx:pt>
          <cx:pt idx="3962">4.0999999999999996</cx:pt>
          <cx:pt idx="3963">4.0999999999999996</cx:pt>
          <cx:pt idx="3964">4.2000000000000002</cx:pt>
          <cx:pt idx="3965">4.2000000000000002</cx:pt>
          <cx:pt idx="3966">4.0999999999999996</cx:pt>
          <cx:pt idx="3967">4.0999999999999996</cx:pt>
          <cx:pt idx="3968">4.2000000000000002</cx:pt>
          <cx:pt idx="3969">4.2000000000000002</cx:pt>
          <cx:pt idx="3970">4</cx:pt>
          <cx:pt idx="3971">4</cx:pt>
          <cx:pt idx="3972">4.0999999999999996</cx:pt>
          <cx:pt idx="3973">4.2000000000000002</cx:pt>
          <cx:pt idx="3974">4.2000000000000002</cx:pt>
          <cx:pt idx="3975">4.0999999999999996</cx:pt>
          <cx:pt idx="3976">3.8999999999999999</cx:pt>
          <cx:pt idx="3977">3.6000000000000001</cx:pt>
          <cx:pt idx="3978">4.0999999999999996</cx:pt>
          <cx:pt idx="3979">4</cx:pt>
          <cx:pt idx="3980">3.7999999999999998</cx:pt>
          <cx:pt idx="3981">3.8999999999999999</cx:pt>
          <cx:pt idx="3982">4.2000000000000002</cx:pt>
          <cx:pt idx="3983">4</cx:pt>
          <cx:pt idx="3984">4.2000000000000002</cx:pt>
          <cx:pt idx="3985">3.8999999999999999</cx:pt>
          <cx:pt idx="3986">4</cx:pt>
          <cx:pt idx="3987">4.4000000000000004</cx:pt>
          <cx:pt idx="3988">4</cx:pt>
          <cx:pt idx="3989">4.2999999999999998</cx:pt>
          <cx:pt idx="3990">3.5</cx:pt>
          <cx:pt idx="3991">4.0999999999999996</cx:pt>
          <cx:pt idx="3992">3.8999999999999999</cx:pt>
          <cx:pt idx="3993">4.2000000000000002</cx:pt>
          <cx:pt idx="3994">4.2000000000000002</cx:pt>
          <cx:pt idx="3995">4.4000000000000004</cx:pt>
          <cx:pt idx="3996">4</cx:pt>
          <cx:pt idx="3997">4.0999999999999996</cx:pt>
          <cx:pt idx="3998">4.2999999999999998</cx:pt>
          <cx:pt idx="3999">4</cx:pt>
          <cx:pt idx="4000">2.8999999999999999</cx:pt>
          <cx:pt idx="4001">4.0999999999999996</cx:pt>
          <cx:pt idx="4002">3.8999999999999999</cx:pt>
          <cx:pt idx="4003">4</cx:pt>
          <cx:pt idx="4004">4</cx:pt>
          <cx:pt idx="4005">4</cx:pt>
          <cx:pt idx="4006">4</cx:pt>
          <cx:pt idx="4007">4</cx:pt>
          <cx:pt idx="4008">4.0999999999999996</cx:pt>
          <cx:pt idx="4009">4.2000000000000002</cx:pt>
          <cx:pt idx="4010">3.8999999999999999</cx:pt>
          <cx:pt idx="4011">4</cx:pt>
          <cx:pt idx="4012">2.7999999999999998</cx:pt>
          <cx:pt idx="4013">3.7999999999999998</cx:pt>
          <cx:pt idx="4014">4</cx:pt>
          <cx:pt idx="4015">4.0999999999999996</cx:pt>
          <cx:pt idx="4016">4</cx:pt>
          <cx:pt idx="4017">4.0999999999999996</cx:pt>
          <cx:pt idx="4018">4</cx:pt>
          <cx:pt idx="4019">4</cx:pt>
          <cx:pt idx="4020">4.0999999999999996</cx:pt>
          <cx:pt idx="4021">4</cx:pt>
          <cx:pt idx="4022">4.2000000000000002</cx:pt>
          <cx:pt idx="4023">4.0999999999999996</cx:pt>
          <cx:pt idx="4024">4</cx:pt>
          <cx:pt idx="4025">3.7000000000000002</cx:pt>
          <cx:pt idx="4026">3.8999999999999999</cx:pt>
          <cx:pt idx="4027">3.7000000000000002</cx:pt>
          <cx:pt idx="4028">3.7999999999999998</cx:pt>
          <cx:pt idx="4029">3.7999999999999998</cx:pt>
          <cx:pt idx="4030">3.8999999999999999</cx:pt>
          <cx:pt idx="4031">4.2999999999999998</cx:pt>
          <cx:pt idx="4032">2.8999999999999999</cx:pt>
          <cx:pt idx="4033">4.0999999999999996</cx:pt>
          <cx:pt idx="4034">3.8999999999999999</cx:pt>
          <cx:pt idx="4035">3.8999999999999999</cx:pt>
          <cx:pt idx="4036">3.7000000000000002</cx:pt>
          <cx:pt idx="4037">2.8999999999999999</cx:pt>
          <cx:pt idx="4038">4</cx:pt>
          <cx:pt idx="4039">3.3999999999999999</cx:pt>
          <cx:pt idx="4040">3.8999999999999999</cx:pt>
          <cx:pt idx="4041">3.8999999999999999</cx:pt>
          <cx:pt idx="4042">3.8999999999999999</cx:pt>
          <cx:pt idx="4043">3.7999999999999998</cx:pt>
          <cx:pt idx="4044">3.2000000000000002</cx:pt>
          <cx:pt idx="4045">3</cx:pt>
          <cx:pt idx="4046">3.7000000000000002</cx:pt>
          <cx:pt idx="4047">3.8999999999999999</cx:pt>
          <cx:pt idx="4048">3.7000000000000002</cx:pt>
          <cx:pt idx="4049">2.8999999999999999</cx:pt>
          <cx:pt idx="4050">3.8999999999999999</cx:pt>
          <cx:pt idx="4051">3.7000000000000002</cx:pt>
          <cx:pt idx="4052">3.7000000000000002</cx:pt>
          <cx:pt idx="4053">3.8999999999999999</cx:pt>
          <cx:pt idx="4054">3.5</cx:pt>
          <cx:pt idx="4055">3.5</cx:pt>
          <cx:pt idx="4056">3.6000000000000001</cx:pt>
          <cx:pt idx="4057">3.7999999999999998</cx:pt>
          <cx:pt idx="4058">4</cx:pt>
          <cx:pt idx="4059">3.8999999999999999</cx:pt>
          <cx:pt idx="4060">4.2000000000000002</cx:pt>
          <cx:pt idx="4061">3.7999999999999998</cx:pt>
          <cx:pt idx="4062">3.7999999999999998</cx:pt>
          <cx:pt idx="4063">3.8999999999999999</cx:pt>
          <cx:pt idx="4064">3.3999999999999999</cx:pt>
          <cx:pt idx="4065">3.7000000000000002</cx:pt>
          <cx:pt idx="4066">3.5</cx:pt>
          <cx:pt idx="4067">3.7999999999999998</cx:pt>
          <cx:pt idx="4068">3.7999999999999998</cx:pt>
          <cx:pt idx="4069">3.7000000000000002</cx:pt>
          <cx:pt idx="4070">3.2000000000000002</cx:pt>
          <cx:pt idx="4071">4.4000000000000004</cx:pt>
          <cx:pt idx="4072">4.5</cx:pt>
          <cx:pt idx="4073">4.4000000000000004</cx:pt>
          <cx:pt idx="4074">4.4000000000000004</cx:pt>
          <cx:pt idx="4075">4.4000000000000004</cx:pt>
          <cx:pt idx="4076">4.2000000000000002</cx:pt>
          <cx:pt idx="4077">4</cx:pt>
          <cx:pt idx="4078">4.2999999999999998</cx:pt>
          <cx:pt idx="4079">3.8999999999999999</cx:pt>
          <cx:pt idx="4080">3.6000000000000001</cx:pt>
          <cx:pt idx="4081">3</cx:pt>
          <cx:pt idx="4082">3</cx:pt>
          <cx:pt idx="4083">3.7999999999999998</cx:pt>
          <cx:pt idx="4084">3.6000000000000001</cx:pt>
          <cx:pt idx="4085">3.7000000000000002</cx:pt>
          <cx:pt idx="4086">3.2999999999999998</cx:pt>
          <cx:pt idx="4087">3.7999999999999998</cx:pt>
          <cx:pt idx="4088">3.7000000000000002</cx:pt>
          <cx:pt idx="4089">3.7999999999999998</cx:pt>
          <cx:pt idx="4090">3.7000000000000002</cx:pt>
          <cx:pt idx="4091">3.6000000000000001</cx:pt>
          <cx:pt idx="4092">2.7000000000000002</cx:pt>
          <cx:pt idx="4093">3.5</cx:pt>
          <cx:pt idx="4094">3.6000000000000001</cx:pt>
          <cx:pt idx="4095">3.7000000000000002</cx:pt>
          <cx:pt idx="4096">3.6000000000000001</cx:pt>
          <cx:pt idx="4097">3.3999999999999999</cx:pt>
          <cx:pt idx="4098">3.2999999999999998</cx:pt>
          <cx:pt idx="4099">3.3999999999999999</cx:pt>
          <cx:pt idx="4100">3.2000000000000002</cx:pt>
          <cx:pt idx="4101">3.5</cx:pt>
          <cx:pt idx="4102">3.2999999999999998</cx:pt>
          <cx:pt idx="4103">3</cx:pt>
          <cx:pt idx="4104">3.1000000000000001</cx:pt>
          <cx:pt idx="4105">3.6000000000000001</cx:pt>
          <cx:pt idx="4106">3.3999999999999999</cx:pt>
          <cx:pt idx="4107">0</cx:pt>
          <cx:pt idx="4108">3.2000000000000002</cx:pt>
          <cx:pt idx="4109">3.2000000000000002</cx:pt>
          <cx:pt idx="4110">3.2999999999999998</cx:pt>
          <cx:pt idx="4111">3.2000000000000002</cx:pt>
          <cx:pt idx="4112">3.2999999999999998</cx:pt>
          <cx:pt idx="4113">3.3999999999999999</cx:pt>
          <cx:pt idx="4114">3.2000000000000002</cx:pt>
          <cx:pt idx="4115">3.2999999999999998</cx:pt>
          <cx:pt idx="4116">3.3999999999999999</cx:pt>
          <cx:pt idx="4117">3.2999999999999998</cx:pt>
          <cx:pt idx="4118">3.2999999999999998</cx:pt>
          <cx:pt idx="4119">0</cx:pt>
          <cx:pt idx="4120">3.2000000000000002</cx:pt>
          <cx:pt idx="4121">3.2000000000000002</cx:pt>
          <cx:pt idx="4122">0</cx:pt>
          <cx:pt idx="4123">0</cx:pt>
          <cx:pt idx="4124">0</cx:pt>
          <cx:pt idx="4125">3.3999999999999999</cx:pt>
          <cx:pt idx="4126">0</cx:pt>
          <cx:pt idx="4127">0</cx:pt>
          <cx:pt idx="4128">0</cx:pt>
          <cx:pt idx="4129">0</cx:pt>
          <cx:pt idx="4130">0</cx:pt>
          <cx:pt idx="4131">0</cx:pt>
          <cx:pt idx="4132">0</cx:pt>
          <cx:pt idx="4133">0</cx:pt>
          <cx:pt idx="4134">0</cx:pt>
          <cx:pt idx="4135">0</cx:pt>
          <cx:pt idx="4136">0</cx:pt>
          <cx:pt idx="4137">0</cx:pt>
          <cx:pt idx="4138">0</cx:pt>
          <cx:pt idx="4139">0</cx:pt>
          <cx:pt idx="4140">0</cx:pt>
          <cx:pt idx="4141">0</cx:pt>
          <cx:pt idx="4142">0</cx:pt>
          <cx:pt idx="4143">0</cx:pt>
          <cx:pt idx="4144">0</cx:pt>
          <cx:pt idx="4145">0</cx:pt>
          <cx:pt idx="4146">0</cx:pt>
          <cx:pt idx="4147">3.7000000000000002</cx:pt>
          <cx:pt idx="4148">0</cx:pt>
          <cx:pt idx="4149">0</cx:pt>
          <cx:pt idx="4150">0</cx:pt>
          <cx:pt idx="4151">0</cx:pt>
          <cx:pt idx="4152">3.2999999999999998</cx:pt>
          <cx:pt idx="4153">4.2000000000000002</cx:pt>
          <cx:pt idx="4154">4</cx:pt>
          <cx:pt idx="4155">4.0999999999999996</cx:pt>
          <cx:pt idx="4156">3.8999999999999999</cx:pt>
          <cx:pt idx="4157">4.0999999999999996</cx:pt>
          <cx:pt idx="4158">4.0999999999999996</cx:pt>
          <cx:pt idx="4159">4.2000000000000002</cx:pt>
          <cx:pt idx="4160">4.5999999999999996</cx:pt>
          <cx:pt idx="4161">4.2999999999999998</cx:pt>
          <cx:pt idx="4162">4.2000000000000002</cx:pt>
          <cx:pt idx="4163">3.8999999999999999</cx:pt>
          <cx:pt idx="4164">4</cx:pt>
          <cx:pt idx="4165">4.2000000000000002</cx:pt>
          <cx:pt idx="4166">3.8999999999999999</cx:pt>
          <cx:pt idx="4167">3.8999999999999999</cx:pt>
          <cx:pt idx="4168">4.5</cx:pt>
          <cx:pt idx="4169">4.0999999999999996</cx:pt>
          <cx:pt idx="4170">3.8999999999999999</cx:pt>
          <cx:pt idx="4171">4.0999999999999996</cx:pt>
          <cx:pt idx="4172">4</cx:pt>
          <cx:pt idx="4173">4.0999999999999996</cx:pt>
          <cx:pt idx="4174">4.5</cx:pt>
          <cx:pt idx="4175">4.0999999999999996</cx:pt>
          <cx:pt idx="4176">4.2999999999999998</cx:pt>
          <cx:pt idx="4177">3.2999999999999998</cx:pt>
          <cx:pt idx="4178">4.0999999999999996</cx:pt>
          <cx:pt idx="4179">4.2999999999999998</cx:pt>
          <cx:pt idx="4180">4.0999999999999996</cx:pt>
          <cx:pt idx="4181">4</cx:pt>
          <cx:pt idx="4182">4.0999999999999996</cx:pt>
          <cx:pt idx="4183">4.2000000000000002</cx:pt>
          <cx:pt idx="4184">4.0999999999999996</cx:pt>
          <cx:pt idx="4185">3.8999999999999999</cx:pt>
          <cx:pt idx="4186">3.8999999999999999</cx:pt>
          <cx:pt idx="4187">4.0999999999999996</cx:pt>
          <cx:pt idx="4188">3.8999999999999999</cx:pt>
          <cx:pt idx="4189">4.0999999999999996</cx:pt>
          <cx:pt idx="4190">4</cx:pt>
          <cx:pt idx="4191">4</cx:pt>
          <cx:pt idx="4192">4.2000000000000002</cx:pt>
          <cx:pt idx="4193">3.8999999999999999</cx:pt>
          <cx:pt idx="4194">3.8999999999999999</cx:pt>
          <cx:pt idx="4195">3.7999999999999998</cx:pt>
          <cx:pt idx="4196">4.0999999999999996</cx:pt>
          <cx:pt idx="4197">4</cx:pt>
          <cx:pt idx="4198">3.8999999999999999</cx:pt>
          <cx:pt idx="4199">4.0999999999999996</cx:pt>
          <cx:pt idx="4200">4</cx:pt>
          <cx:pt idx="4201">4</cx:pt>
          <cx:pt idx="4202">3.7000000000000002</cx:pt>
          <cx:pt idx="4203">4</cx:pt>
          <cx:pt idx="4204">4.2000000000000002</cx:pt>
          <cx:pt idx="4205">4.0999999999999996</cx:pt>
          <cx:pt idx="4206">4.0999999999999996</cx:pt>
          <cx:pt idx="4207">4.0999999999999996</cx:pt>
          <cx:pt idx="4208">4</cx:pt>
          <cx:pt idx="4209">3.8999999999999999</cx:pt>
          <cx:pt idx="4210">4</cx:pt>
          <cx:pt idx="4211">3.8999999999999999</cx:pt>
          <cx:pt idx="4212">4</cx:pt>
          <cx:pt idx="4213">4</cx:pt>
          <cx:pt idx="4214">4.0999999999999996</cx:pt>
          <cx:pt idx="4215">4.2000000000000002</cx:pt>
          <cx:pt idx="4216">4.0999999999999996</cx:pt>
          <cx:pt idx="4217">4.0999999999999996</cx:pt>
          <cx:pt idx="4218">3.7999999999999998</cx:pt>
          <cx:pt idx="4219">4.2000000000000002</cx:pt>
          <cx:pt idx="4220">4</cx:pt>
          <cx:pt idx="4221">4</cx:pt>
          <cx:pt idx="4222">3.7999999999999998</cx:pt>
          <cx:pt idx="4223">3.8999999999999999</cx:pt>
          <cx:pt idx="4224">4</cx:pt>
          <cx:pt idx="4225">3.8999999999999999</cx:pt>
          <cx:pt idx="4226">3.8999999999999999</cx:pt>
          <cx:pt idx="4227">4.0999999999999996</cx:pt>
          <cx:pt idx="4228">3.8999999999999999</cx:pt>
          <cx:pt idx="4229">3.7999999999999998</cx:pt>
          <cx:pt idx="4230">4.0999999999999996</cx:pt>
          <cx:pt idx="4231">3.8999999999999999</cx:pt>
          <cx:pt idx="4232">3.7000000000000002</cx:pt>
          <cx:pt idx="4233">3.8999999999999999</cx:pt>
          <cx:pt idx="4234">4</cx:pt>
          <cx:pt idx="4235">3.8999999999999999</cx:pt>
          <cx:pt idx="4236">3.7999999999999998</cx:pt>
          <cx:pt idx="4237">4</cx:pt>
          <cx:pt idx="4238">4.0999999999999996</cx:pt>
          <cx:pt idx="4239">3.7999999999999998</cx:pt>
          <cx:pt idx="4240">4.5</cx:pt>
          <cx:pt idx="4241">4</cx:pt>
          <cx:pt idx="4242">3.7000000000000002</cx:pt>
          <cx:pt idx="4243">3.5</cx:pt>
          <cx:pt idx="4244">3.5</cx:pt>
          <cx:pt idx="4245">3.3999999999999999</cx:pt>
          <cx:pt idx="4246">3.6000000000000001</cx:pt>
          <cx:pt idx="4247">3.2999999999999998</cx:pt>
          <cx:pt idx="4248">0</cx:pt>
          <cx:pt idx="4249">0</cx:pt>
          <cx:pt idx="4250">0</cx:pt>
          <cx:pt idx="4251">0</cx:pt>
          <cx:pt idx="4252">0</cx:pt>
          <cx:pt idx="4253">0</cx:pt>
          <cx:pt idx="4254">0</cx:pt>
          <cx:pt idx="4255">0</cx:pt>
          <cx:pt idx="4256">0</cx:pt>
          <cx:pt idx="4257">0</cx:pt>
          <cx:pt idx="4258">0</cx:pt>
          <cx:pt idx="4259">0</cx:pt>
          <cx:pt idx="4260">4.2000000000000002</cx:pt>
          <cx:pt idx="4261">3.7999999999999998</cx:pt>
          <cx:pt idx="4262">4.0999999999999996</cx:pt>
          <cx:pt idx="4263">4.0999999999999996</cx:pt>
          <cx:pt idx="4264">3.8999999999999999</cx:pt>
          <cx:pt idx="4265">3.8999999999999999</cx:pt>
          <cx:pt idx="4266">4.0999999999999996</cx:pt>
          <cx:pt idx="4267">3.7999999999999998</cx:pt>
          <cx:pt idx="4268">3.8999999999999999</cx:pt>
          <cx:pt idx="4269">3.6000000000000001</cx:pt>
          <cx:pt idx="4270">3.7999999999999998</cx:pt>
          <cx:pt idx="4271">3.2000000000000002</cx:pt>
          <cx:pt idx="4272">3.6000000000000001</cx:pt>
          <cx:pt idx="4273">3.7999999999999998</cx:pt>
          <cx:pt idx="4274">3.7000000000000002</cx:pt>
          <cx:pt idx="4275">3</cx:pt>
          <cx:pt idx="4276">3.7000000000000002</cx:pt>
          <cx:pt idx="4277">3.7000000000000002</cx:pt>
          <cx:pt idx="4278">3.7999999999999998</cx:pt>
          <cx:pt idx="4279">3.7999999999999998</cx:pt>
          <cx:pt idx="4280">3.7000000000000002</cx:pt>
          <cx:pt idx="4281">3.6000000000000001</cx:pt>
          <cx:pt idx="4282">3.7000000000000002</cx:pt>
          <cx:pt idx="4283">3.1000000000000001</cx:pt>
          <cx:pt idx="4284">3.6000000000000001</cx:pt>
          <cx:pt idx="4285">3.2999999999999998</cx:pt>
          <cx:pt idx="4286">3.3999999999999999</cx:pt>
          <cx:pt idx="4287">3.5</cx:pt>
          <cx:pt idx="4288">3.5</cx:pt>
          <cx:pt idx="4289">3.2999999999999998</cx:pt>
          <cx:pt idx="4290">0</cx:pt>
          <cx:pt idx="4291">3.3999999999999999</cx:pt>
          <cx:pt idx="4292">3.2999999999999998</cx:pt>
          <cx:pt idx="4293">0</cx:pt>
          <cx:pt idx="4294">3.2999999999999998</cx:pt>
          <cx:pt idx="4295">3.3999999999999999</cx:pt>
          <cx:pt idx="4296">3.2999999999999998</cx:pt>
          <cx:pt idx="4297">0</cx:pt>
          <cx:pt idx="4298">3</cx:pt>
          <cx:pt idx="4299">3.2999999999999998</cx:pt>
          <cx:pt idx="4300">0</cx:pt>
          <cx:pt idx="4301">3.2999999999999998</cx:pt>
          <cx:pt idx="4302">0</cx:pt>
          <cx:pt idx="4303">0</cx:pt>
          <cx:pt idx="4304">0</cx:pt>
          <cx:pt idx="4305">0</cx:pt>
          <cx:pt idx="4306">0</cx:pt>
          <cx:pt idx="4307">0</cx:pt>
          <cx:pt idx="4308">0</cx:pt>
          <cx:pt idx="4309">0</cx:pt>
          <cx:pt idx="4310">0</cx:pt>
          <cx:pt idx="4311">0</cx:pt>
          <cx:pt idx="4312">0</cx:pt>
          <cx:pt idx="4313">0</cx:pt>
          <cx:pt idx="4314">0</cx:pt>
          <cx:pt idx="4315">0</cx:pt>
          <cx:pt idx="4316">0</cx:pt>
          <cx:pt idx="4317">0</cx:pt>
          <cx:pt idx="4318">0</cx:pt>
          <cx:pt idx="4319">0</cx:pt>
          <cx:pt idx="4320">3.5</cx:pt>
          <cx:pt idx="4321">3.2999999999999998</cx:pt>
          <cx:pt idx="4322">4.0999999999999996</cx:pt>
          <cx:pt idx="4323">4.2999999999999998</cx:pt>
          <cx:pt idx="4324">4.2999999999999998</cx:pt>
          <cx:pt idx="4325">4.0999999999999996</cx:pt>
          <cx:pt idx="4326">3.7000000000000002</cx:pt>
          <cx:pt idx="4327">4.2000000000000002</cx:pt>
          <cx:pt idx="4328">3.7999999999999998</cx:pt>
          <cx:pt idx="4329">3.7000000000000002</cx:pt>
          <cx:pt idx="4330">4</cx:pt>
          <cx:pt idx="4331">4.2000000000000002</cx:pt>
          <cx:pt idx="4332">4.5</cx:pt>
          <cx:pt idx="4333">4.2999999999999998</cx:pt>
          <cx:pt idx="4334">4.0999999999999996</cx:pt>
          <cx:pt idx="4335">4</cx:pt>
          <cx:pt idx="4336">3.7999999999999998</cx:pt>
          <cx:pt idx="4337">4.4000000000000004</cx:pt>
          <cx:pt idx="4338">3.2999999999999998</cx:pt>
          <cx:pt idx="4339">4.2000000000000002</cx:pt>
          <cx:pt idx="4340">4</cx:pt>
          <cx:pt idx="4341">4.2999999999999998</cx:pt>
          <cx:pt idx="4342">4.4000000000000004</cx:pt>
          <cx:pt idx="4343">4.2000000000000002</cx:pt>
          <cx:pt idx="4344">4.2999999999999998</cx:pt>
          <cx:pt idx="4345">4.5</cx:pt>
          <cx:pt idx="4346">4</cx:pt>
          <cx:pt idx="4347">3.7999999999999998</cx:pt>
          <cx:pt idx="4348">4.0999999999999996</cx:pt>
          <cx:pt idx="4349">4.2000000000000002</cx:pt>
          <cx:pt idx="4350">4.2000000000000002</cx:pt>
          <cx:pt idx="4351">4.2000000000000002</cx:pt>
          <cx:pt idx="4352">4.2000000000000002</cx:pt>
          <cx:pt idx="4353">4.0999999999999996</cx:pt>
          <cx:pt idx="4354">4.0999999999999996</cx:pt>
          <cx:pt idx="4355">4.4000000000000004</cx:pt>
          <cx:pt idx="4356">4.2000000000000002</cx:pt>
          <cx:pt idx="4357">4.2000000000000002</cx:pt>
          <cx:pt idx="4358">4.2999999999999998</cx:pt>
          <cx:pt idx="4359">4.2999999999999998</cx:pt>
          <cx:pt idx="4360">4</cx:pt>
          <cx:pt idx="4361">4.0999999999999996</cx:pt>
          <cx:pt idx="4362">4.0999999999999996</cx:pt>
          <cx:pt idx="4363">3.8999999999999999</cx:pt>
          <cx:pt idx="4364">4.2000000000000002</cx:pt>
          <cx:pt idx="4365">4.0999999999999996</cx:pt>
          <cx:pt idx="4366">4.2000000000000002</cx:pt>
          <cx:pt idx="4367">4</cx:pt>
          <cx:pt idx="4368">4.0999999999999996</cx:pt>
          <cx:pt idx="4369">4.0999999999999996</cx:pt>
          <cx:pt idx="4370">4.2999999999999998</cx:pt>
          <cx:pt idx="4371">4</cx:pt>
          <cx:pt idx="4372">4</cx:pt>
          <cx:pt idx="4373">3.8999999999999999</cx:pt>
          <cx:pt idx="4374">4.5</cx:pt>
          <cx:pt idx="4375">3.8999999999999999</cx:pt>
          <cx:pt idx="4376">4</cx:pt>
          <cx:pt idx="4377">3.8999999999999999</cx:pt>
          <cx:pt idx="4378">4.2999999999999998</cx:pt>
          <cx:pt idx="4379">4.2999999999999998</cx:pt>
          <cx:pt idx="4380">0</cx:pt>
          <cx:pt idx="4381">4.2000000000000002</cx:pt>
          <cx:pt idx="4382">4</cx:pt>
          <cx:pt idx="4383">4.2000000000000002</cx:pt>
          <cx:pt idx="4384">4.2999999999999998</cx:pt>
          <cx:pt idx="4385">4</cx:pt>
          <cx:pt idx="4386">3.8999999999999999</cx:pt>
          <cx:pt idx="4387">3.6000000000000001</cx:pt>
          <cx:pt idx="4388">4</cx:pt>
          <cx:pt idx="4389">3.6000000000000001</cx:pt>
          <cx:pt idx="4390">3.7999999999999998</cx:pt>
          <cx:pt idx="4391">3.8999999999999999</cx:pt>
          <cx:pt idx="4392">3.7999999999999998</cx:pt>
          <cx:pt idx="4393">3.8999999999999999</cx:pt>
          <cx:pt idx="4394">4</cx:pt>
          <cx:pt idx="4395">4.0999999999999996</cx:pt>
          <cx:pt idx="4396">3.6000000000000001</cx:pt>
          <cx:pt idx="4397">3.8999999999999999</cx:pt>
          <cx:pt idx="4398">3</cx:pt>
          <cx:pt idx="4399">3.8999999999999999</cx:pt>
          <cx:pt idx="4400">3.7000000000000002</cx:pt>
          <cx:pt idx="4401">3.7000000000000002</cx:pt>
          <cx:pt idx="4402">3.5</cx:pt>
          <cx:pt idx="4403">4</cx:pt>
          <cx:pt idx="4404">4</cx:pt>
          <cx:pt idx="4405">3.7999999999999998</cx:pt>
          <cx:pt idx="4406">3.7999999999999998</cx:pt>
          <cx:pt idx="4407">3.7000000000000002</cx:pt>
          <cx:pt idx="4408">3.7000000000000002</cx:pt>
          <cx:pt idx="4409">3.2999999999999998</cx:pt>
          <cx:pt idx="4410">3.8999999999999999</cx:pt>
          <cx:pt idx="4411">3.6000000000000001</cx:pt>
          <cx:pt idx="4412">3.8999999999999999</cx:pt>
          <cx:pt idx="4413">0</cx:pt>
          <cx:pt idx="4414">3</cx:pt>
          <cx:pt idx="4415">3.7000000000000002</cx:pt>
          <cx:pt idx="4416">4.0999999999999996</cx:pt>
          <cx:pt idx="4417">3.5</cx:pt>
          <cx:pt idx="4418">3.7999999999999998</cx:pt>
          <cx:pt idx="4419">3</cx:pt>
          <cx:pt idx="4420">3.6000000000000001</cx:pt>
          <cx:pt idx="4421">3.2000000000000002</cx:pt>
          <cx:pt idx="4422">3.2999999999999998</cx:pt>
          <cx:pt idx="4423">3.6000000000000001</cx:pt>
          <cx:pt idx="4424">0</cx:pt>
          <cx:pt idx="4425">3.5</cx:pt>
          <cx:pt idx="4426">3.5</cx:pt>
          <cx:pt idx="4427">4</cx:pt>
          <cx:pt idx="4428">4</cx:pt>
          <cx:pt idx="4429">3.6000000000000001</cx:pt>
          <cx:pt idx="4430">4</cx:pt>
          <cx:pt idx="4431">4.0999999999999996</cx:pt>
          <cx:pt idx="4432">0</cx:pt>
          <cx:pt idx="4433">0</cx:pt>
          <cx:pt idx="4434">3.7999999999999998</cx:pt>
          <cx:pt idx="4435">4</cx:pt>
          <cx:pt idx="4436">4.5</cx:pt>
          <cx:pt idx="4437">4.5</cx:pt>
          <cx:pt idx="4438">4.2000000000000002</cx:pt>
          <cx:pt idx="4439">4.4000000000000004</cx:pt>
          <cx:pt idx="4440">4.2000000000000002</cx:pt>
          <cx:pt idx="4441">3.3999999999999999</cx:pt>
          <cx:pt idx="4442">4.2999999999999998</cx:pt>
          <cx:pt idx="4443">4.4000000000000004</cx:pt>
          <cx:pt idx="4444">4.2999999999999998</cx:pt>
          <cx:pt idx="4445">4.0999999999999996</cx:pt>
          <cx:pt idx="4446">4</cx:pt>
          <cx:pt idx="4447">4.0999999999999996</cx:pt>
          <cx:pt idx="4448">3.7000000000000002</cx:pt>
          <cx:pt idx="4449">3.8999999999999999</cx:pt>
          <cx:pt idx="4450">4.2999999999999998</cx:pt>
          <cx:pt idx="4451">4.4000000000000004</cx:pt>
          <cx:pt idx="4452">4.2999999999999998</cx:pt>
          <cx:pt idx="4453">4.2000000000000002</cx:pt>
          <cx:pt idx="4454">4.2999999999999998</cx:pt>
          <cx:pt idx="4455">4.0999999999999996</cx:pt>
          <cx:pt idx="4456">4.2999999999999998</cx:pt>
          <cx:pt idx="4457">4</cx:pt>
          <cx:pt idx="4458">4.5999999999999996</cx:pt>
          <cx:pt idx="4459">4.0999999999999996</cx:pt>
          <cx:pt idx="4460">4.2000000000000002</cx:pt>
          <cx:pt idx="4461">4.2999999999999998</cx:pt>
          <cx:pt idx="4462">4.0999999999999996</cx:pt>
          <cx:pt idx="4463">4</cx:pt>
          <cx:pt idx="4464">4.4000000000000004</cx:pt>
          <cx:pt idx="4465">4.4000000000000004</cx:pt>
          <cx:pt idx="4466">4.2999999999999998</cx:pt>
          <cx:pt idx="4467">4.2000000000000002</cx:pt>
          <cx:pt idx="4468">4</cx:pt>
          <cx:pt idx="4469">4.0999999999999996</cx:pt>
          <cx:pt idx="4470">4</cx:pt>
          <cx:pt idx="4471">4.4000000000000004</cx:pt>
          <cx:pt idx="4472">4</cx:pt>
          <cx:pt idx="4473">4.0999999999999996</cx:pt>
          <cx:pt idx="4474">4</cx:pt>
          <cx:pt idx="4475">3.7000000000000002</cx:pt>
          <cx:pt idx="4476">3.7999999999999998</cx:pt>
          <cx:pt idx="4477">3.8999999999999999</cx:pt>
          <cx:pt idx="4478">3.7000000000000002</cx:pt>
          <cx:pt idx="4479">3.7999999999999998</cx:pt>
          <cx:pt idx="4480">4.5</cx:pt>
          <cx:pt idx="4481">4.2999999999999998</cx:pt>
          <cx:pt idx="4482">4.2999999999999998</cx:pt>
          <cx:pt idx="4483">4.2999999999999998</cx:pt>
          <cx:pt idx="4484">4.2000000000000002</cx:pt>
          <cx:pt idx="4485">4.2000000000000002</cx:pt>
          <cx:pt idx="4486">4.2999999999999998</cx:pt>
          <cx:pt idx="4487">4.4000000000000004</cx:pt>
          <cx:pt idx="4488">4.2000000000000002</cx:pt>
          <cx:pt idx="4489">3.7999999999999998</cx:pt>
          <cx:pt idx="4490">4</cx:pt>
          <cx:pt idx="4491">4.2999999999999998</cx:pt>
          <cx:pt idx="4492">4.2000000000000002</cx:pt>
          <cx:pt idx="4493">4.0999999999999996</cx:pt>
          <cx:pt idx="4494">4.0999999999999996</cx:pt>
          <cx:pt idx="4495">4.2999999999999998</cx:pt>
          <cx:pt idx="4496">4</cx:pt>
          <cx:pt idx="4497">4.2000000000000002</cx:pt>
          <cx:pt idx="4498">4.0999999999999996</cx:pt>
          <cx:pt idx="4499">4.5999999999999996</cx:pt>
          <cx:pt idx="4500">4.0999999999999996</cx:pt>
          <cx:pt idx="4501">4.2000000000000002</cx:pt>
          <cx:pt idx="4502">4.2000000000000002</cx:pt>
          <cx:pt idx="4503">4.0999999999999996</cx:pt>
          <cx:pt idx="4504">3.8999999999999999</cx:pt>
          <cx:pt idx="4505">4.0999999999999996</cx:pt>
          <cx:pt idx="4506">4</cx:pt>
          <cx:pt idx="4507">4.0999999999999996</cx:pt>
          <cx:pt idx="4508">4.2999999999999998</cx:pt>
          <cx:pt idx="4509">3.7000000000000002</cx:pt>
          <cx:pt idx="4510">4.2000000000000002</cx:pt>
          <cx:pt idx="4511">4.0999999999999996</cx:pt>
          <cx:pt idx="4512">4.2999999999999998</cx:pt>
          <cx:pt idx="4513">4.2000000000000002</cx:pt>
          <cx:pt idx="4514">3.7999999999999998</cx:pt>
          <cx:pt idx="4515">4</cx:pt>
          <cx:pt idx="4516">4.0999999999999996</cx:pt>
          <cx:pt idx="4517">4</cx:pt>
          <cx:pt idx="4518">4</cx:pt>
          <cx:pt idx="4519">4.4000000000000004</cx:pt>
          <cx:pt idx="4520">4</cx:pt>
          <cx:pt idx="4521">4.2999999999999998</cx:pt>
          <cx:pt idx="4522">4.2999999999999998</cx:pt>
          <cx:pt idx="4523">4.2000000000000002</cx:pt>
          <cx:pt idx="4524">4.0999999999999996</cx:pt>
          <cx:pt idx="4525">4.0999999999999996</cx:pt>
          <cx:pt idx="4526">3.8999999999999999</cx:pt>
          <cx:pt idx="4527">4.2000000000000002</cx:pt>
          <cx:pt idx="4528">4.2000000000000002</cx:pt>
          <cx:pt idx="4529">4.2999999999999998</cx:pt>
          <cx:pt idx="4530">4.4000000000000004</cx:pt>
          <cx:pt idx="4531">4.4000000000000004</cx:pt>
          <cx:pt idx="4532">4.4000000000000004</cx:pt>
          <cx:pt idx="4533">4.2999999999999998</cx:pt>
          <cx:pt idx="4534">4</cx:pt>
          <cx:pt idx="4535">4.4000000000000004</cx:pt>
          <cx:pt idx="4536">4.2000000000000002</cx:pt>
          <cx:pt idx="4537">4</cx:pt>
          <cx:pt idx="4538">4.2999999999999998</cx:pt>
          <cx:pt idx="4539">4.0999999999999996</cx:pt>
          <cx:pt idx="4540">4.4000000000000004</cx:pt>
          <cx:pt idx="4541">4.2999999999999998</cx:pt>
          <cx:pt idx="4542">3.7999999999999998</cx:pt>
          <cx:pt idx="4543">4.4000000000000004</cx:pt>
          <cx:pt idx="4544">4.2999999999999998</cx:pt>
          <cx:pt idx="4545">4.2999999999999998</cx:pt>
          <cx:pt idx="4546">4.0999999999999996</cx:pt>
          <cx:pt idx="4547">4.0999999999999996</cx:pt>
          <cx:pt idx="4548">4.0999999999999996</cx:pt>
          <cx:pt idx="4549">4.2000000000000002</cx:pt>
          <cx:pt idx="4550">4.4000000000000004</cx:pt>
          <cx:pt idx="4551">3.8999999999999999</cx:pt>
          <cx:pt idx="4552">4.2000000000000002</cx:pt>
          <cx:pt idx="4553">3.7999999999999998</cx:pt>
          <cx:pt idx="4554">4.4000000000000004</cx:pt>
          <cx:pt idx="4555">4.2999999999999998</cx:pt>
          <cx:pt idx="4556">4.2000000000000002</cx:pt>
          <cx:pt idx="4557">4.4000000000000004</cx:pt>
          <cx:pt idx="4558">4.2000000000000002</cx:pt>
          <cx:pt idx="4559">4.4000000000000004</cx:pt>
          <cx:pt idx="4560">4.2000000000000002</cx:pt>
          <cx:pt idx="4561">4.2000000000000002</cx:pt>
          <cx:pt idx="4562">4.2000000000000002</cx:pt>
          <cx:pt idx="4563">4.2999999999999998</cx:pt>
          <cx:pt idx="4564">4.2000000000000002</cx:pt>
          <cx:pt idx="4565">4.2000000000000002</cx:pt>
          <cx:pt idx="4566">4.0999999999999996</cx:pt>
          <cx:pt idx="4567">4.2999999999999998</cx:pt>
          <cx:pt idx="4568">4.0999999999999996</cx:pt>
          <cx:pt idx="4569">4.2000000000000002</cx:pt>
          <cx:pt idx="4570">4.4000000000000004</cx:pt>
          <cx:pt idx="4571">4.0999999999999996</cx:pt>
          <cx:pt idx="4572">4.2000000000000002</cx:pt>
          <cx:pt idx="4573">4.0999999999999996</cx:pt>
          <cx:pt idx="4574">3.8999999999999999</cx:pt>
          <cx:pt idx="4575">4.0999999999999996</cx:pt>
          <cx:pt idx="4576">4.2000000000000002</cx:pt>
          <cx:pt idx="4577">4</cx:pt>
          <cx:pt idx="4578">4</cx:pt>
          <cx:pt idx="4579">3.8999999999999999</cx:pt>
          <cx:pt idx="4580">3.7999999999999998</cx:pt>
          <cx:pt idx="4581">3.7999999999999998</cx:pt>
          <cx:pt idx="4582">4.2000000000000002</cx:pt>
          <cx:pt idx="4583">4.2999999999999998</cx:pt>
          <cx:pt idx="4584">4.2000000000000002</cx:pt>
          <cx:pt idx="4585">4.2000000000000002</cx:pt>
          <cx:pt idx="4586">4.0999999999999996</cx:pt>
          <cx:pt idx="4587">3.6000000000000001</cx:pt>
          <cx:pt idx="4588">4.2999999999999998</cx:pt>
          <cx:pt idx="4589">4.0999999999999996</cx:pt>
          <cx:pt idx="4590">4.0999999999999996</cx:pt>
          <cx:pt idx="4591">4.0999999999999996</cx:pt>
          <cx:pt idx="4592">4.2000000000000002</cx:pt>
          <cx:pt idx="4593">4.0999999999999996</cx:pt>
          <cx:pt idx="4594">4.0999999999999996</cx:pt>
          <cx:pt idx="4595">4</cx:pt>
          <cx:pt idx="4596">3.8999999999999999</cx:pt>
          <cx:pt idx="4597">4</cx:pt>
          <cx:pt idx="4598">4.0999999999999996</cx:pt>
          <cx:pt idx="4599">4.2000000000000002</cx:pt>
          <cx:pt idx="4600">3.8999999999999999</cx:pt>
          <cx:pt idx="4601">3.7999999999999998</cx:pt>
          <cx:pt idx="4602">3.7999999999999998</cx:pt>
          <cx:pt idx="4603">3.2999999999999998</cx:pt>
          <cx:pt idx="4604">3.7000000000000002</cx:pt>
          <cx:pt idx="4605">4</cx:pt>
          <cx:pt idx="4606">3.7999999999999998</cx:pt>
          <cx:pt idx="4607">3</cx:pt>
          <cx:pt idx="4608">3.3999999999999999</cx:pt>
          <cx:pt idx="4609">3.2999999999999998</cx:pt>
          <cx:pt idx="4610">3.6000000000000001</cx:pt>
          <cx:pt idx="4611">3.7000000000000002</cx:pt>
          <cx:pt idx="4612">3.7000000000000002</cx:pt>
          <cx:pt idx="4613">3.7000000000000002</cx:pt>
          <cx:pt idx="4614">3.7000000000000002</cx:pt>
          <cx:pt idx="4615">3.7999999999999998</cx:pt>
          <cx:pt idx="4616">3.8999999999999999</cx:pt>
          <cx:pt idx="4617">3.5</cx:pt>
          <cx:pt idx="4618">3.7999999999999998</cx:pt>
          <cx:pt idx="4619">2.8999999999999999</cx:pt>
          <cx:pt idx="4620">3.1000000000000001</cx:pt>
          <cx:pt idx="4621">3.1000000000000001</cx:pt>
          <cx:pt idx="4622">3.7000000000000002</cx:pt>
          <cx:pt idx="4623">3.3999999999999999</cx:pt>
          <cx:pt idx="4624">3.6000000000000001</cx:pt>
          <cx:pt idx="4625">3.7999999999999998</cx:pt>
          <cx:pt idx="4626">3.2999999999999998</cx:pt>
          <cx:pt idx="4627">3.7000000000000002</cx:pt>
          <cx:pt idx="4628">3.7999999999999998</cx:pt>
          <cx:pt idx="4629">3.7000000000000002</cx:pt>
          <cx:pt idx="4630">3.6000000000000001</cx:pt>
          <cx:pt idx="4631">3.7999999999999998</cx:pt>
          <cx:pt idx="4632">3.5</cx:pt>
          <cx:pt idx="4633">3.5</cx:pt>
          <cx:pt idx="4634">3.5</cx:pt>
          <cx:pt idx="4635">3.7999999999999998</cx:pt>
          <cx:pt idx="4636">3.7000000000000002</cx:pt>
          <cx:pt idx="4637">3.3999999999999999</cx:pt>
          <cx:pt idx="4638">3.3999999999999999</cx:pt>
          <cx:pt idx="4639">3.3999999999999999</cx:pt>
          <cx:pt idx="4640">4.2000000000000002</cx:pt>
          <cx:pt idx="4641">4.2000000000000002</cx:pt>
          <cx:pt idx="4642">4.2999999999999998</cx:pt>
          <cx:pt idx="4643">4.0999999999999996</cx:pt>
          <cx:pt idx="4644">4.2999999999999998</cx:pt>
          <cx:pt idx="4645">4.0999999999999996</cx:pt>
          <cx:pt idx="4646">4.0999999999999996</cx:pt>
          <cx:pt idx="4647">4.2999999999999998</cx:pt>
          <cx:pt idx="4648">3.8999999999999999</cx:pt>
          <cx:pt idx="4649">4</cx:pt>
          <cx:pt idx="4650">4.2999999999999998</cx:pt>
          <cx:pt idx="4651">4.5</cx:pt>
          <cx:pt idx="4652">4.2999999999999998</cx:pt>
          <cx:pt idx="4653">4.5</cx:pt>
          <cx:pt idx="4654">4.0999999999999996</cx:pt>
          <cx:pt idx="4655">3.7000000000000002</cx:pt>
          <cx:pt idx="4656">4.4000000000000004</cx:pt>
          <cx:pt idx="4657">4.2000000000000002</cx:pt>
          <cx:pt idx="4658">4.2999999999999998</cx:pt>
          <cx:pt idx="4659">4.0999999999999996</cx:pt>
          <cx:pt idx="4660">4.4000000000000004</cx:pt>
          <cx:pt idx="4661">4.5999999999999996</cx:pt>
          <cx:pt idx="4662">4</cx:pt>
          <cx:pt idx="4663">4.4000000000000004</cx:pt>
          <cx:pt idx="4664">3.8999999999999999</cx:pt>
          <cx:pt idx="4665">3.7000000000000002</cx:pt>
          <cx:pt idx="4666">4.4000000000000004</cx:pt>
          <cx:pt idx="4667">3.7000000000000002</cx:pt>
          <cx:pt idx="4668">4.0999999999999996</cx:pt>
          <cx:pt idx="4669">4.2999999999999998</cx:pt>
          <cx:pt idx="4670">4.0999999999999996</cx:pt>
          <cx:pt idx="4671">4.2000000000000002</cx:pt>
          <cx:pt idx="4672">4.7000000000000002</cx:pt>
          <cx:pt idx="4673">4.0999999999999996</cx:pt>
          <cx:pt idx="4674">4.0999999999999996</cx:pt>
          <cx:pt idx="4675">4.4000000000000004</cx:pt>
          <cx:pt idx="4676">4.2000000000000002</cx:pt>
          <cx:pt idx="4677">3.7999999999999998</cx:pt>
          <cx:pt idx="4678">4.0999999999999996</cx:pt>
          <cx:pt idx="4679">3.7000000000000002</cx:pt>
          <cx:pt idx="4680">4.2999999999999998</cx:pt>
          <cx:pt idx="4681">4.0999999999999996</cx:pt>
          <cx:pt idx="4682">2.7999999999999998</cx:pt>
          <cx:pt idx="4683">4</cx:pt>
          <cx:pt idx="4684">3.6000000000000001</cx:pt>
          <cx:pt idx="4685">4.2000000000000002</cx:pt>
          <cx:pt idx="4686">3.2999999999999998</cx:pt>
          <cx:pt idx="4687">4.5</cx:pt>
          <cx:pt idx="4688">4.5</cx:pt>
          <cx:pt idx="4689">4.4000000000000004</cx:pt>
          <cx:pt idx="4690">3.7000000000000002</cx:pt>
          <cx:pt idx="4691">4.2999999999999998</cx:pt>
          <cx:pt idx="4692">4.2000000000000002</cx:pt>
          <cx:pt idx="4693">4</cx:pt>
          <cx:pt idx="4694">3.7999999999999998</cx:pt>
          <cx:pt idx="4695">3.2000000000000002</cx:pt>
          <cx:pt idx="4696">3.7999999999999998</cx:pt>
          <cx:pt idx="4697">3.6000000000000001</cx:pt>
          <cx:pt idx="4698">4.0999999999999996</cx:pt>
          <cx:pt idx="4699">3.5</cx:pt>
          <cx:pt idx="4700">3.3999999999999999</cx:pt>
          <cx:pt idx="4701">3.1000000000000001</cx:pt>
          <cx:pt idx="4702">3</cx:pt>
          <cx:pt idx="4703">0</cx:pt>
          <cx:pt idx="4704">2.2999999999999998</cx:pt>
          <cx:pt idx="4705">3.8999999999999999</cx:pt>
          <cx:pt idx="4706">0</cx:pt>
          <cx:pt idx="4707">3.2000000000000002</cx:pt>
          <cx:pt idx="4708">3.2000000000000002</cx:pt>
          <cx:pt idx="4709">0</cx:pt>
          <cx:pt idx="4710">0</cx:pt>
          <cx:pt idx="4711">0</cx:pt>
          <cx:pt idx="4712">0</cx:pt>
          <cx:pt idx="4713">0</cx:pt>
          <cx:pt idx="4714">4.5999999999999996</cx:pt>
          <cx:pt idx="4715">4.2999999999999998</cx:pt>
          <cx:pt idx="4716">3.7000000000000002</cx:pt>
          <cx:pt idx="4717">3.3999999999999999</cx:pt>
          <cx:pt idx="4718">3.5</cx:pt>
          <cx:pt idx="4719">3.7000000000000002</cx:pt>
          <cx:pt idx="4720">3.5</cx:pt>
          <cx:pt idx="4721">3.2999999999999998</cx:pt>
          <cx:pt idx="4722">3.2999999999999998</cx:pt>
          <cx:pt idx="4723">0</cx:pt>
          <cx:pt idx="4724">3.7000000000000002</cx:pt>
          <cx:pt idx="4725">3.2999999999999998</cx:pt>
          <cx:pt idx="4726">3.1000000000000001</cx:pt>
          <cx:pt idx="4727">2.7999999999999998</cx:pt>
          <cx:pt idx="4728">2.8999999999999999</cx:pt>
          <cx:pt idx="4729">2.7999999999999998</cx:pt>
          <cx:pt idx="4730">0</cx:pt>
          <cx:pt idx="4731">3.2000000000000002</cx:pt>
          <cx:pt idx="4732">2.8999999999999999</cx:pt>
          <cx:pt idx="4733">3.2000000000000002</cx:pt>
          <cx:pt idx="4734">3.2000000000000002</cx:pt>
          <cx:pt idx="4735">3</cx:pt>
          <cx:pt idx="4736">3.2000000000000002</cx:pt>
          <cx:pt idx="4737">2.8999999999999999</cx:pt>
          <cx:pt idx="4738">0</cx:pt>
          <cx:pt idx="4739">2.8999999999999999</cx:pt>
          <cx:pt idx="4740">3.1000000000000001</cx:pt>
          <cx:pt idx="4741">0</cx:pt>
          <cx:pt idx="4742">0</cx:pt>
          <cx:pt idx="4743">0</cx:pt>
          <cx:pt idx="4744">0</cx:pt>
          <cx:pt idx="4745">0</cx:pt>
          <cx:pt idx="4746">0</cx:pt>
          <cx:pt idx="4747">0</cx:pt>
          <cx:pt idx="4748">0</cx:pt>
          <cx:pt idx="4749">0</cx:pt>
          <cx:pt idx="4750">0</cx:pt>
          <cx:pt idx="4751">0</cx:pt>
          <cx:pt idx="4752">0</cx:pt>
          <cx:pt idx="4753">0</cx:pt>
          <cx:pt idx="4754">0</cx:pt>
          <cx:pt idx="4755">0</cx:pt>
          <cx:pt idx="4756">0</cx:pt>
          <cx:pt idx="4757">0</cx:pt>
          <cx:pt idx="4758">0</cx:pt>
          <cx:pt idx="4759">0</cx:pt>
          <cx:pt idx="4760">0</cx:pt>
          <cx:pt idx="4761">0</cx:pt>
          <cx:pt idx="4762">0</cx:pt>
          <cx:pt idx="4763">0</cx:pt>
          <cx:pt idx="4764">0</cx:pt>
          <cx:pt idx="4765">0</cx:pt>
          <cx:pt idx="4766">0</cx:pt>
          <cx:pt idx="4767">0</cx:pt>
          <cx:pt idx="4768">4.2999999999999998</cx:pt>
          <cx:pt idx="4769">4.5999999999999996</cx:pt>
          <cx:pt idx="4770">3.7999999999999998</cx:pt>
          <cx:pt idx="4771">4</cx:pt>
          <cx:pt idx="4772">3.6000000000000001</cx:pt>
          <cx:pt idx="4773">3.8999999999999999</cx:pt>
          <cx:pt idx="4774">3.7000000000000002</cx:pt>
          <cx:pt idx="4775">3.5</cx:pt>
          <cx:pt idx="4776">3.2999999999999998</cx:pt>
          <cx:pt idx="4777">3.2000000000000002</cx:pt>
          <cx:pt idx="4778">3.6000000000000001</cx:pt>
          <cx:pt idx="4779">3.3999999999999999</cx:pt>
          <cx:pt idx="4780">3.6000000000000001</cx:pt>
          <cx:pt idx="4781">3.5</cx:pt>
          <cx:pt idx="4782">3.3999999999999999</cx:pt>
          <cx:pt idx="4783">3.5</cx:pt>
          <cx:pt idx="4784">3.6000000000000001</cx:pt>
          <cx:pt idx="4785">3.7000000000000002</cx:pt>
          <cx:pt idx="4786">3.3999999999999999</cx:pt>
          <cx:pt idx="4787">3.2999999999999998</cx:pt>
          <cx:pt idx="4788">3.2999999999999998</cx:pt>
          <cx:pt idx="4789">3.2999999999999998</cx:pt>
          <cx:pt idx="4790">3.3999999999999999</cx:pt>
          <cx:pt idx="4791">3.5</cx:pt>
          <cx:pt idx="4792">4.9000000000000004</cx:pt>
          <cx:pt idx="4793">4.5</cx:pt>
          <cx:pt idx="4794">4.4000000000000004</cx:pt>
          <cx:pt idx="4795">4.4000000000000004</cx:pt>
          <cx:pt idx="4796">4.2999999999999998</cx:pt>
          <cx:pt idx="4797">4.2999999999999998</cx:pt>
          <cx:pt idx="4798">4.2999999999999998</cx:pt>
          <cx:pt idx="4799">4.2999999999999998</cx:pt>
          <cx:pt idx="4800">4.2000000000000002</cx:pt>
          <cx:pt idx="4801">4.2000000000000002</cx:pt>
          <cx:pt idx="4802">4.2000000000000002</cx:pt>
          <cx:pt idx="4803">4.2000000000000002</cx:pt>
          <cx:pt idx="4804">4.2000000000000002</cx:pt>
          <cx:pt idx="4805">4.2000000000000002</cx:pt>
          <cx:pt idx="4806">4.2000000000000002</cx:pt>
          <cx:pt idx="4807">4.2000000000000002</cx:pt>
          <cx:pt idx="4808">4.2000000000000002</cx:pt>
          <cx:pt idx="4809">4.2000000000000002</cx:pt>
          <cx:pt idx="4810">4.0999999999999996</cx:pt>
          <cx:pt idx="4811">4.0999999999999996</cx:pt>
          <cx:pt idx="4812">2.1000000000000001</cx:pt>
          <cx:pt idx="4813">2.5</cx:pt>
          <cx:pt idx="4814">2.5</cx:pt>
          <cx:pt idx="4815">2.6000000000000001</cx:pt>
          <cx:pt idx="4816">2.6000000000000001</cx:pt>
          <cx:pt idx="4817">2.6000000000000001</cx:pt>
          <cx:pt idx="4818">2.7000000000000002</cx:pt>
          <cx:pt idx="4819">2.7000000000000002</cx:pt>
          <cx:pt idx="4820">2.7000000000000002</cx:pt>
          <cx:pt idx="4821">2.7000000000000002</cx:pt>
          <cx:pt idx="4822">2.7000000000000002</cx:pt>
          <cx:pt idx="4823">2.7000000000000002</cx:pt>
          <cx:pt idx="4824">2.7000000000000002</cx:pt>
          <cx:pt idx="4825">2.7000000000000002</cx:pt>
          <cx:pt idx="4826">2.7000000000000002</cx:pt>
          <cx:pt idx="4827">2.7000000000000002</cx:pt>
          <cx:pt idx="4828">2.7999999999999998</cx:pt>
          <cx:pt idx="4829">2.7999999999999998</cx:pt>
          <cx:pt idx="4830">2.7999999999999998</cx:pt>
          <cx:pt idx="4831">2.7999999999999998</cx:pt>
          <cx:pt idx="4832">2.7999999999999998</cx:pt>
          <cx:pt idx="4833">2.7999999999999998</cx:pt>
          <cx:pt idx="4834">2.7999999999999998</cx:pt>
          <cx:pt idx="4835">2.7999999999999998</cx:pt>
          <cx:pt idx="4836">2.7999999999999998</cx:pt>
          <cx:pt idx="4837">2.7999999999999998</cx:pt>
          <cx:pt idx="4838">2.7999999999999998</cx:pt>
          <cx:pt idx="4839">2.7999999999999998</cx:pt>
          <cx:pt idx="4840">2.7999999999999998</cx:pt>
          <cx:pt idx="4841">2.7999999999999998</cx:pt>
          <cx:pt idx="4842">3.7999999999999998</cx:pt>
          <cx:pt idx="4843">3.7999999999999998</cx:pt>
          <cx:pt idx="4844">4</cx:pt>
          <cx:pt idx="4845">3.7999999999999998</cx:pt>
          <cx:pt idx="4846">3.8999999999999999</cx:pt>
          <cx:pt idx="4847">3.8999999999999999</cx:pt>
          <cx:pt idx="4848">3.2999999999999998</cx:pt>
          <cx:pt idx="4849">3.3999999999999999</cx:pt>
          <cx:pt idx="4850">3.8999999999999999</cx:pt>
          <cx:pt idx="4851">3.2999999999999998</cx:pt>
          <cx:pt idx="4852">4</cx:pt>
          <cx:pt idx="4853">3.7000000000000002</cx:pt>
          <cx:pt idx="4854">3.8999999999999999</cx:pt>
          <cx:pt idx="4855">3.7000000000000002</cx:pt>
          <cx:pt idx="4856">3.8999999999999999</cx:pt>
          <cx:pt idx="4857">3.8999999999999999</cx:pt>
          <cx:pt idx="4858">4</cx:pt>
          <cx:pt idx="4859">3.8999999999999999</cx:pt>
          <cx:pt idx="4860">3.7999999999999998</cx:pt>
          <cx:pt idx="4861">4.0999999999999996</cx:pt>
          <cx:pt idx="4862">3.8999999999999999</cx:pt>
          <cx:pt idx="4863">3.2999999999999998</cx:pt>
          <cx:pt idx="4864">3.6000000000000001</cx:pt>
          <cx:pt idx="4865">4.0999999999999996</cx:pt>
          <cx:pt idx="4866">3.8999999999999999</cx:pt>
          <cx:pt idx="4867">4.0999999999999996</cx:pt>
          <cx:pt idx="4868">4</cx:pt>
          <cx:pt idx="4869">3.7999999999999998</cx:pt>
          <cx:pt idx="4870">3.8999999999999999</cx:pt>
          <cx:pt idx="4871">4</cx:pt>
          <cx:pt idx="4872">3.7000000000000002</cx:pt>
          <cx:pt idx="4873">3.8999999999999999</cx:pt>
          <cx:pt idx="4874">3.6000000000000001</cx:pt>
          <cx:pt idx="4875">3.5</cx:pt>
          <cx:pt idx="4876">3.5</cx:pt>
          <cx:pt idx="4877">3.2999999999999998</cx:pt>
          <cx:pt idx="4878">3.2999999999999998</cx:pt>
          <cx:pt idx="4879">3.2000000000000002</cx:pt>
          <cx:pt idx="4880">2.8999999999999999</cx:pt>
          <cx:pt idx="4881">3.2000000000000002</cx:pt>
          <cx:pt idx="4882">0</cx:pt>
          <cx:pt idx="4883">0</cx:pt>
          <cx:pt idx="4884">0</cx:pt>
          <cx:pt idx="4885">4</cx:pt>
          <cx:pt idx="4886">3.7999999999999998</cx:pt>
          <cx:pt idx="4887">4.0999999999999996</cx:pt>
          <cx:pt idx="4888">3.8999999999999999</cx:pt>
          <cx:pt idx="4889">3.8999999999999999</cx:pt>
          <cx:pt idx="4890">3.7000000000000002</cx:pt>
          <cx:pt idx="4891">3.7000000000000002</cx:pt>
          <cx:pt idx="4892">3.7999999999999998</cx:pt>
          <cx:pt idx="4893">3.8999999999999999</cx:pt>
          <cx:pt idx="4894">3.7999999999999998</cx:pt>
          <cx:pt idx="4895">3.3999999999999999</cx:pt>
          <cx:pt idx="4896">3.5</cx:pt>
          <cx:pt idx="4897">3.7000000000000002</cx:pt>
          <cx:pt idx="4898">3.7999999999999998</cx:pt>
          <cx:pt idx="4899">3.7999999999999998</cx:pt>
          <cx:pt idx="4900">3.3999999999999999</cx:pt>
          <cx:pt idx="4901">3.6000000000000001</cx:pt>
          <cx:pt idx="4902">3.6000000000000001</cx:pt>
          <cx:pt idx="4903">3.2999999999999998</cx:pt>
          <cx:pt idx="4904">3.8999999999999999</cx:pt>
          <cx:pt idx="4905">3.7999999999999998</cx:pt>
          <cx:pt idx="4906">3.5</cx:pt>
          <cx:pt idx="4907">3.5</cx:pt>
          <cx:pt idx="4908">3.7000000000000002</cx:pt>
          <cx:pt idx="4909">3.5</cx:pt>
          <cx:pt idx="4910">3.2999999999999998</cx:pt>
          <cx:pt idx="4911">3.5</cx:pt>
          <cx:pt idx="4912">3.6000000000000001</cx:pt>
          <cx:pt idx="4913">3.5</cx:pt>
          <cx:pt idx="4914">3.3999999999999999</cx:pt>
          <cx:pt idx="4915">2.8999999999999999</cx:pt>
          <cx:pt idx="4916">3.3999999999999999</cx:pt>
          <cx:pt idx="4917">3.3999999999999999</cx:pt>
          <cx:pt idx="4918">3.3999999999999999</cx:pt>
          <cx:pt idx="4919">3.2999999999999998</cx:pt>
          <cx:pt idx="4920">3.2999999999999998</cx:pt>
          <cx:pt idx="4921">3.3999999999999999</cx:pt>
          <cx:pt idx="4922">3</cx:pt>
          <cx:pt idx="4923">2.8999999999999999</cx:pt>
          <cx:pt idx="4924">3.2000000000000002</cx:pt>
          <cx:pt idx="4925">3.2000000000000002</cx:pt>
          <cx:pt idx="4926">3.2000000000000002</cx:pt>
          <cx:pt idx="4927">3.2999999999999998</cx:pt>
          <cx:pt idx="4928">3.3999999999999999</cx:pt>
          <cx:pt idx="4929">3.2000000000000002</cx:pt>
          <cx:pt idx="4930">0</cx:pt>
          <cx:pt idx="4931">3.2000000000000002</cx:pt>
          <cx:pt idx="4932">0</cx:pt>
          <cx:pt idx="4933">3.1000000000000001</cx:pt>
          <cx:pt idx="4934">0</cx:pt>
          <cx:pt idx="4935">3.1000000000000001</cx:pt>
          <cx:pt idx="4936">3</cx:pt>
          <cx:pt idx="4937">3.1000000000000001</cx:pt>
          <cx:pt idx="4938">0</cx:pt>
          <cx:pt idx="4939">0</cx:pt>
          <cx:pt idx="4940">0</cx:pt>
          <cx:pt idx="4941">0</cx:pt>
          <cx:pt idx="4942">0</cx:pt>
          <cx:pt idx="4943">0</cx:pt>
          <cx:pt idx="4944">0</cx:pt>
          <cx:pt idx="4945">0</cx:pt>
          <cx:pt idx="4946">0</cx:pt>
          <cx:pt idx="4947">0</cx:pt>
          <cx:pt idx="4948">0</cx:pt>
          <cx:pt idx="4949">0</cx:pt>
          <cx:pt idx="4950">3.8999999999999999</cx:pt>
          <cx:pt idx="4951">4</cx:pt>
          <cx:pt idx="4952">3.6000000000000001</cx:pt>
          <cx:pt idx="4953">3.7000000000000002</cx:pt>
          <cx:pt idx="4954">3.8999999999999999</cx:pt>
          <cx:pt idx="4955">4</cx:pt>
          <cx:pt idx="4956">3.6000000000000001</cx:pt>
          <cx:pt idx="4957">4.0999999999999996</cx:pt>
          <cx:pt idx="4958">4</cx:pt>
          <cx:pt idx="4959">3.8999999999999999</cx:pt>
          <cx:pt idx="4960">3.7999999999999998</cx:pt>
          <cx:pt idx="4961">4.0999999999999996</cx:pt>
          <cx:pt idx="4962">3.5</cx:pt>
          <cx:pt idx="4963">3.8999999999999999</cx:pt>
          <cx:pt idx="4964">3.2000000000000002</cx:pt>
          <cx:pt idx="4965">3.2999999999999998</cx:pt>
          <cx:pt idx="4966">3.6000000000000001</cx:pt>
          <cx:pt idx="4967">3.2999999999999998</cx:pt>
          <cx:pt idx="4968">3.6000000000000001</cx:pt>
          <cx:pt idx="4969">3.6000000000000001</cx:pt>
          <cx:pt idx="4970">3.7999999999999998</cx:pt>
          <cx:pt idx="4971">3.3999999999999999</cx:pt>
          <cx:pt idx="4972">3.2000000000000002</cx:pt>
          <cx:pt idx="4973">3.8999999999999999</cx:pt>
          <cx:pt idx="4974">3.5</cx:pt>
          <cx:pt idx="4975">3.5</cx:pt>
          <cx:pt idx="4976">3.2999999999999998</cx:pt>
          <cx:pt idx="4977">3.2999999999999998</cx:pt>
          <cx:pt idx="4978">3.2999999999999998</cx:pt>
          <cx:pt idx="4979">2.8999999999999999</cx:pt>
          <cx:pt idx="4980">3.3999999999999999</cx:pt>
          <cx:pt idx="4981">3.1000000000000001</cx:pt>
          <cx:pt idx="4982">3.2000000000000002</cx:pt>
          <cx:pt idx="4983">3.3999999999999999</cx:pt>
          <cx:pt idx="4984">3.1000000000000001</cx:pt>
          <cx:pt idx="4985">3.3999999999999999</cx:pt>
          <cx:pt idx="4986">3.3999999999999999</cx:pt>
          <cx:pt idx="4987">2.8999999999999999</cx:pt>
          <cx:pt idx="4988">3.1000000000000001</cx:pt>
          <cx:pt idx="4989">0</cx:pt>
          <cx:pt idx="4990">0</cx:pt>
          <cx:pt idx="4991">0</cx:pt>
          <cx:pt idx="4992">2.8999999999999999</cx:pt>
          <cx:pt idx="4993">2.8999999999999999</cx:pt>
          <cx:pt idx="4994">3.1000000000000001</cx:pt>
          <cx:pt idx="4995">0</cx:pt>
          <cx:pt idx="4996">0</cx:pt>
          <cx:pt idx="4997">0</cx:pt>
          <cx:pt idx="4998">0</cx:pt>
          <cx:pt idx="4999">0</cx:pt>
          <cx:pt idx="5000">0</cx:pt>
          <cx:pt idx="5001">0</cx:pt>
          <cx:pt idx="5002">0</cx:pt>
          <cx:pt idx="5003">0</cx:pt>
          <cx:pt idx="5004">0</cx:pt>
          <cx:pt idx="5005">0</cx:pt>
          <cx:pt idx="5006">0</cx:pt>
          <cx:pt idx="5007">3.8999999999999999</cx:pt>
          <cx:pt idx="5008">3.7000000000000002</cx:pt>
          <cx:pt idx="5009">3.5</cx:pt>
          <cx:pt idx="5010">3.7000000000000002</cx:pt>
          <cx:pt idx="5011">4</cx:pt>
          <cx:pt idx="5012">4</cx:pt>
          <cx:pt idx="5013">3.7999999999999998</cx:pt>
          <cx:pt idx="5014">3.3999999999999999</cx:pt>
          <cx:pt idx="5015">3.1000000000000001</cx:pt>
          <cx:pt idx="5016">3.7999999999999998</cx:pt>
          <cx:pt idx="5017">3.6000000000000001</cx:pt>
          <cx:pt idx="5018">3.7000000000000002</cx:pt>
          <cx:pt idx="5019">3.3999999999999999</cx:pt>
          <cx:pt idx="5020">3.3999999999999999</cx:pt>
          <cx:pt idx="5021">3.5</cx:pt>
          <cx:pt idx="5022">3.3999999999999999</cx:pt>
          <cx:pt idx="5023">3.5</cx:pt>
          <cx:pt idx="5024">3.2999999999999998</cx:pt>
          <cx:pt idx="5025">3.2000000000000002</cx:pt>
          <cx:pt idx="5026">3</cx:pt>
          <cx:pt idx="5027">3.5</cx:pt>
          <cx:pt idx="5028">3.1000000000000001</cx:pt>
          <cx:pt idx="5029">3.1000000000000001</cx:pt>
          <cx:pt idx="5030">3.1000000000000001</cx:pt>
          <cx:pt idx="5031">3</cx:pt>
          <cx:pt idx="5032">2.8999999999999999</cx:pt>
          <cx:pt idx="5033">3</cx:pt>
          <cx:pt idx="5034">3.3999999999999999</cx:pt>
          <cx:pt idx="5035">0</cx:pt>
          <cx:pt idx="5036">3.2000000000000002</cx:pt>
          <cx:pt idx="5037">0</cx:pt>
          <cx:pt idx="5038">0</cx:pt>
          <cx:pt idx="5039">3</cx:pt>
          <cx:pt idx="5040">0</cx:pt>
          <cx:pt idx="5041">0</cx:pt>
          <cx:pt idx="5042">0</cx:pt>
          <cx:pt idx="5043">0</cx:pt>
          <cx:pt idx="5044">0</cx:pt>
          <cx:pt idx="5045">0</cx:pt>
          <cx:pt idx="5046">0</cx:pt>
          <cx:pt idx="5047">0</cx:pt>
          <cx:pt idx="5048">0</cx:pt>
          <cx:pt idx="5049">0</cx:pt>
          <cx:pt idx="5050">0</cx:pt>
          <cx:pt idx="5051">0</cx:pt>
          <cx:pt idx="5052">0</cx:pt>
          <cx:pt idx="5053">0</cx:pt>
          <cx:pt idx="5054">0</cx:pt>
          <cx:pt idx="5055">0</cx:pt>
          <cx:pt idx="5056">0</cx:pt>
          <cx:pt idx="5057">0</cx:pt>
          <cx:pt idx="5058">0</cx:pt>
          <cx:pt idx="5059">0</cx:pt>
          <cx:pt idx="5060">0</cx:pt>
          <cx:pt idx="5061">0</cx:pt>
          <cx:pt idx="5062">0</cx:pt>
          <cx:pt idx="5063">0</cx:pt>
          <cx:pt idx="5064">0</cx:pt>
          <cx:pt idx="5065">0</cx:pt>
          <cx:pt idx="5066">0</cx:pt>
          <cx:pt idx="5067">0</cx:pt>
          <cx:pt idx="5068">0</cx:pt>
          <cx:pt idx="5069">0</cx:pt>
          <cx:pt idx="5070">0</cx:pt>
          <cx:pt idx="5071">0</cx:pt>
          <cx:pt idx="5072">0</cx:pt>
          <cx:pt idx="5073">0</cx:pt>
          <cx:pt idx="5074">0</cx:pt>
          <cx:pt idx="5075">0</cx:pt>
          <cx:pt idx="5076">0</cx:pt>
          <cx:pt idx="5077">0</cx:pt>
          <cx:pt idx="5078">0</cx:pt>
          <cx:pt idx="5079">0</cx:pt>
          <cx:pt idx="5080">0</cx:pt>
          <cx:pt idx="5081">0</cx:pt>
          <cx:pt idx="5082">0</cx:pt>
          <cx:pt idx="5083">0</cx:pt>
          <cx:pt idx="5084">0</cx:pt>
          <cx:pt idx="5085">4</cx:pt>
          <cx:pt idx="5086">3.6000000000000001</cx:pt>
          <cx:pt idx="5087">3</cx:pt>
          <cx:pt idx="5088">4.0999999999999996</cx:pt>
          <cx:pt idx="5089">4.0999999999999996</cx:pt>
          <cx:pt idx="5090">3.8999999999999999</cx:pt>
          <cx:pt idx="5091">3.7000000000000002</cx:pt>
          <cx:pt idx="5092">3.6000000000000001</cx:pt>
          <cx:pt idx="5093">3.3999999999999999</cx:pt>
          <cx:pt idx="5094">3.7000000000000002</cx:pt>
          <cx:pt idx="5095">3.6000000000000001</cx:pt>
          <cx:pt idx="5096">2.8999999999999999</cx:pt>
          <cx:pt idx="5097">3.6000000000000001</cx:pt>
          <cx:pt idx="5098">3.2999999999999998</cx:pt>
          <cx:pt idx="5099">3.3999999999999999</cx:pt>
          <cx:pt idx="5100">3.2999999999999998</cx:pt>
          <cx:pt idx="5101">3.2999999999999998</cx:pt>
          <cx:pt idx="5102">3.3999999999999999</cx:pt>
          <cx:pt idx="5103">3.2999999999999998</cx:pt>
          <cx:pt idx="5104">3</cx:pt>
          <cx:pt idx="5105">0</cx:pt>
          <cx:pt idx="5106">3.3999999999999999</cx:pt>
          <cx:pt idx="5107">3.2999999999999998</cx:pt>
          <cx:pt idx="5108">3.3999999999999999</cx:pt>
          <cx:pt idx="5109">2.8999999999999999</cx:pt>
          <cx:pt idx="5110">3</cx:pt>
          <cx:pt idx="5111">3.2999999999999998</cx:pt>
          <cx:pt idx="5112">3.2000000000000002</cx:pt>
          <cx:pt idx="5113">3</cx:pt>
          <cx:pt idx="5114">3</cx:pt>
          <cx:pt idx="5115">0</cx:pt>
          <cx:pt idx="5116">0</cx:pt>
          <cx:pt idx="5117">0</cx:pt>
          <cx:pt idx="5118">2.8999999999999999</cx:pt>
          <cx:pt idx="5119">0</cx:pt>
          <cx:pt idx="5120">0</cx:pt>
          <cx:pt idx="5121">0</cx:pt>
          <cx:pt idx="5122">0</cx:pt>
          <cx:pt idx="5123">0</cx:pt>
          <cx:pt idx="5124">0</cx:pt>
          <cx:pt idx="5125">3.6000000000000001</cx:pt>
          <cx:pt idx="5126">3.5</cx:pt>
          <cx:pt idx="5127">3.5</cx:pt>
          <cx:pt idx="5128">3.2000000000000002</cx:pt>
          <cx:pt idx="5129">3.1000000000000001</cx:pt>
          <cx:pt idx="5130">3.3999999999999999</cx:pt>
          <cx:pt idx="5131">0</cx:pt>
          <cx:pt idx="5132">4.0999999999999996</cx:pt>
          <cx:pt idx="5133">3.8999999999999999</cx:pt>
          <cx:pt idx="5134">3.8999999999999999</cx:pt>
          <cx:pt idx="5135">3.7000000000000002</cx:pt>
          <cx:pt idx="5136">3.6000000000000001</cx:pt>
          <cx:pt idx="5137">3.5</cx:pt>
          <cx:pt idx="5138">3.5</cx:pt>
          <cx:pt idx="5139">3.2000000000000002</cx:pt>
          <cx:pt idx="5140">3.6000000000000001</cx:pt>
          <cx:pt idx="5141">3.2999999999999998</cx:pt>
          <cx:pt idx="5142">3.2000000000000002</cx:pt>
          <cx:pt idx="5143">3.2999999999999998</cx:pt>
          <cx:pt idx="5144">3.1000000000000001</cx:pt>
          <cx:pt idx="5145">3.2000000000000002</cx:pt>
          <cx:pt idx="5146">0</cx:pt>
          <cx:pt idx="5147">0</cx:pt>
          <cx:pt idx="5148">3.1000000000000001</cx:pt>
          <cx:pt idx="5149">0</cx:pt>
          <cx:pt idx="5150">0</cx:pt>
          <cx:pt idx="5151">0</cx:pt>
          <cx:pt idx="5152">0</cx:pt>
          <cx:pt idx="5153">0</cx:pt>
          <cx:pt idx="5154">0</cx:pt>
          <cx:pt idx="5155">0</cx:pt>
          <cx:pt idx="5156">3.2999999999999998</cx:pt>
          <cx:pt idx="5157">3</cx:pt>
          <cx:pt idx="5158">0</cx:pt>
          <cx:pt idx="5159">0</cx:pt>
          <cx:pt idx="5160">3.2000000000000002</cx:pt>
          <cx:pt idx="5161">3.3999999999999999</cx:pt>
          <cx:pt idx="5162">3</cx:pt>
          <cx:pt idx="5163">3.5</cx:pt>
          <cx:pt idx="5164">3.1000000000000001</cx:pt>
          <cx:pt idx="5165">3.2000000000000002</cx:pt>
          <cx:pt idx="5166">0</cx:pt>
          <cx:pt idx="5167">0</cx:pt>
          <cx:pt idx="5168">3.3999999999999999</cx:pt>
          <cx:pt idx="5169">3.2000000000000002</cx:pt>
          <cx:pt idx="5170">3.7999999999999998</cx:pt>
          <cx:pt idx="5171">3.7000000000000002</cx:pt>
          <cx:pt idx="5172">3.6000000000000001</cx:pt>
          <cx:pt idx="5173">3.3999999999999999</cx:pt>
          <cx:pt idx="5174">3.3999999999999999</cx:pt>
          <cx:pt idx="5175">3.7999999999999998</cx:pt>
          <cx:pt idx="5176">3.7000000000000002</cx:pt>
          <cx:pt idx="5177">3.6000000000000001</cx:pt>
          <cx:pt idx="5178">3.5</cx:pt>
          <cx:pt idx="5179">3.5</cx:pt>
          <cx:pt idx="5180">3.5</cx:pt>
          <cx:pt idx="5181">3.2000000000000002</cx:pt>
          <cx:pt idx="5182">4</cx:pt>
          <cx:pt idx="5183">4</cx:pt>
          <cx:pt idx="5184">3.7000000000000002</cx:pt>
          <cx:pt idx="5185">4.9000000000000004</cx:pt>
          <cx:pt idx="5186">4</cx:pt>
          <cx:pt idx="5187">4</cx:pt>
          <cx:pt idx="5188">4.5999999999999996</cx:pt>
          <cx:pt idx="5189">4</cx:pt>
          <cx:pt idx="5190">4.0999999999999996</cx:pt>
          <cx:pt idx="5191">3.7999999999999998</cx:pt>
          <cx:pt idx="5192">4.0999999999999996</cx:pt>
          <cx:pt idx="5193">4.4000000000000004</cx:pt>
          <cx:pt idx="5194">4</cx:pt>
          <cx:pt idx="5195">3.7999999999999998</cx:pt>
          <cx:pt idx="5196">4.2999999999999998</cx:pt>
          <cx:pt idx="5197">3.7999999999999998</cx:pt>
          <cx:pt idx="5198">4.5999999999999996</cx:pt>
          <cx:pt idx="5199">4.2999999999999998</cx:pt>
          <cx:pt idx="5200">4.2999999999999998</cx:pt>
          <cx:pt idx="5201">4.4000000000000004</cx:pt>
          <cx:pt idx="5202">4.5999999999999996</cx:pt>
          <cx:pt idx="5203">4.2999999999999998</cx:pt>
          <cx:pt idx="5204">4.0999999999999996</cx:pt>
          <cx:pt idx="5205">4</cx:pt>
          <cx:pt idx="5206">4.2000000000000002</cx:pt>
          <cx:pt idx="5207">4</cx:pt>
          <cx:pt idx="5208">4.2000000000000002</cx:pt>
          <cx:pt idx="5209">4.0999999999999996</cx:pt>
          <cx:pt idx="5210">3.1000000000000001</cx:pt>
          <cx:pt idx="5211">4.2999999999999998</cx:pt>
          <cx:pt idx="5212">4.4000000000000004</cx:pt>
          <cx:pt idx="5213">3.7000000000000002</cx:pt>
          <cx:pt idx="5214">4</cx:pt>
          <cx:pt idx="5215">3.8999999999999999</cx:pt>
          <cx:pt idx="5216">4.7000000000000002</cx:pt>
          <cx:pt idx="5217">4.5</cx:pt>
          <cx:pt idx="5218">4.7000000000000002</cx:pt>
          <cx:pt idx="5219">4.2000000000000002</cx:pt>
          <cx:pt idx="5220">4.5</cx:pt>
          <cx:pt idx="5221">4.0999999999999996</cx:pt>
          <cx:pt idx="5222">4.0999999999999996</cx:pt>
          <cx:pt idx="5223">3.7999999999999998</cx:pt>
          <cx:pt idx="5224">4.5</cx:pt>
          <cx:pt idx="5225">4.2999999999999998</cx:pt>
          <cx:pt idx="5226">4.0999999999999996</cx:pt>
          <cx:pt idx="5227">4.2000000000000002</cx:pt>
          <cx:pt idx="5228">4.5</cx:pt>
          <cx:pt idx="5229">4.4000000000000004</cx:pt>
          <cx:pt idx="5230">4.5</cx:pt>
          <cx:pt idx="5231">4.2999999999999998</cx:pt>
          <cx:pt idx="5232">4.4000000000000004</cx:pt>
          <cx:pt idx="5233">4.0999999999999996</cx:pt>
          <cx:pt idx="5234">4</cx:pt>
          <cx:pt idx="5235">4.5999999999999996</cx:pt>
          <cx:pt idx="5236">2.8999999999999999</cx:pt>
          <cx:pt idx="5237">4</cx:pt>
          <cx:pt idx="5238">4.0999999999999996</cx:pt>
          <cx:pt idx="5239">3.8999999999999999</cx:pt>
          <cx:pt idx="5240">3.6000000000000001</cx:pt>
          <cx:pt idx="5241">3.7999999999999998</cx:pt>
          <cx:pt idx="5242">3.6000000000000001</cx:pt>
          <cx:pt idx="5243">3.5</cx:pt>
          <cx:pt idx="5244">4.4000000000000004</cx:pt>
          <cx:pt idx="5245">4.0999999999999996</cx:pt>
          <cx:pt idx="5246">3.7999999999999998</cx:pt>
          <cx:pt idx="5247">3</cx:pt>
          <cx:pt idx="5248">3.6000000000000001</cx:pt>
          <cx:pt idx="5249">3.7999999999999998</cx:pt>
          <cx:pt idx="5250">2.7999999999999998</cx:pt>
          <cx:pt idx="5251">3.7000000000000002</cx:pt>
          <cx:pt idx="5252">3.7000000000000002</cx:pt>
          <cx:pt idx="5253">3.5</cx:pt>
          <cx:pt idx="5254">3.5</cx:pt>
          <cx:pt idx="5255">3.1000000000000001</cx:pt>
          <cx:pt idx="5256">4</cx:pt>
          <cx:pt idx="5257">3.8999999999999999</cx:pt>
          <cx:pt idx="5258">2.7000000000000002</cx:pt>
          <cx:pt idx="5259">3.6000000000000001</cx:pt>
          <cx:pt idx="5260">3.5</cx:pt>
          <cx:pt idx="5261">2.7999999999999998</cx:pt>
          <cx:pt idx="5262">3.2999999999999998</cx:pt>
          <cx:pt idx="5263">2.8999999999999999</cx:pt>
          <cx:pt idx="5264">0</cx:pt>
          <cx:pt idx="5265">3</cx:pt>
          <cx:pt idx="5266">3.7000000000000002</cx:pt>
          <cx:pt idx="5267">4.0999999999999996</cx:pt>
          <cx:pt idx="5268">4.2000000000000002</cx:pt>
          <cx:pt idx="5269">3.2000000000000002</cx:pt>
          <cx:pt idx="5270">3.1000000000000001</cx:pt>
          <cx:pt idx="5271">3</cx:pt>
          <cx:pt idx="5272">0</cx:pt>
          <cx:pt idx="5273">0</cx:pt>
          <cx:pt idx="5274">0</cx:pt>
          <cx:pt idx="5275">4</cx:pt>
          <cx:pt idx="5276">4.2000000000000002</cx:pt>
          <cx:pt idx="5277">3.7000000000000002</cx:pt>
          <cx:pt idx="5278">3.7000000000000002</cx:pt>
          <cx:pt idx="5279">3.7000000000000002</cx:pt>
          <cx:pt idx="5280">3.7000000000000002</cx:pt>
          <cx:pt idx="5281">3.1000000000000001</cx:pt>
          <cx:pt idx="5282">3.7000000000000002</cx:pt>
          <cx:pt idx="5283">3.6000000000000001</cx:pt>
          <cx:pt idx="5284">3.7000000000000002</cx:pt>
          <cx:pt idx="5285">3.7000000000000002</cx:pt>
          <cx:pt idx="5286">3.2000000000000002</cx:pt>
          <cx:pt idx="5287">2.6000000000000001</cx:pt>
          <cx:pt idx="5288">3.6000000000000001</cx:pt>
          <cx:pt idx="5289">3.6000000000000001</cx:pt>
          <cx:pt idx="5290">3.5</cx:pt>
          <cx:pt idx="5291">3.5</cx:pt>
          <cx:pt idx="5292">3.7999999999999998</cx:pt>
          <cx:pt idx="5293">3.8999999999999999</cx:pt>
          <cx:pt idx="5294">3.6000000000000001</cx:pt>
          <cx:pt idx="5295">3.3999999999999999</cx:pt>
          <cx:pt idx="5296">3.3999999999999999</cx:pt>
          <cx:pt idx="5297">3.2999999999999998</cx:pt>
          <cx:pt idx="5298">3.5</cx:pt>
          <cx:pt idx="5299">3.2000000000000002</cx:pt>
          <cx:pt idx="5300">3.3999999999999999</cx:pt>
          <cx:pt idx="5301">3.5</cx:pt>
          <cx:pt idx="5302">0</cx:pt>
          <cx:pt idx="5303">3.5</cx:pt>
          <cx:pt idx="5304">3.1000000000000001</cx:pt>
          <cx:pt idx="5305">3.2000000000000002</cx:pt>
          <cx:pt idx="5306">3</cx:pt>
          <cx:pt idx="5307">3.2999999999999998</cx:pt>
          <cx:pt idx="5308">3.2999999999999998</cx:pt>
          <cx:pt idx="5309">3.2999999999999998</cx:pt>
          <cx:pt idx="5310">3.2999999999999998</cx:pt>
          <cx:pt idx="5311">3</cx:pt>
          <cx:pt idx="5312">3.2999999999999998</cx:pt>
          <cx:pt idx="5313">3.2999999999999998</cx:pt>
          <cx:pt idx="5314">2.8999999999999999</cx:pt>
          <cx:pt idx="5315">0</cx:pt>
          <cx:pt idx="5316">3.1000000000000001</cx:pt>
          <cx:pt idx="5317">3.2999999999999998</cx:pt>
          <cx:pt idx="5318">3.1000000000000001</cx:pt>
          <cx:pt idx="5319">3.1000000000000001</cx:pt>
          <cx:pt idx="5320">3.2000000000000002</cx:pt>
          <cx:pt idx="5321">3</cx:pt>
          <cx:pt idx="5322">3.2000000000000002</cx:pt>
          <cx:pt idx="5323">0</cx:pt>
          <cx:pt idx="5324">3</cx:pt>
          <cx:pt idx="5325">3.1000000000000001</cx:pt>
          <cx:pt idx="5326">0</cx:pt>
          <cx:pt idx="5327">0</cx:pt>
          <cx:pt idx="5328">0</cx:pt>
          <cx:pt idx="5329">0</cx:pt>
          <cx:pt idx="5330">0</cx:pt>
          <cx:pt idx="5331">0</cx:pt>
          <cx:pt idx="5332">0</cx:pt>
          <cx:pt idx="5333">0</cx:pt>
          <cx:pt idx="5334">0</cx:pt>
          <cx:pt idx="5335">0</cx:pt>
          <cx:pt idx="5336">0</cx:pt>
          <cx:pt idx="5337">0</cx:pt>
          <cx:pt idx="5338">0</cx:pt>
          <cx:pt idx="5339">0</cx:pt>
          <cx:pt idx="5340">0</cx:pt>
          <cx:pt idx="5341">0</cx:pt>
          <cx:pt idx="5342">0</cx:pt>
          <cx:pt idx="5343">0</cx:pt>
          <cx:pt idx="5344">0</cx:pt>
          <cx:pt idx="5345">0</cx:pt>
          <cx:pt idx="5346">0</cx:pt>
          <cx:pt idx="5347">0</cx:pt>
          <cx:pt idx="5348">3.6000000000000001</cx:pt>
          <cx:pt idx="5349">3.7000000000000002</cx:pt>
          <cx:pt idx="5350">3</cx:pt>
          <cx:pt idx="5351">4.5</cx:pt>
          <cx:pt idx="5352">4.4000000000000004</cx:pt>
          <cx:pt idx="5353">4.4000000000000004</cx:pt>
          <cx:pt idx="5354">4.2999999999999998</cx:pt>
          <cx:pt idx="5355">4.2999999999999998</cx:pt>
          <cx:pt idx="5356">4.2999999999999998</cx:pt>
          <cx:pt idx="5357">4.2999999999999998</cx:pt>
          <cx:pt idx="5358">4.2000000000000002</cx:pt>
          <cx:pt idx="5359">4.2000000000000002</cx:pt>
          <cx:pt idx="5360">4.2000000000000002</cx:pt>
          <cx:pt idx="5361">4.2000000000000002</cx:pt>
          <cx:pt idx="5362">4.2000000000000002</cx:pt>
          <cx:pt idx="5363">4.2000000000000002</cx:pt>
          <cx:pt idx="5364">4.2000000000000002</cx:pt>
          <cx:pt idx="5365">4.2000000000000002</cx:pt>
          <cx:pt idx="5366">4.2000000000000002</cx:pt>
          <cx:pt idx="5367">4.2000000000000002</cx:pt>
          <cx:pt idx="5368">4.2000000000000002</cx:pt>
          <cx:pt idx="5369">4.2000000000000002</cx:pt>
          <cx:pt idx="5370">4.2000000000000002</cx:pt>
          <cx:pt idx="5371">4.2000000000000002</cx:pt>
          <cx:pt idx="5372">4.2000000000000002</cx:pt>
          <cx:pt idx="5373">4.0999999999999996</cx:pt>
          <cx:pt idx="5374">4.0999999999999996</cx:pt>
          <cx:pt idx="5375">4.0999999999999996</cx:pt>
          <cx:pt idx="5376">2.2000000000000002</cx:pt>
          <cx:pt idx="5377">2.5</cx:pt>
          <cx:pt idx="5378">2.6000000000000001</cx:pt>
          <cx:pt idx="5379">2.6000000000000001</cx:pt>
          <cx:pt idx="5380">2.7000000000000002</cx:pt>
          <cx:pt idx="5381">2.7000000000000002</cx:pt>
          <cx:pt idx="5382">2.7000000000000002</cx:pt>
          <cx:pt idx="5383">2.7000000000000002</cx:pt>
          <cx:pt idx="5384">2.7000000000000002</cx:pt>
          <cx:pt idx="5385">2.7000000000000002</cx:pt>
          <cx:pt idx="5386">2.7000000000000002</cx:pt>
          <cx:pt idx="5387">2.7000000000000002</cx:pt>
          <cx:pt idx="5388">2.7000000000000002</cx:pt>
          <cx:pt idx="5389">2.7999999999999998</cx:pt>
          <cx:pt idx="5390">2.7999999999999998</cx:pt>
          <cx:pt idx="5391">2.7999999999999998</cx:pt>
          <cx:pt idx="5392">2.7999999999999998</cx:pt>
          <cx:pt idx="5393">2.7999999999999998</cx:pt>
          <cx:pt idx="5394">2.7999999999999998</cx:pt>
          <cx:pt idx="5395">2.7999999999999998</cx:pt>
          <cx:pt idx="5396">2.7999999999999998</cx:pt>
          <cx:pt idx="5397">2.7999999999999998</cx:pt>
          <cx:pt idx="5398">2.7999999999999998</cx:pt>
          <cx:pt idx="5399">2.8999999999999999</cx:pt>
          <cx:pt idx="5400">2.8999999999999999</cx:pt>
          <cx:pt idx="5401">2.8999999999999999</cx:pt>
          <cx:pt idx="5402">2.8999999999999999</cx:pt>
          <cx:pt idx="5403">2.8999999999999999</cx:pt>
          <cx:pt idx="5404">2.8999999999999999</cx:pt>
          <cx:pt idx="5405">2.8999999999999999</cx:pt>
          <cx:pt idx="5406">2.8999999999999999</cx:pt>
          <cx:pt idx="5407">2.8999999999999999</cx:pt>
          <cx:pt idx="5408">2.8999999999999999</cx:pt>
          <cx:pt idx="5409">2.8999999999999999</cx:pt>
          <cx:pt idx="5410">2.8999999999999999</cx:pt>
          <cx:pt idx="5411">2.8999999999999999</cx:pt>
          <cx:pt idx="5412">2.8999999999999999</cx:pt>
          <cx:pt idx="5413">2.8999999999999999</cx:pt>
          <cx:pt idx="5414">2.8999999999999999</cx:pt>
          <cx:pt idx="5415">4</cx:pt>
          <cx:pt idx="5416">3.8999999999999999</cx:pt>
          <cx:pt idx="5417">4</cx:pt>
          <cx:pt idx="5418">3.8999999999999999</cx:pt>
          <cx:pt idx="5419">4</cx:pt>
          <cx:pt idx="5420">3.6000000000000001</cx:pt>
          <cx:pt idx="5421">4.0999999999999996</cx:pt>
          <cx:pt idx="5422">3.7999999999999998</cx:pt>
          <cx:pt idx="5423">4.0999999999999996</cx:pt>
          <cx:pt idx="5424">3.8999999999999999</cx:pt>
          <cx:pt idx="5425">3.5</cx:pt>
          <cx:pt idx="5426">4</cx:pt>
          <cx:pt idx="5427">3.7999999999999998</cx:pt>
          <cx:pt idx="5428">3.7999999999999998</cx:pt>
          <cx:pt idx="5429">3.1000000000000001</cx:pt>
          <cx:pt idx="5430">3.6000000000000001</cx:pt>
          <cx:pt idx="5431">3.7999999999999998</cx:pt>
          <cx:pt idx="5432">4</cx:pt>
          <cx:pt idx="5433">3.8999999999999999</cx:pt>
          <cx:pt idx="5434">3.8999999999999999</cx:pt>
          <cx:pt idx="5435">3.7999999999999998</cx:pt>
          <cx:pt idx="5436">3.8999999999999999</cx:pt>
          <cx:pt idx="5437">3.6000000000000001</cx:pt>
          <cx:pt idx="5438">3.6000000000000001</cx:pt>
          <cx:pt idx="5439">3</cx:pt>
          <cx:pt idx="5440">0</cx:pt>
          <cx:pt idx="5441">0</cx:pt>
          <cx:pt idx="5442">3.7999999999999998</cx:pt>
          <cx:pt idx="5443">3.2999999999999998</cx:pt>
          <cx:pt idx="5444">4</cx:pt>
          <cx:pt idx="5445">3.8999999999999999</cx:pt>
          <cx:pt idx="5446">3.7000000000000002</cx:pt>
          <cx:pt idx="5447">3.8999999999999999</cx:pt>
          <cx:pt idx="5448">4</cx:pt>
          <cx:pt idx="5449">3.7999999999999998</cx:pt>
          <cx:pt idx="5450">3.8999999999999999</cx:pt>
          <cx:pt idx="5451">3.2999999999999998</cx:pt>
          <cx:pt idx="5452">4</cx:pt>
          <cx:pt idx="5453">3.7000000000000002</cx:pt>
          <cx:pt idx="5454">3.7999999999999998</cx:pt>
          <cx:pt idx="5455">3.5</cx:pt>
          <cx:pt idx="5456">4</cx:pt>
          <cx:pt idx="5457">3.7000000000000002</cx:pt>
          <cx:pt idx="5458">3.7999999999999998</cx:pt>
          <cx:pt idx="5459">4.0999999999999996</cx:pt>
          <cx:pt idx="5460">4</cx:pt>
          <cx:pt idx="5461">4</cx:pt>
          <cx:pt idx="5462">3.8999999999999999</cx:pt>
          <cx:pt idx="5463">4.0999999999999996</cx:pt>
          <cx:pt idx="5464">3.8999999999999999</cx:pt>
          <cx:pt idx="5465">3.7999999999999998</cx:pt>
          <cx:pt idx="5466">3.6000000000000001</cx:pt>
          <cx:pt idx="5467">3.7999999999999998</cx:pt>
          <cx:pt idx="5468">3.7999999999999998</cx:pt>
          <cx:pt idx="5469">3.6000000000000001</cx:pt>
          <cx:pt idx="5470">4</cx:pt>
          <cx:pt idx="5471">3.8999999999999999</cx:pt>
          <cx:pt idx="5472">3.6000000000000001</cx:pt>
          <cx:pt idx="5473">3.6000000000000001</cx:pt>
          <cx:pt idx="5474">3.3999999999999999</cx:pt>
          <cx:pt idx="5475">3.5</cx:pt>
          <cx:pt idx="5476">3.7000000000000002</cx:pt>
          <cx:pt idx="5477">3.7000000000000002</cx:pt>
          <cx:pt idx="5478">3.6000000000000001</cx:pt>
          <cx:pt idx="5479">3.3999999999999999</cx:pt>
          <cx:pt idx="5480">3.5</cx:pt>
          <cx:pt idx="5481">3.3999999999999999</cx:pt>
          <cx:pt idx="5482">3.5</cx:pt>
          <cx:pt idx="5483">3.3999999999999999</cx:pt>
          <cx:pt idx="5484">3.6000000000000001</cx:pt>
          <cx:pt idx="5485">3.5</cx:pt>
          <cx:pt idx="5486">3.2999999999999998</cx:pt>
          <cx:pt idx="5487">3.5</cx:pt>
          <cx:pt idx="5488">3.2999999999999998</cx:pt>
          <cx:pt idx="5489">3.3999999999999999</cx:pt>
          <cx:pt idx="5490">3.3999999999999999</cx:pt>
          <cx:pt idx="5491">0</cx:pt>
          <cx:pt idx="5492">0</cx:pt>
          <cx:pt idx="5493">3.2000000000000002</cx:pt>
          <cx:pt idx="5494">0</cx:pt>
          <cx:pt idx="5495">0</cx:pt>
          <cx:pt idx="5496">0</cx:pt>
          <cx:pt idx="5497">0</cx:pt>
          <cx:pt idx="5498">0</cx:pt>
          <cx:pt idx="5499">4</cx:pt>
          <cx:pt idx="5500">3.8999999999999999</cx:pt>
          <cx:pt idx="5501">3.8999999999999999</cx:pt>
          <cx:pt idx="5502">4.0999999999999996</cx:pt>
          <cx:pt idx="5503">3.8999999999999999</cx:pt>
          <cx:pt idx="5504">3.5</cx:pt>
          <cx:pt idx="5505">3.8999999999999999</cx:pt>
          <cx:pt idx="5506">4</cx:pt>
          <cx:pt idx="5507">3.3999999999999999</cx:pt>
          <cx:pt idx="5508">4</cx:pt>
          <cx:pt idx="5509">3.8999999999999999</cx:pt>
          <cx:pt idx="5510">3.7000000000000002</cx:pt>
          <cx:pt idx="5511">3.6000000000000001</cx:pt>
          <cx:pt idx="5512">3.7000000000000002</cx:pt>
          <cx:pt idx="5513">3.6000000000000001</cx:pt>
          <cx:pt idx="5514">3.2999999999999998</cx:pt>
          <cx:pt idx="5515">3.5</cx:pt>
          <cx:pt idx="5516">3.2000000000000002</cx:pt>
          <cx:pt idx="5517">3.2999999999999998</cx:pt>
          <cx:pt idx="5518">3</cx:pt>
          <cx:pt idx="5519">3.2999999999999998</cx:pt>
          <cx:pt idx="5520">3.3999999999999999</cx:pt>
          <cx:pt idx="5521">3.5</cx:pt>
          <cx:pt idx="5522">3.5</cx:pt>
          <cx:pt idx="5523">3.2999999999999998</cx:pt>
          <cx:pt idx="5524">3.2999999999999998</cx:pt>
          <cx:pt idx="5525">3.2000000000000002</cx:pt>
          <cx:pt idx="5526">0</cx:pt>
          <cx:pt idx="5527">3.1000000000000001</cx:pt>
          <cx:pt idx="5528">3.2000000000000002</cx:pt>
          <cx:pt idx="5529">0</cx:pt>
          <cx:pt idx="5530">0</cx:pt>
          <cx:pt idx="5531">0</cx:pt>
          <cx:pt idx="5532">0</cx:pt>
          <cx:pt idx="5533">4</cx:pt>
          <cx:pt idx="5534">4.0999999999999996</cx:pt>
          <cx:pt idx="5535">3.8999999999999999</cx:pt>
          <cx:pt idx="5536">3.7000000000000002</cx:pt>
          <cx:pt idx="5537">3.5</cx:pt>
          <cx:pt idx="5538">3.7000000000000002</cx:pt>
          <cx:pt idx="5539">3.7000000000000002</cx:pt>
          <cx:pt idx="5540">3.8999999999999999</cx:pt>
          <cx:pt idx="5541">3.5</cx:pt>
          <cx:pt idx="5542">3.8999999999999999</cx:pt>
          <cx:pt idx="5543">3.6000000000000001</cx:pt>
          <cx:pt idx="5544">3.5</cx:pt>
          <cx:pt idx="5545">3.7000000000000002</cx:pt>
          <cx:pt idx="5546">3.3999999999999999</cx:pt>
          <cx:pt idx="5547">3.6000000000000001</cx:pt>
          <cx:pt idx="5548">3.3999999999999999</cx:pt>
          <cx:pt idx="5549">3.3999999999999999</cx:pt>
          <cx:pt idx="5550">3.5</cx:pt>
          <cx:pt idx="5551">3.1000000000000001</cx:pt>
          <cx:pt idx="5552">3.5</cx:pt>
          <cx:pt idx="5553">3.7000000000000002</cx:pt>
          <cx:pt idx="5554">3.5</cx:pt>
          <cx:pt idx="5555">0</cx:pt>
          <cx:pt idx="5556">3.3999999999999999</cx:pt>
          <cx:pt idx="5557">3.5</cx:pt>
          <cx:pt idx="5558">3.3999999999999999</cx:pt>
          <cx:pt idx="5559">0</cx:pt>
          <cx:pt idx="5560">3.3999999999999999</cx:pt>
          <cx:pt idx="5561">3.2000000000000002</cx:pt>
          <cx:pt idx="5562">2.8999999999999999</cx:pt>
          <cx:pt idx="5563">2.8999999999999999</cx:pt>
          <cx:pt idx="5564">3.1000000000000001</cx:pt>
          <cx:pt idx="5565">3.2000000000000002</cx:pt>
          <cx:pt idx="5566">3.2000000000000002</cx:pt>
          <cx:pt idx="5567">3.2999999999999998</cx:pt>
          <cx:pt idx="5568">3.2999999999999998</cx:pt>
          <cx:pt idx="5569">2.8999999999999999</cx:pt>
          <cx:pt idx="5570">0</cx:pt>
          <cx:pt idx="5571">3.1000000000000001</cx:pt>
          <cx:pt idx="5572">0</cx:pt>
          <cx:pt idx="5573">0</cx:pt>
          <cx:pt idx="5574">3</cx:pt>
          <cx:pt idx="5575">0</cx:pt>
          <cx:pt idx="5576">3.1000000000000001</cx:pt>
          <cx:pt idx="5577">0</cx:pt>
          <cx:pt idx="5578">0</cx:pt>
          <cx:pt idx="5579">0</cx:pt>
          <cx:pt idx="5580">0</cx:pt>
          <cx:pt idx="5581">0</cx:pt>
          <cx:pt idx="5582">0</cx:pt>
          <cx:pt idx="5583">0</cx:pt>
          <cx:pt idx="5584">0</cx:pt>
          <cx:pt idx="5585">0</cx:pt>
          <cx:pt idx="5586">0</cx:pt>
          <cx:pt idx="5587">0</cx:pt>
          <cx:pt idx="5588">0</cx:pt>
          <cx:pt idx="5589">0</cx:pt>
          <cx:pt idx="5590">0</cx:pt>
          <cx:pt idx="5591">4</cx:pt>
          <cx:pt idx="5592">3.3999999999999999</cx:pt>
          <cx:pt idx="5593">3.8999999999999999</cx:pt>
          <cx:pt idx="5594">3.1000000000000001</cx:pt>
          <cx:pt idx="5595">4</cx:pt>
          <cx:pt idx="5596">4.0999999999999996</cx:pt>
          <cx:pt idx="5597">3.7999999999999998</cx:pt>
          <cx:pt idx="5598">3.6000000000000001</cx:pt>
          <cx:pt idx="5599">3.7999999999999998</cx:pt>
          <cx:pt idx="5600">3.6000000000000001</cx:pt>
          <cx:pt idx="5601">3</cx:pt>
          <cx:pt idx="5602">3.6000000000000001</cx:pt>
          <cx:pt idx="5603">3.2999999999999998</cx:pt>
          <cx:pt idx="5604">3.2999999999999998</cx:pt>
          <cx:pt idx="5605">3.2999999999999998</cx:pt>
          <cx:pt idx="5606">3.1000000000000001</cx:pt>
          <cx:pt idx="5607">3.2000000000000002</cx:pt>
          <cx:pt idx="5608">3.1000000000000001</cx:pt>
          <cx:pt idx="5609">3.2000000000000002</cx:pt>
          <cx:pt idx="5610">3.1000000000000001</cx:pt>
          <cx:pt idx="5611">3</cx:pt>
          <cx:pt idx="5612">0</cx:pt>
          <cx:pt idx="5613">0</cx:pt>
          <cx:pt idx="5614">0</cx:pt>
          <cx:pt idx="5615">0</cx:pt>
          <cx:pt idx="5616">0</cx:pt>
          <cx:pt idx="5617">0</cx:pt>
          <cx:pt idx="5618">3.3999999999999999</cx:pt>
          <cx:pt idx="5619">3.2999999999999998</cx:pt>
          <cx:pt idx="5620">3</cx:pt>
          <cx:pt idx="5621">3.1000000000000001</cx:pt>
          <cx:pt idx="5622">3.1000000000000001</cx:pt>
          <cx:pt idx="5623">0</cx:pt>
          <cx:pt idx="5624">0</cx:pt>
          <cx:pt idx="5625">3.7999999999999998</cx:pt>
          <cx:pt idx="5626">3.7000000000000002</cx:pt>
          <cx:pt idx="5627">3.1000000000000001</cx:pt>
          <cx:pt idx="5628">3</cx:pt>
          <cx:pt idx="5629">3.1000000000000001</cx:pt>
          <cx:pt idx="5630">0</cx:pt>
          <cx:pt idx="5631">0</cx:pt>
          <cx:pt idx="5632">0</cx:pt>
          <cx:pt idx="5633">3.7000000000000002</cx:pt>
          <cx:pt idx="5634">3</cx:pt>
          <cx:pt idx="5635">3.2999999999999998</cx:pt>
          <cx:pt idx="5636">3.5</cx:pt>
          <cx:pt idx="5637">3.3999999999999999</cx:pt>
          <cx:pt idx="5638">3.2999999999999998</cx:pt>
          <cx:pt idx="5639">3</cx:pt>
          <cx:pt idx="5640">2.8999999999999999</cx:pt>
          <cx:pt idx="5641">0</cx:pt>
          <cx:pt idx="5642">0</cx:pt>
          <cx:pt idx="5643">0</cx:pt>
          <cx:pt idx="5644">0</cx:pt>
          <cx:pt idx="5645">0</cx:pt>
          <cx:pt idx="5646">0</cx:pt>
          <cx:pt idx="5647">0</cx:pt>
          <cx:pt idx="5648">0</cx:pt>
          <cx:pt idx="5649">3.3999999999999999</cx:pt>
          <cx:pt idx="5650">3</cx:pt>
          <cx:pt idx="5651">3.2000000000000002</cx:pt>
          <cx:pt idx="5652">3.5</cx:pt>
          <cx:pt idx="5653">3.3999999999999999</cx:pt>
          <cx:pt idx="5654">3.2000000000000002</cx:pt>
          <cx:pt idx="5655">3.6000000000000001</cx:pt>
          <cx:pt idx="5656">3.8999999999999999</cx:pt>
          <cx:pt idx="5657">3.7999999999999998</cx:pt>
          <cx:pt idx="5658">3.8999999999999999</cx:pt>
          <cx:pt idx="5659">3.7000000000000002</cx:pt>
          <cx:pt idx="5660">3.2000000000000002</cx:pt>
          <cx:pt idx="5661">3.6000000000000001</cx:pt>
          <cx:pt idx="5662">3.7000000000000002</cx:pt>
          <cx:pt idx="5663">3.7000000000000002</cx:pt>
          <cx:pt idx="5664">3.2999999999999998</cx:pt>
          <cx:pt idx="5665">3.2999999999999998</cx:pt>
          <cx:pt idx="5666">3.5</cx:pt>
          <cx:pt idx="5667">3.3999999999999999</cx:pt>
          <cx:pt idx="5668">3.5</cx:pt>
          <cx:pt idx="5669">3.6000000000000001</cx:pt>
          <cx:pt idx="5670">3.7000000000000002</cx:pt>
          <cx:pt idx="5671">4</cx:pt>
          <cx:pt idx="5672">4.2000000000000002</cx:pt>
          <cx:pt idx="5673">4.2999999999999998</cx:pt>
          <cx:pt idx="5674">4.2999999999999998</cx:pt>
          <cx:pt idx="5675">4.2999999999999998</cx:pt>
          <cx:pt idx="5676">4.4000000000000004</cx:pt>
          <cx:pt idx="5677">4</cx:pt>
          <cx:pt idx="5678">4.0999999999999996</cx:pt>
          <cx:pt idx="5679">4.2000000000000002</cx:pt>
          <cx:pt idx="5680">4.4000000000000004</cx:pt>
          <cx:pt idx="5681">3.7000000000000002</cx:pt>
          <cx:pt idx="5682">4.2999999999999998</cx:pt>
          <cx:pt idx="5683">4</cx:pt>
          <cx:pt idx="5684">4</cx:pt>
          <cx:pt idx="5685">4.2999999999999998</cx:pt>
          <cx:pt idx="5686">4.5</cx:pt>
          <cx:pt idx="5687">3.8999999999999999</cx:pt>
          <cx:pt idx="5688">4</cx:pt>
          <cx:pt idx="5689">4.7000000000000002</cx:pt>
          <cx:pt idx="5690">3.7999999999999998</cx:pt>
          <cx:pt idx="5691">4</cx:pt>
          <cx:pt idx="5692">3.7000000000000002</cx:pt>
          <cx:pt idx="5693">4.0999999999999996</cx:pt>
          <cx:pt idx="5694">4.0999999999999996</cx:pt>
          <cx:pt idx="5695">4.2000000000000002</cx:pt>
          <cx:pt idx="5696">3.6000000000000001</cx:pt>
          <cx:pt idx="5697">4.4000000000000004</cx:pt>
          <cx:pt idx="5698">4.2000000000000002</cx:pt>
          <cx:pt idx="5699">4.2999999999999998</cx:pt>
          <cx:pt idx="5700">4.9000000000000004</cx:pt>
          <cx:pt idx="5701">4.5</cx:pt>
          <cx:pt idx="5702">4.2000000000000002</cx:pt>
          <cx:pt idx="5703">4.4000000000000004</cx:pt>
          <cx:pt idx="5704">4.7999999999999998</cx:pt>
          <cx:pt idx="5705">4.7000000000000002</cx:pt>
          <cx:pt idx="5706">4</cx:pt>
          <cx:pt idx="5707">4</cx:pt>
          <cx:pt idx="5708">3.8999999999999999</cx:pt>
          <cx:pt idx="5709">3.8999999999999999</cx:pt>
          <cx:pt idx="5710">3.8999999999999999</cx:pt>
          <cx:pt idx="5711">4.9000000000000004</cx:pt>
          <cx:pt idx="5712">3.7999999999999998</cx:pt>
          <cx:pt idx="5713">4.2999999999999998</cx:pt>
          <cx:pt idx="5714">4.2000000000000002</cx:pt>
          <cx:pt idx="5715">4</cx:pt>
          <cx:pt idx="5716">3.8999999999999999</cx:pt>
          <cx:pt idx="5717">4.2999999999999998</cx:pt>
          <cx:pt idx="5718">3.7000000000000002</cx:pt>
          <cx:pt idx="5719">4.0999999999999996</cx:pt>
          <cx:pt idx="5720">4.2000000000000002</cx:pt>
          <cx:pt idx="5721">4.2999999999999998</cx:pt>
          <cx:pt idx="5722">3.6000000000000001</cx:pt>
          <cx:pt idx="5723">4.0999999999999996</cx:pt>
          <cx:pt idx="5724">4.2999999999999998</cx:pt>
          <cx:pt idx="5725">3.2999999999999998</cx:pt>
          <cx:pt idx="5726">3.5</cx:pt>
          <cx:pt idx="5727">3.2000000000000002</cx:pt>
          <cx:pt idx="5728">4.5</cx:pt>
          <cx:pt idx="5729">4.0999999999999996</cx:pt>
          <cx:pt idx="5730">2.8999999999999999</cx:pt>
          <cx:pt idx="5731">4.0999999999999996</cx:pt>
          <cx:pt idx="5732">3.6000000000000001</cx:pt>
          <cx:pt idx="5733">3.1000000000000001</cx:pt>
          <cx:pt idx="5734">0</cx:pt>
          <cx:pt idx="5735">0</cx:pt>
          <cx:pt idx="5736">4.0999999999999996</cx:pt>
          <cx:pt idx="5737">3.3999999999999999</cx:pt>
          <cx:pt idx="5738">3.2999999999999998</cx:pt>
          <cx:pt idx="5739">4.2000000000000002</cx:pt>
          <cx:pt idx="5740">4.0999999999999996</cx:pt>
          <cx:pt idx="5741">4.2000000000000002</cx:pt>
          <cx:pt idx="5742">0</cx:pt>
          <cx:pt idx="5743">4.2999999999999998</cx:pt>
          <cx:pt idx="5744">4.2999999999999998</cx:pt>
          <cx:pt idx="5745">4</cx:pt>
          <cx:pt idx="5746">3.5</cx:pt>
          <cx:pt idx="5747">3.7999999999999998</cx:pt>
          <cx:pt idx="5748">3.7999999999999998</cx:pt>
          <cx:pt idx="5749">3.7999999999999998</cx:pt>
          <cx:pt idx="5750">3.7999999999999998</cx:pt>
          <cx:pt idx="5751">3.7000000000000002</cx:pt>
          <cx:pt idx="5752">3.7999999999999998</cx:pt>
          <cx:pt idx="5753">3.7000000000000002</cx:pt>
          <cx:pt idx="5754">3.3999999999999999</cx:pt>
          <cx:pt idx="5755">3.7000000000000002</cx:pt>
          <cx:pt idx="5756">3.8999999999999999</cx:pt>
          <cx:pt idx="5757">3.2999999999999998</cx:pt>
          <cx:pt idx="5758">3.5</cx:pt>
          <cx:pt idx="5759">3.3999999999999999</cx:pt>
          <cx:pt idx="5760">3.2999999999999998</cx:pt>
          <cx:pt idx="5761">3.5</cx:pt>
          <cx:pt idx="5762">3.6000000000000001</cx:pt>
          <cx:pt idx="5763">3.6000000000000001</cx:pt>
          <cx:pt idx="5764">3.2000000000000002</cx:pt>
          <cx:pt idx="5765">3.7000000000000002</cx:pt>
          <cx:pt idx="5766">3.3999999999999999</cx:pt>
          <cx:pt idx="5767">3.5</cx:pt>
          <cx:pt idx="5768">3.1000000000000001</cx:pt>
          <cx:pt idx="5769">3.3999999999999999</cx:pt>
          <cx:pt idx="5770">3.1000000000000001</cx:pt>
          <cx:pt idx="5771">3.3999999999999999</cx:pt>
          <cx:pt idx="5772">3.2999999999999998</cx:pt>
          <cx:pt idx="5773">3.1000000000000001</cx:pt>
          <cx:pt idx="5774">3.3999999999999999</cx:pt>
          <cx:pt idx="5775">2.8999999999999999</cx:pt>
          <cx:pt idx="5776">3.2000000000000002</cx:pt>
          <cx:pt idx="5777">2.8999999999999999</cx:pt>
          <cx:pt idx="5778">2.7999999999999998</cx:pt>
          <cx:pt idx="5779">2.8999999999999999</cx:pt>
          <cx:pt idx="5780">3.2999999999999998</cx:pt>
          <cx:pt idx="5781">3.2000000000000002</cx:pt>
          <cx:pt idx="5782">3.2999999999999998</cx:pt>
          <cx:pt idx="5783">3.1000000000000001</cx:pt>
          <cx:pt idx="5784">3.1000000000000001</cx:pt>
          <cx:pt idx="5785">3.2000000000000002</cx:pt>
          <cx:pt idx="5786">3.2999999999999998</cx:pt>
          <cx:pt idx="5787">3.2000000000000002</cx:pt>
          <cx:pt idx="5788">3.1000000000000001</cx:pt>
          <cx:pt idx="5789">3.2000000000000002</cx:pt>
          <cx:pt idx="5790">0</cx:pt>
          <cx:pt idx="5791">3.1000000000000001</cx:pt>
          <cx:pt idx="5792">3</cx:pt>
          <cx:pt idx="5793">0</cx:pt>
          <cx:pt idx="5794">2.8999999999999999</cx:pt>
          <cx:pt idx="5795">3</cx:pt>
          <cx:pt idx="5796">3.1000000000000001</cx:pt>
          <cx:pt idx="5797">3.2000000000000002</cx:pt>
          <cx:pt idx="5798">2.8999999999999999</cx:pt>
          <cx:pt idx="5799">2.7999999999999998</cx:pt>
          <cx:pt idx="5800">3.1000000000000001</cx:pt>
          <cx:pt idx="5801">3.1000000000000001</cx:pt>
          <cx:pt idx="5802">3</cx:pt>
          <cx:pt idx="5803">2.7999999999999998</cx:pt>
          <cx:pt idx="5804">0</cx:pt>
          <cx:pt idx="5805">0</cx:pt>
          <cx:pt idx="5806">2.8999999999999999</cx:pt>
          <cx:pt idx="5807">2.8999999999999999</cx:pt>
          <cx:pt idx="5808">3</cx:pt>
          <cx:pt idx="5809">2.7999999999999998</cx:pt>
          <cx:pt idx="5810">0</cx:pt>
          <cx:pt idx="5811">0</cx:pt>
          <cx:pt idx="5812">2.8999999999999999</cx:pt>
          <cx:pt idx="5813">0</cx:pt>
          <cx:pt idx="5814">0</cx:pt>
          <cx:pt idx="5815">0</cx:pt>
          <cx:pt idx="5816">0</cx:pt>
          <cx:pt idx="5817">4.9000000000000004</cx:pt>
          <cx:pt idx="5818">4.5999999999999996</cx:pt>
          <cx:pt idx="5819">4.5999999999999996</cx:pt>
          <cx:pt idx="5820">4.5999999999999996</cx:pt>
          <cx:pt idx="5821">4.5</cx:pt>
          <cx:pt idx="5822">4.5</cx:pt>
          <cx:pt idx="5823">4.5</cx:pt>
          <cx:pt idx="5824">4.5</cx:pt>
          <cx:pt idx="5825">4.5</cx:pt>
          <cx:pt idx="5826">4.5</cx:pt>
          <cx:pt idx="5827">4.5</cx:pt>
          <cx:pt idx="5828">4.5</cx:pt>
          <cx:pt idx="5829">4.4000000000000004</cx:pt>
          <cx:pt idx="5830">4.4000000000000004</cx:pt>
          <cx:pt idx="5831">4.4000000000000004</cx:pt>
          <cx:pt idx="5832">4.4000000000000004</cx:pt>
          <cx:pt idx="5833">4.4000000000000004</cx:pt>
          <cx:pt idx="5834">4.4000000000000004</cx:pt>
          <cx:pt idx="5835">4.4000000000000004</cx:pt>
          <cx:pt idx="5836">4.4000000000000004</cx:pt>
          <cx:pt idx="5837">4.4000000000000004</cx:pt>
          <cx:pt idx="5838">4.4000000000000004</cx:pt>
          <cx:pt idx="5839">4.4000000000000004</cx:pt>
          <cx:pt idx="5840">4.4000000000000004</cx:pt>
          <cx:pt idx="5841">4.4000000000000004</cx:pt>
          <cx:pt idx="5842">4.4000000000000004</cx:pt>
          <cx:pt idx="5843">4.4000000000000004</cx:pt>
          <cx:pt idx="5844">4.4000000000000004</cx:pt>
          <cx:pt idx="5845">4.4000000000000004</cx:pt>
          <cx:pt idx="5846">4.2999999999999998</cx:pt>
          <cx:pt idx="5847">4.2999999999999998</cx:pt>
          <cx:pt idx="5848">4.2999999999999998</cx:pt>
          <cx:pt idx="5849">4.2999999999999998</cx:pt>
          <cx:pt idx="5850">4.2999999999999998</cx:pt>
          <cx:pt idx="5851">4.2999999999999998</cx:pt>
          <cx:pt idx="5852">4.2999999999999998</cx:pt>
          <cx:pt idx="5853">4.2999999999999998</cx:pt>
          <cx:pt idx="5854">4.2999999999999998</cx:pt>
          <cx:pt idx="5855">4.2999999999999998</cx:pt>
          <cx:pt idx="5856">4.2999999999999998</cx:pt>
          <cx:pt idx="5857">4.2999999999999998</cx:pt>
          <cx:pt idx="5858">4.2999999999999998</cx:pt>
          <cx:pt idx="5859">4.2999999999999998</cx:pt>
          <cx:pt idx="5860">4.2999999999999998</cx:pt>
          <cx:pt idx="5861">2.3999999999999999</cx:pt>
          <cx:pt idx="5862">2.3999999999999999</cx:pt>
          <cx:pt idx="5863">2.3999999999999999</cx:pt>
          <cx:pt idx="5864">2.3999999999999999</cx:pt>
          <cx:pt idx="5865">2.5</cx:pt>
          <cx:pt idx="5866">2.6000000000000001</cx:pt>
          <cx:pt idx="5867">2.6000000000000001</cx:pt>
          <cx:pt idx="5868">2.6000000000000001</cx:pt>
          <cx:pt idx="5869">2.6000000000000001</cx:pt>
          <cx:pt idx="5870">2.7000000000000002</cx:pt>
          <cx:pt idx="5871">2.7000000000000002</cx:pt>
          <cx:pt idx="5872">2.7000000000000002</cx:pt>
          <cx:pt idx="5873">2.7000000000000002</cx:pt>
          <cx:pt idx="5874">2.7000000000000002</cx:pt>
          <cx:pt idx="5875">2.7000000000000002</cx:pt>
          <cx:pt idx="5876">2.7000000000000002</cx:pt>
          <cx:pt idx="5877">2.7000000000000002</cx:pt>
          <cx:pt idx="5878">2.7000000000000002</cx:pt>
          <cx:pt idx="5879">2.7000000000000002</cx:pt>
          <cx:pt idx="5880">2.7000000000000002</cx:pt>
          <cx:pt idx="5881">2.7000000000000002</cx:pt>
          <cx:pt idx="5882">2.7000000000000002</cx:pt>
          <cx:pt idx="5883">2.7000000000000002</cx:pt>
          <cx:pt idx="5884">2.7999999999999998</cx:pt>
          <cx:pt idx="5885">2.7999999999999998</cx:pt>
          <cx:pt idx="5886">2.7999999999999998</cx:pt>
          <cx:pt idx="5887">3.8999999999999999</cx:pt>
          <cx:pt idx="5888">4</cx:pt>
          <cx:pt idx="5889">4.0999999999999996</cx:pt>
          <cx:pt idx="5890">3.6000000000000001</cx:pt>
          <cx:pt idx="5891">3.5</cx:pt>
          <cx:pt idx="5892">4.2000000000000002</cx:pt>
          <cx:pt idx="5893">4.2000000000000002</cx:pt>
          <cx:pt idx="5894">3.8999999999999999</cx:pt>
          <cx:pt idx="5895">3.7000000000000002</cx:pt>
          <cx:pt idx="5896">3.8999999999999999</cx:pt>
          <cx:pt idx="5897">3.3999999999999999</cx:pt>
          <cx:pt idx="5898">3.6000000000000001</cx:pt>
          <cx:pt idx="5899">3.8999999999999999</cx:pt>
          <cx:pt idx="5900">4</cx:pt>
          <cx:pt idx="5901">3.7999999999999998</cx:pt>
          <cx:pt idx="5902">4.2000000000000002</cx:pt>
          <cx:pt idx="5903">4.0999999999999996</cx:pt>
          <cx:pt idx="5904">3.8999999999999999</cx:pt>
          <cx:pt idx="5905">4.0999999999999996</cx:pt>
          <cx:pt idx="5906">4</cx:pt>
          <cx:pt idx="5907">3.8999999999999999</cx:pt>
          <cx:pt idx="5908">4</cx:pt>
          <cx:pt idx="5909">4</cx:pt>
          <cx:pt idx="5910">4</cx:pt>
          <cx:pt idx="5911">3.8999999999999999</cx:pt>
          <cx:pt idx="5912">4.0999999999999996</cx:pt>
          <cx:pt idx="5913">4.0999999999999996</cx:pt>
          <cx:pt idx="5914">3.7999999999999998</cx:pt>
          <cx:pt idx="5915">3.6000000000000001</cx:pt>
          <cx:pt idx="5916">3.6000000000000001</cx:pt>
          <cx:pt idx="5917">3.8999999999999999</cx:pt>
          <cx:pt idx="5918">3.5</cx:pt>
          <cx:pt idx="5919">3.7000000000000002</cx:pt>
          <cx:pt idx="5920">3.5</cx:pt>
          <cx:pt idx="5921">3.6000000000000001</cx:pt>
          <cx:pt idx="5922">3.8999999999999999</cx:pt>
          <cx:pt idx="5923">3.7000000000000002</cx:pt>
          <cx:pt idx="5924">2.7999999999999998</cx:pt>
          <cx:pt idx="5925">3.7999999999999998</cx:pt>
          <cx:pt idx="5926">3.6000000000000001</cx:pt>
          <cx:pt idx="5927">3.7000000000000002</cx:pt>
          <cx:pt idx="5928">3.7000000000000002</cx:pt>
          <cx:pt idx="5929">3.7999999999999998</cx:pt>
          <cx:pt idx="5930">3.5</cx:pt>
          <cx:pt idx="5931">3.6000000000000001</cx:pt>
          <cx:pt idx="5932">3.2999999999999998</cx:pt>
          <cx:pt idx="5933">3.6000000000000001</cx:pt>
          <cx:pt idx="5934">3.7000000000000002</cx:pt>
          <cx:pt idx="5935">3.3999999999999999</cx:pt>
          <cx:pt idx="5936">3.5</cx:pt>
          <cx:pt idx="5937">3.2999999999999998</cx:pt>
          <cx:pt idx="5938">3.5</cx:pt>
          <cx:pt idx="5939">3.7000000000000002</cx:pt>
          <cx:pt idx="5940">3.6000000000000001</cx:pt>
          <cx:pt idx="5941">3.6000000000000001</cx:pt>
          <cx:pt idx="5942">3.5</cx:pt>
          <cx:pt idx="5943">3.2999999999999998</cx:pt>
          <cx:pt idx="5944">3.3999999999999999</cx:pt>
          <cx:pt idx="5945">3.5</cx:pt>
          <cx:pt idx="5946">0</cx:pt>
          <cx:pt idx="5947">3</cx:pt>
          <cx:pt idx="5948">3.2000000000000002</cx:pt>
          <cx:pt idx="5949">3.2999999999999998</cx:pt>
          <cx:pt idx="5950">3.1000000000000001</cx:pt>
          <cx:pt idx="5951">3.2999999999999998</cx:pt>
          <cx:pt idx="5952">3.2000000000000002</cx:pt>
          <cx:pt idx="5953">3</cx:pt>
          <cx:pt idx="5954">3.1000000000000001</cx:pt>
          <cx:pt idx="5955">3</cx:pt>
          <cx:pt idx="5956">0</cx:pt>
          <cx:pt idx="5957">3.3999999999999999</cx:pt>
          <cx:pt idx="5958">3.1000000000000001</cx:pt>
          <cx:pt idx="5959">0</cx:pt>
          <cx:pt idx="5960">3</cx:pt>
          <cx:pt idx="5961">3.1000000000000001</cx:pt>
          <cx:pt idx="5962">2.8999999999999999</cx:pt>
          <cx:pt idx="5963">2.7999999999999998</cx:pt>
          <cx:pt idx="5964">0</cx:pt>
          <cx:pt idx="5965">0</cx:pt>
          <cx:pt idx="5966">0</cx:pt>
          <cx:pt idx="5967">0</cx:pt>
          <cx:pt idx="5968">0</cx:pt>
          <cx:pt idx="5969">0</cx:pt>
          <cx:pt idx="5970">0</cx:pt>
          <cx:pt idx="5971">0</cx:pt>
          <cx:pt idx="5972">0</cx:pt>
          <cx:pt idx="5973">0</cx:pt>
          <cx:pt idx="5974">0</cx:pt>
          <cx:pt idx="5975">3.7999999999999998</cx:pt>
          <cx:pt idx="5976">4.2000000000000002</cx:pt>
          <cx:pt idx="5977">3.7999999999999998</cx:pt>
          <cx:pt idx="5978">3.8999999999999999</cx:pt>
          <cx:pt idx="5979">4.0999999999999996</cx:pt>
          <cx:pt idx="5980">3.7000000000000002</cx:pt>
          <cx:pt idx="5981">3.7999999999999998</cx:pt>
          <cx:pt idx="5982">3.7000000000000002</cx:pt>
          <cx:pt idx="5983">3.8999999999999999</cx:pt>
          <cx:pt idx="5984">4.0999999999999996</cx:pt>
          <cx:pt idx="5985">3.7000000000000002</cx:pt>
          <cx:pt idx="5986">3.8999999999999999</cx:pt>
          <cx:pt idx="5987">3.5</cx:pt>
          <cx:pt idx="5988">4.2000000000000002</cx:pt>
          <cx:pt idx="5989">4.2000000000000002</cx:pt>
          <cx:pt idx="5990">4</cx:pt>
          <cx:pt idx="5991">4.0999999999999996</cx:pt>
          <cx:pt idx="5992">3.7000000000000002</cx:pt>
          <cx:pt idx="5993">4.2000000000000002</cx:pt>
          <cx:pt idx="5994">3.8999999999999999</cx:pt>
          <cx:pt idx="5995">4.2000000000000002</cx:pt>
          <cx:pt idx="5996">3.3999999999999999</cx:pt>
          <cx:pt idx="5997">3.7000000000000002</cx:pt>
          <cx:pt idx="5998">3.7000000000000002</cx:pt>
          <cx:pt idx="5999">3.8999999999999999</cx:pt>
          <cx:pt idx="6000">3.6000000000000001</cx:pt>
          <cx:pt idx="6001">3.5</cx:pt>
          <cx:pt idx="6002">3.7999999999999998</cx:pt>
          <cx:pt idx="6003">3.3999999999999999</cx:pt>
          <cx:pt idx="6004">3.7000000000000002</cx:pt>
          <cx:pt idx="6005">3.7999999999999998</cx:pt>
          <cx:pt idx="6006">3.8999999999999999</cx:pt>
          <cx:pt idx="6007">3.3999999999999999</cx:pt>
          <cx:pt idx="6008">3.3999999999999999</cx:pt>
          <cx:pt idx="6009">3.2000000000000002</cx:pt>
          <cx:pt idx="6010">3.6000000000000001</cx:pt>
          <cx:pt idx="6011">3.2000000000000002</cx:pt>
          <cx:pt idx="6012">3.2999999999999998</cx:pt>
          <cx:pt idx="6013">3.5</cx:pt>
          <cx:pt idx="6014">3.1000000000000001</cx:pt>
          <cx:pt idx="6015">3.3999999999999999</cx:pt>
          <cx:pt idx="6016">3.6000000000000001</cx:pt>
          <cx:pt idx="6017">3.5</cx:pt>
          <cx:pt idx="6018">3.2000000000000002</cx:pt>
          <cx:pt idx="6019">3</cx:pt>
          <cx:pt idx="6020">2.7999999999999998</cx:pt>
          <cx:pt idx="6021">3.2000000000000002</cx:pt>
          <cx:pt idx="6022">3.2999999999999998</cx:pt>
          <cx:pt idx="6023">3.2999999999999998</cx:pt>
          <cx:pt idx="6024">3.1000000000000001</cx:pt>
          <cx:pt idx="6025">3.1000000000000001</cx:pt>
          <cx:pt idx="6026">0</cx:pt>
          <cx:pt idx="6027">3.1000000000000001</cx:pt>
          <cx:pt idx="6028">4.2000000000000002</cx:pt>
          <cx:pt idx="6029">3.8999999999999999</cx:pt>
          <cx:pt idx="6030">4.0999999999999996</cx:pt>
          <cx:pt idx="6031">4.2000000000000002</cx:pt>
          <cx:pt idx="6032">4.0999999999999996</cx:pt>
          <cx:pt idx="6033">4</cx:pt>
          <cx:pt idx="6034">4.0999999999999996</cx:pt>
          <cx:pt idx="6035">4.0999999999999996</cx:pt>
          <cx:pt idx="6036">3.8999999999999999</cx:pt>
          <cx:pt idx="6037">3.7000000000000002</cx:pt>
          <cx:pt idx="6038">3.8999999999999999</cx:pt>
          <cx:pt idx="6039">3.8999999999999999</cx:pt>
          <cx:pt idx="6040">3.7999999999999998</cx:pt>
          <cx:pt idx="6041">3.8999999999999999</cx:pt>
          <cx:pt idx="6042">3.8999999999999999</cx:pt>
          <cx:pt idx="6043">4.0999999999999996</cx:pt>
          <cx:pt idx="6044">3.7000000000000002</cx:pt>
          <cx:pt idx="6045">3.7999999999999998</cx:pt>
          <cx:pt idx="6046">3.5</cx:pt>
          <cx:pt idx="6047">3.8999999999999999</cx:pt>
          <cx:pt idx="6048">3.7999999999999998</cx:pt>
          <cx:pt idx="6049">3.6000000000000001</cx:pt>
          <cx:pt idx="6050">3.7000000000000002</cx:pt>
          <cx:pt idx="6051">3.5</cx:pt>
          <cx:pt idx="6052">3.7000000000000002</cx:pt>
          <cx:pt idx="6053">3.7999999999999998</cx:pt>
          <cx:pt idx="6054">3.8999999999999999</cx:pt>
          <cx:pt idx="6055">3.8999999999999999</cx:pt>
          <cx:pt idx="6056">4</cx:pt>
          <cx:pt idx="6057">3.8999999999999999</cx:pt>
          <cx:pt idx="6058">3.6000000000000001</cx:pt>
          <cx:pt idx="6059">3.3999999999999999</cx:pt>
          <cx:pt idx="6060">3.7999999999999998</cx:pt>
          <cx:pt idx="6061">3.1000000000000001</cx:pt>
          <cx:pt idx="6062">3.5</cx:pt>
          <cx:pt idx="6063">4</cx:pt>
          <cx:pt idx="6064">3.5</cx:pt>
          <cx:pt idx="6065">3.7999999999999998</cx:pt>
          <cx:pt idx="6066">3.8999999999999999</cx:pt>
          <cx:pt idx="6067">3.7999999999999998</cx:pt>
          <cx:pt idx="6068">3.6000000000000001</cx:pt>
          <cx:pt idx="6069">3.6000000000000001</cx:pt>
          <cx:pt idx="6070">3.7000000000000002</cx:pt>
          <cx:pt idx="6071">3.8999999999999999</cx:pt>
          <cx:pt idx="6072">3.8999999999999999</cx:pt>
          <cx:pt idx="6073">4</cx:pt>
          <cx:pt idx="6074">3.6000000000000001</cx:pt>
          <cx:pt idx="6075">3.7000000000000002</cx:pt>
          <cx:pt idx="6076">3.7999999999999998</cx:pt>
          <cx:pt idx="6077">3.2999999999999998</cx:pt>
          <cx:pt idx="6078">3.5</cx:pt>
          <cx:pt idx="6079">3.6000000000000001</cx:pt>
          <cx:pt idx="6080">3.6000000000000001</cx:pt>
          <cx:pt idx="6081">3.6000000000000001</cx:pt>
          <cx:pt idx="6082">3.3999999999999999</cx:pt>
          <cx:pt idx="6083">3.7999999999999998</cx:pt>
          <cx:pt idx="6084">3.6000000000000001</cx:pt>
          <cx:pt idx="6085">3.6000000000000001</cx:pt>
          <cx:pt idx="6086">3.7000000000000002</cx:pt>
          <cx:pt idx="6087">3.3999999999999999</cx:pt>
          <cx:pt idx="6088">3.6000000000000001</cx:pt>
          <cx:pt idx="6089">3.5</cx:pt>
          <cx:pt idx="6090">3.7000000000000002</cx:pt>
          <cx:pt idx="6091">3.5</cx:pt>
          <cx:pt idx="6092">3.5</cx:pt>
          <cx:pt idx="6093">3.2000000000000002</cx:pt>
          <cx:pt idx="6094">3.6000000000000001</cx:pt>
          <cx:pt idx="6095">3.6000000000000001</cx:pt>
          <cx:pt idx="6096">3.3999999999999999</cx:pt>
          <cx:pt idx="6097">3.3999999999999999</cx:pt>
          <cx:pt idx="6098">3.3999999999999999</cx:pt>
          <cx:pt idx="6099">3.7000000000000002</cx:pt>
          <cx:pt idx="6100">4.2000000000000002</cx:pt>
          <cx:pt idx="6101">4</cx:pt>
          <cx:pt idx="6102">4.0999999999999996</cx:pt>
          <cx:pt idx="6103">4</cx:pt>
          <cx:pt idx="6104">4.2000000000000002</cx:pt>
          <cx:pt idx="6105">4.2000000000000002</cx:pt>
          <cx:pt idx="6106">4.2000000000000002</cx:pt>
          <cx:pt idx="6107">4.2000000000000002</cx:pt>
          <cx:pt idx="6108">3.7999999999999998</cx:pt>
          <cx:pt idx="6109">4</cx:pt>
          <cx:pt idx="6110">3.6000000000000001</cx:pt>
          <cx:pt idx="6111">4</cx:pt>
          <cx:pt idx="6112">3.7000000000000002</cx:pt>
          <cx:pt idx="6113">4.0999999999999996</cx:pt>
          <cx:pt idx="6114">4.2999999999999998</cx:pt>
          <cx:pt idx="6115">3.2999999999999998</cx:pt>
          <cx:pt idx="6116">3.8999999999999999</cx:pt>
          <cx:pt idx="6117">4</cx:pt>
          <cx:pt idx="6118">4</cx:pt>
          <cx:pt idx="6119">3.7000000000000002</cx:pt>
          <cx:pt idx="6120">3.5</cx:pt>
          <cx:pt idx="6121">3.5</cx:pt>
          <cx:pt idx="6122">3.7000000000000002</cx:pt>
          <cx:pt idx="6123">3.7999999999999998</cx:pt>
          <cx:pt idx="6124">3.6000000000000001</cx:pt>
          <cx:pt idx="6125">3.2000000000000002</cx:pt>
          <cx:pt idx="6126">2.7999999999999998</cx:pt>
          <cx:pt idx="6127">3.7999999999999998</cx:pt>
          <cx:pt idx="6128">3.5</cx:pt>
          <cx:pt idx="6129">3.5</cx:pt>
          <cx:pt idx="6130">4.2000000000000002</cx:pt>
          <cx:pt idx="6131">3.7000000000000002</cx:pt>
          <cx:pt idx="6132">3.5</cx:pt>
          <cx:pt idx="6133">3.6000000000000001</cx:pt>
          <cx:pt idx="6134">3.7999999999999998</cx:pt>
          <cx:pt idx="6135">3.5</cx:pt>
          <cx:pt idx="6136">3.8999999999999999</cx:pt>
          <cx:pt idx="6137">3.8999999999999999</cx:pt>
          <cx:pt idx="6138">3.7000000000000002</cx:pt>
          <cx:pt idx="6139">3.7000000000000002</cx:pt>
          <cx:pt idx="6140">3.3999999999999999</cx:pt>
          <cx:pt idx="6141">3.6000000000000001</cx:pt>
          <cx:pt idx="6142">3.7999999999999998</cx:pt>
          <cx:pt idx="6143">3.7999999999999998</cx:pt>
          <cx:pt idx="6144">3.7999999999999998</cx:pt>
          <cx:pt idx="6145">4</cx:pt>
          <cx:pt idx="6146">3.7000000000000002</cx:pt>
          <cx:pt idx="6147">3.3999999999999999</cx:pt>
          <cx:pt idx="6148">3.2000000000000002</cx:pt>
          <cx:pt idx="6149">3</cx:pt>
          <cx:pt idx="6150">3.7999999999999998</cx:pt>
          <cx:pt idx="6151">4</cx:pt>
          <cx:pt idx="6152">3.6000000000000001</cx:pt>
          <cx:pt idx="6153">3.2000000000000002</cx:pt>
          <cx:pt idx="6154">2.8999999999999999</cx:pt>
          <cx:pt idx="6155">2.7999999999999998</cx:pt>
          <cx:pt idx="6156">0</cx:pt>
          <cx:pt idx="6157">0</cx:pt>
          <cx:pt idx="6158">3.7999999999999998</cx:pt>
          <cx:pt idx="6159">4.0999999999999996</cx:pt>
          <cx:pt idx="6160">4.2000000000000002</cx:pt>
          <cx:pt idx="6161">3.8999999999999999</cx:pt>
          <cx:pt idx="6162">3.5</cx:pt>
          <cx:pt idx="6163">3.7999999999999998</cx:pt>
          <cx:pt idx="6164">3.8999999999999999</cx:pt>
          <cx:pt idx="6165">3.2000000000000002</cx:pt>
          <cx:pt idx="6166">3.8999999999999999</cx:pt>
          <cx:pt idx="6167">3.8999999999999999</cx:pt>
          <cx:pt idx="6168">3.7999999999999998</cx:pt>
          <cx:pt idx="6169">3.3999999999999999</cx:pt>
          <cx:pt idx="6170">3.2999999999999998</cx:pt>
          <cx:pt idx="6171">3.7000000000000002</cx:pt>
          <cx:pt idx="6172">3.2999999999999998</cx:pt>
          <cx:pt idx="6173">3.7000000000000002</cx:pt>
          <cx:pt idx="6174">3.2999999999999998</cx:pt>
          <cx:pt idx="6175">3.2999999999999998</cx:pt>
          <cx:pt idx="6176">3.1000000000000001</cx:pt>
          <cx:pt idx="6177">3.7000000000000002</cx:pt>
          <cx:pt idx="6178">3.2999999999999998</cx:pt>
          <cx:pt idx="6179">3.6000000000000001</cx:pt>
          <cx:pt idx="6180">3.2999999999999998</cx:pt>
          <cx:pt idx="6181">3.3999999999999999</cx:pt>
          <cx:pt idx="6182">3.1000000000000001</cx:pt>
          <cx:pt idx="6183">3.5</cx:pt>
          <cx:pt idx="6184">3.2000000000000002</cx:pt>
          <cx:pt idx="6185">3</cx:pt>
          <cx:pt idx="6186">3.2999999999999998</cx:pt>
          <cx:pt idx="6187">3.3999999999999999</cx:pt>
          <cx:pt idx="6188">3.2000000000000002</cx:pt>
          <cx:pt idx="6189">3.2000000000000002</cx:pt>
          <cx:pt idx="6190">2.8999999999999999</cx:pt>
          <cx:pt idx="6191">3.2999999999999998</cx:pt>
          <cx:pt idx="6192">3.1000000000000001</cx:pt>
          <cx:pt idx="6193">2.8999999999999999</cx:pt>
          <cx:pt idx="6194">0</cx:pt>
          <cx:pt idx="6195">2.8999999999999999</cx:pt>
          <cx:pt idx="6196">3.2999999999999998</cx:pt>
          <cx:pt idx="6197">3.1000000000000001</cx:pt>
          <cx:pt idx="6198">0</cx:pt>
          <cx:pt idx="6199">2.8999999999999999</cx:pt>
          <cx:pt idx="6200">0</cx:pt>
          <cx:pt idx="6201">0</cx:pt>
          <cx:pt idx="6202">0</cx:pt>
          <cx:pt idx="6203">0</cx:pt>
          <cx:pt idx="6204">0</cx:pt>
          <cx:pt idx="6205">2.8999999999999999</cx:pt>
          <cx:pt idx="6206">3</cx:pt>
          <cx:pt idx="6207">0</cx:pt>
          <cx:pt idx="6208">0</cx:pt>
          <cx:pt idx="6209">0</cx:pt>
          <cx:pt idx="6210">0</cx:pt>
          <cx:pt idx="6211">0</cx:pt>
          <cx:pt idx="6212">0</cx:pt>
          <cx:pt idx="6213">0</cx:pt>
          <cx:pt idx="6214">0</cx:pt>
          <cx:pt idx="6215">0</cx:pt>
          <cx:pt idx="6216">0</cx:pt>
          <cx:pt idx="6217">0</cx:pt>
          <cx:pt idx="6218">0</cx:pt>
          <cx:pt idx="6219">0</cx:pt>
          <cx:pt idx="6220">0</cx:pt>
          <cx:pt idx="6221">0</cx:pt>
          <cx:pt idx="6222">0</cx:pt>
          <cx:pt idx="6223">0</cx:pt>
          <cx:pt idx="6224">0</cx:pt>
          <cx:pt idx="6225">0</cx:pt>
          <cx:pt idx="6226">0</cx:pt>
          <cx:pt idx="6227">0</cx:pt>
          <cx:pt idx="6228">0</cx:pt>
          <cx:pt idx="6229">0</cx:pt>
          <cx:pt idx="6230">0</cx:pt>
          <cx:pt idx="6231">0</cx:pt>
          <cx:pt idx="6232">0</cx:pt>
          <cx:pt idx="6233">0</cx:pt>
          <cx:pt idx="6234">0</cx:pt>
          <cx:pt idx="6235">0</cx:pt>
          <cx:pt idx="6236">0</cx:pt>
          <cx:pt idx="6237">0</cx:pt>
          <cx:pt idx="6238">0</cx:pt>
          <cx:pt idx="6239">0</cx:pt>
          <cx:pt idx="6240">3.3999999999999999</cx:pt>
          <cx:pt idx="6241">3.2999999999999998</cx:pt>
          <cx:pt idx="6242">3.2000000000000002</cx:pt>
          <cx:pt idx="6243">3</cx:pt>
          <cx:pt idx="6244">0</cx:pt>
          <cx:pt idx="6245">3.2999999999999998</cx:pt>
          <cx:pt idx="6246">3.7000000000000002</cx:pt>
          <cx:pt idx="6247">3.7999999999999998</cx:pt>
          <cx:pt idx="6248">3.6000000000000001</cx:pt>
          <cx:pt idx="6249">3.8999999999999999</cx:pt>
          <cx:pt idx="6250">3.7999999999999998</cx:pt>
          <cx:pt idx="6251">3.7000000000000002</cx:pt>
          <cx:pt idx="6252">4</cx:pt>
          <cx:pt idx="6253">3.7000000000000002</cx:pt>
          <cx:pt idx="6254">3.7000000000000002</cx:pt>
          <cx:pt idx="6255">3.7999999999999998</cx:pt>
          <cx:pt idx="6256">3.7999999999999998</cx:pt>
          <cx:pt idx="6257">3.2999999999999998</cx:pt>
          <cx:pt idx="6258">3.7000000000000002</cx:pt>
          <cx:pt idx="6259">3.5</cx:pt>
          <cx:pt idx="6260">3.2999999999999998</cx:pt>
          <cx:pt idx="6261">3.2000000000000002</cx:pt>
          <cx:pt idx="6262">3.5</cx:pt>
          <cx:pt idx="6263">3.3999999999999999</cx:pt>
          <cx:pt idx="6264">3.2999999999999998</cx:pt>
          <cx:pt idx="6265">3.1000000000000001</cx:pt>
          <cx:pt idx="6266">3.1000000000000001</cx:pt>
          <cx:pt idx="6267">3</cx:pt>
          <cx:pt idx="6268">3.1000000000000001</cx:pt>
          <cx:pt idx="6269">0</cx:pt>
          <cx:pt idx="6270">0</cx:pt>
          <cx:pt idx="6271">3.8999999999999999</cx:pt>
          <cx:pt idx="6272">3.7000000000000002</cx:pt>
          <cx:pt idx="6273">0</cx:pt>
          <cx:pt idx="6274">0</cx:pt>
          <cx:pt idx="6275">0</cx:pt>
          <cx:pt idx="6276">3.5</cx:pt>
          <cx:pt idx="6277">3.7000000000000002</cx:pt>
          <cx:pt idx="6278">3.5</cx:pt>
          <cx:pt idx="6279">3.6000000000000001</cx:pt>
          <cx:pt idx="6280">3.2999999999999998</cx:pt>
          <cx:pt idx="6281">3.1000000000000001</cx:pt>
          <cx:pt idx="6282">3.1000000000000001</cx:pt>
          <cx:pt idx="6283">3.1000000000000001</cx:pt>
          <cx:pt idx="6284">3</cx:pt>
          <cx:pt idx="6285">0</cx:pt>
          <cx:pt idx="6286">3.2000000000000002</cx:pt>
          <cx:pt idx="6287">3</cx:pt>
          <cx:pt idx="6288">0</cx:pt>
          <cx:pt idx="6289">0</cx:pt>
          <cx:pt idx="6290">0</cx:pt>
          <cx:pt idx="6291">0</cx:pt>
          <cx:pt idx="6292">0</cx:pt>
          <cx:pt idx="6293">0</cx:pt>
          <cx:pt idx="6294">0</cx:pt>
          <cx:pt idx="6295">0</cx:pt>
          <cx:pt idx="6296">2.8999999999999999</cx:pt>
          <cx:pt idx="6297">3.3999999999999999</cx:pt>
          <cx:pt idx="6298">3.5</cx:pt>
          <cx:pt idx="6299">3.5</cx:pt>
          <cx:pt idx="6300">3.7000000000000002</cx:pt>
          <cx:pt idx="6301">3.3999999999999999</cx:pt>
          <cx:pt idx="6302">3.2999999999999998</cx:pt>
          <cx:pt idx="6303">3.3999999999999999</cx:pt>
          <cx:pt idx="6304">3.5</cx:pt>
          <cx:pt idx="6305">3.3999999999999999</cx:pt>
          <cx:pt idx="6306">3</cx:pt>
          <cx:pt idx="6307">0</cx:pt>
          <cx:pt idx="6308">0</cx:pt>
          <cx:pt idx="6309">0</cx:pt>
          <cx:pt idx="6310">0</cx:pt>
          <cx:pt idx="6311">0</cx:pt>
          <cx:pt idx="6312">0</cx:pt>
          <cx:pt idx="6313">0</cx:pt>
          <cx:pt idx="6314">4</cx:pt>
          <cx:pt idx="6315">3.2000000000000002</cx:pt>
          <cx:pt idx="6316">2.7999999999999998</cx:pt>
          <cx:pt idx="6317">2.8999999999999999</cx:pt>
          <cx:pt idx="6318">0</cx:pt>
          <cx:pt idx="6319">0</cx:pt>
          <cx:pt idx="6320">0</cx:pt>
          <cx:pt idx="6321">0</cx:pt>
          <cx:pt idx="6322">0</cx:pt>
          <cx:pt idx="6323">0</cx:pt>
          <cx:pt idx="6324">3.2999999999999998</cx:pt>
          <cx:pt idx="6325">3.2999999999999998</cx:pt>
          <cx:pt idx="6326">4.0999999999999996</cx:pt>
          <cx:pt idx="6327">0</cx:pt>
          <cx:pt idx="6328">4.2000000000000002</cx:pt>
          <cx:pt idx="6329">3.7999999999999998</cx:pt>
          <cx:pt idx="6330">4</cx:pt>
          <cx:pt idx="6331">4</cx:pt>
          <cx:pt idx="6332">4.0999999999999996</cx:pt>
          <cx:pt idx="6333">3.8999999999999999</cx:pt>
          <cx:pt idx="6334">3.7999999999999998</cx:pt>
          <cx:pt idx="6335">3.7999999999999998</cx:pt>
          <cx:pt idx="6336">3.6000000000000001</cx:pt>
          <cx:pt idx="6337">4.0999999999999996</cx:pt>
          <cx:pt idx="6338">4.0999999999999996</cx:pt>
          <cx:pt idx="6339">4.0999999999999996</cx:pt>
          <cx:pt idx="6340">3.8999999999999999</cx:pt>
          <cx:pt idx="6341">3.7000000000000002</cx:pt>
          <cx:pt idx="6342">4</cx:pt>
          <cx:pt idx="6343">3.6000000000000001</cx:pt>
          <cx:pt idx="6344">3.6000000000000001</cx:pt>
          <cx:pt idx="6345">4.0999999999999996</cx:pt>
          <cx:pt idx="6346">4</cx:pt>
          <cx:pt idx="6347">4.0999999999999996</cx:pt>
          <cx:pt idx="6348">3.7999999999999998</cx:pt>
          <cx:pt idx="6349">3.7999999999999998</cx:pt>
          <cx:pt idx="6350">4.0999999999999996</cx:pt>
          <cx:pt idx="6351">3.7000000000000002</cx:pt>
          <cx:pt idx="6352">3.8999999999999999</cx:pt>
          <cx:pt idx="6353">4</cx:pt>
          <cx:pt idx="6354">3.2999999999999998</cx:pt>
          <cx:pt idx="6355">4.0999999999999996</cx:pt>
          <cx:pt idx="6356">3.2999999999999998</cx:pt>
          <cx:pt idx="6357">4.2000000000000002</cx:pt>
          <cx:pt idx="6358">4.2999999999999998</cx:pt>
          <cx:pt idx="6359">3.7000000000000002</cx:pt>
          <cx:pt idx="6360">3.8999999999999999</cx:pt>
          <cx:pt idx="6361">3.7999999999999998</cx:pt>
          <cx:pt idx="6362">4.2000000000000002</cx:pt>
          <cx:pt idx="6363">4.0999999999999996</cx:pt>
          <cx:pt idx="6364">3.8999999999999999</cx:pt>
          <cx:pt idx="6365">3.6000000000000001</cx:pt>
          <cx:pt idx="6366">3.6000000000000001</cx:pt>
          <cx:pt idx="6367">3.7999999999999998</cx:pt>
          <cx:pt idx="6368">4</cx:pt>
          <cx:pt idx="6369">3.7000000000000002</cx:pt>
          <cx:pt idx="6370">3.8999999999999999</cx:pt>
          <cx:pt idx="6371">3.8999999999999999</cx:pt>
          <cx:pt idx="6372">3.6000000000000001</cx:pt>
          <cx:pt idx="6373">3.7999999999999998</cx:pt>
          <cx:pt idx="6374">4.2000000000000002</cx:pt>
          <cx:pt idx="6375">3.7999999999999998</cx:pt>
          <cx:pt idx="6376">3.7999999999999998</cx:pt>
          <cx:pt idx="6377">3.3999999999999999</cx:pt>
          <cx:pt idx="6378">4</cx:pt>
          <cx:pt idx="6379">3.7999999999999998</cx:pt>
          <cx:pt idx="6380">4.2000000000000002</cx:pt>
          <cx:pt idx="6381">3.8999999999999999</cx:pt>
          <cx:pt idx="6382">4</cx:pt>
          <cx:pt idx="6383">3.7000000000000002</cx:pt>
          <cx:pt idx="6384">3.7999999999999998</cx:pt>
          <cx:pt idx="6385">4.0999999999999996</cx:pt>
          <cx:pt idx="6386">4.2000000000000002</cx:pt>
          <cx:pt idx="6387">3.8999999999999999</cx:pt>
          <cx:pt idx="6388">3.6000000000000001</cx:pt>
          <cx:pt idx="6389">3.3999999999999999</cx:pt>
          <cx:pt idx="6390">3.7999999999999998</cx:pt>
          <cx:pt idx="6391">3.6000000000000001</cx:pt>
          <cx:pt idx="6392">2.7999999999999998</cx:pt>
          <cx:pt idx="6393">4.5</cx:pt>
          <cx:pt idx="6394">4.4000000000000004</cx:pt>
          <cx:pt idx="6395">4.5999999999999996</cx:pt>
          <cx:pt idx="6396">4.4000000000000004</cx:pt>
          <cx:pt idx="6397">4.4000000000000004</cx:pt>
          <cx:pt idx="6398">4.9000000000000004</cx:pt>
          <cx:pt idx="6399">4.5</cx:pt>
          <cx:pt idx="6400">4.5999999999999996</cx:pt>
          <cx:pt idx="6401">4.4000000000000004</cx:pt>
          <cx:pt idx="6402">4.5</cx:pt>
          <cx:pt idx="6403">4.5</cx:pt>
          <cx:pt idx="6404">4.5</cx:pt>
          <cx:pt idx="6405">4.5999999999999996</cx:pt>
          <cx:pt idx="6406">4.2000000000000002</cx:pt>
          <cx:pt idx="6407">4.5</cx:pt>
          <cx:pt idx="6408">4.5999999999999996</cx:pt>
          <cx:pt idx="6409">4.7000000000000002</cx:pt>
          <cx:pt idx="6410">4.2999999999999998</cx:pt>
          <cx:pt idx="6411">4.4000000000000004</cx:pt>
          <cx:pt idx="6412">4.4000000000000004</cx:pt>
          <cx:pt idx="6413">4.0999999999999996</cx:pt>
          <cx:pt idx="6414">4.7999999999999998</cx:pt>
          <cx:pt idx="6415">4.5999999999999996</cx:pt>
          <cx:pt idx="6416">4</cx:pt>
          <cx:pt idx="6417">4.7999999999999998</cx:pt>
          <cx:pt idx="6418">4.5999999999999996</cx:pt>
          <cx:pt idx="6419">4.5999999999999996</cx:pt>
          <cx:pt idx="6420">4.2999999999999998</cx:pt>
          <cx:pt idx="6421">4.2000000000000002</cx:pt>
          <cx:pt idx="6422">4.2999999999999998</cx:pt>
          <cx:pt idx="6423">4.2000000000000002</cx:pt>
          <cx:pt idx="6424">4.4000000000000004</cx:pt>
          <cx:pt idx="6425">4.2999999999999998</cx:pt>
          <cx:pt idx="6426">3.8999999999999999</cx:pt>
          <cx:pt idx="6427">4.4000000000000004</cx:pt>
          <cx:pt idx="6428">4.7999999999999998</cx:pt>
          <cx:pt idx="6429">4.2000000000000002</cx:pt>
          <cx:pt idx="6430">4.2000000000000002</cx:pt>
          <cx:pt idx="6431">3.7000000000000002</cx:pt>
          <cx:pt idx="6432">4.5</cx:pt>
          <cx:pt idx="6433">4.4000000000000004</cx:pt>
          <cx:pt idx="6434">3.1000000000000001</cx:pt>
          <cx:pt idx="6435">4.0999999999999996</cx:pt>
          <cx:pt idx="6436">4.2000000000000002</cx:pt>
          <cx:pt idx="6437">4.5999999999999996</cx:pt>
          <cx:pt idx="6438">3.8999999999999999</cx:pt>
          <cx:pt idx="6439">3.7999999999999998</cx:pt>
          <cx:pt idx="6440">4.4000000000000004</cx:pt>
          <cx:pt idx="6441">4.4000000000000004</cx:pt>
          <cx:pt idx="6442">4.2000000000000002</cx:pt>
          <cx:pt idx="6443">4.0999999999999996</cx:pt>
          <cx:pt idx="6444">4.4000000000000004</cx:pt>
          <cx:pt idx="6445">4.2000000000000002</cx:pt>
          <cx:pt idx="6446">4.5999999999999996</cx:pt>
          <cx:pt idx="6447">4.4000000000000004</cx:pt>
          <cx:pt idx="6448">4.0999999999999996</cx:pt>
          <cx:pt idx="6449">4.4000000000000004</cx:pt>
          <cx:pt idx="6450">4.0999999999999996</cx:pt>
          <cx:pt idx="6451">4.7999999999999998</cx:pt>
          <cx:pt idx="6452">3.7999999999999998</cx:pt>
          <cx:pt idx="6453">4.0999999999999996</cx:pt>
          <cx:pt idx="6454">4.5</cx:pt>
          <cx:pt idx="6455">4.5</cx:pt>
          <cx:pt idx="6456">4.0999999999999996</cx:pt>
          <cx:pt idx="6457">4.2000000000000002</cx:pt>
          <cx:pt idx="6458">4.2999999999999998</cx:pt>
          <cx:pt idx="6459">3.8999999999999999</cx:pt>
          <cx:pt idx="6460">4.5</cx:pt>
          <cx:pt idx="6461">4.0999999999999996</cx:pt>
          <cx:pt idx="6462">4.2999999999999998</cx:pt>
          <cx:pt idx="6463">4.5</cx:pt>
          <cx:pt idx="6464">4</cx:pt>
          <cx:pt idx="6465">3.7999999999999998</cx:pt>
          <cx:pt idx="6466">4.2000000000000002</cx:pt>
          <cx:pt idx="6467">3.8999999999999999</cx:pt>
          <cx:pt idx="6468">3.6000000000000001</cx:pt>
          <cx:pt idx="6469">3.7999999999999998</cx:pt>
          <cx:pt idx="6470">4</cx:pt>
          <cx:pt idx="6471">4.0999999999999996</cx:pt>
          <cx:pt idx="6472">3.8999999999999999</cx:pt>
          <cx:pt idx="6473">3.8999999999999999</cx:pt>
          <cx:pt idx="6474">3.7999999999999998</cx:pt>
          <cx:pt idx="6475">4.0999999999999996</cx:pt>
          <cx:pt idx="6476">4.0999999999999996</cx:pt>
          <cx:pt idx="6477">4</cx:pt>
          <cx:pt idx="6478">3.3999999999999999</cx:pt>
          <cx:pt idx="6479">3.7999999999999998</cx:pt>
          <cx:pt idx="6480">3.7000000000000002</cx:pt>
          <cx:pt idx="6481">3.7999999999999998</cx:pt>
          <cx:pt idx="6482">3.7000000000000002</cx:pt>
          <cx:pt idx="6483">3.7000000000000002</cx:pt>
          <cx:pt idx="6484">4</cx:pt>
          <cx:pt idx="6485">4.5</cx:pt>
          <cx:pt idx="6486">3.7999999999999998</cx:pt>
          <cx:pt idx="6487">3.7999999999999998</cx:pt>
          <cx:pt idx="6488">4</cx:pt>
          <cx:pt idx="6489">3.8999999999999999</cx:pt>
          <cx:pt idx="6490">3.7999999999999998</cx:pt>
          <cx:pt idx="6491">3.7999999999999998</cx:pt>
          <cx:pt idx="6492">4.2000000000000002</cx:pt>
          <cx:pt idx="6493">4.0999999999999996</cx:pt>
          <cx:pt idx="6494">4</cx:pt>
          <cx:pt idx="6495">4</cx:pt>
          <cx:pt idx="6496">3.7000000000000002</cx:pt>
          <cx:pt idx="6497">3.3999999999999999</cx:pt>
          <cx:pt idx="6498">3.7000000000000002</cx:pt>
          <cx:pt idx="6499">4.2000000000000002</cx:pt>
          <cx:pt idx="6500">4</cx:pt>
          <cx:pt idx="6501">3.7999999999999998</cx:pt>
          <cx:pt idx="6502">3.6000000000000001</cx:pt>
          <cx:pt idx="6503">3.7000000000000002</cx:pt>
          <cx:pt idx="6504">3.7999999999999998</cx:pt>
          <cx:pt idx="6505">3.1000000000000001</cx:pt>
          <cx:pt idx="6506">3.7999999999999998</cx:pt>
          <cx:pt idx="6507">3.7000000000000002</cx:pt>
          <cx:pt idx="6508">3.7999999999999998</cx:pt>
          <cx:pt idx="6509">3.7999999999999998</cx:pt>
          <cx:pt idx="6510">4</cx:pt>
          <cx:pt idx="6511">3.8999999999999999</cx:pt>
          <cx:pt idx="6512">3.7000000000000002</cx:pt>
          <cx:pt idx="6513">3.3999999999999999</cx:pt>
          <cx:pt idx="6514">3.6000000000000001</cx:pt>
          <cx:pt idx="6515">3.7999999999999998</cx:pt>
          <cx:pt idx="6516">3.5</cx:pt>
          <cx:pt idx="6517">3.7999999999999998</cx:pt>
          <cx:pt idx="6518">3.7999999999999998</cx:pt>
          <cx:pt idx="6519">3.8999999999999999</cx:pt>
          <cx:pt idx="6520">3.6000000000000001</cx:pt>
          <cx:pt idx="6521">4.0999999999999996</cx:pt>
          <cx:pt idx="6522">3.7000000000000002</cx:pt>
          <cx:pt idx="6523">3.2000000000000002</cx:pt>
          <cx:pt idx="6524">3.5</cx:pt>
          <cx:pt idx="6525">3.7999999999999998</cx:pt>
          <cx:pt idx="6526">3.7999999999999998</cx:pt>
          <cx:pt idx="6527">4.0999999999999996</cx:pt>
          <cx:pt idx="6528">3.7000000000000002</cx:pt>
          <cx:pt idx="6529">3.7000000000000002</cx:pt>
          <cx:pt idx="6530">3.7000000000000002</cx:pt>
          <cx:pt idx="6531">3.7999999999999998</cx:pt>
          <cx:pt idx="6532">3.6000000000000001</cx:pt>
          <cx:pt idx="6533">3.7000000000000002</cx:pt>
          <cx:pt idx="6534">3.8999999999999999</cx:pt>
          <cx:pt idx="6535">3.7999999999999998</cx:pt>
          <cx:pt idx="6536">3.5</cx:pt>
          <cx:pt idx="6537">3.5</cx:pt>
          <cx:pt idx="6538">2.7999999999999998</cx:pt>
          <cx:pt idx="6539">2.7999999999999998</cx:pt>
          <cx:pt idx="6540">3.8999999999999999</cx:pt>
          <cx:pt idx="6541">3.7000000000000002</cx:pt>
          <cx:pt idx="6542">3.8999999999999999</cx:pt>
          <cx:pt idx="6543">3.5</cx:pt>
          <cx:pt idx="6544">3.7999999999999998</cx:pt>
          <cx:pt idx="6545">3.7999999999999998</cx:pt>
          <cx:pt idx="6546">4</cx:pt>
          <cx:pt idx="6547">3.7000000000000002</cx:pt>
          <cx:pt idx="6548">3.5</cx:pt>
          <cx:pt idx="6549">3.5</cx:pt>
          <cx:pt idx="6550">3.7000000000000002</cx:pt>
          <cx:pt idx="6551">4.4000000000000004</cx:pt>
          <cx:pt idx="6552">3.7999999999999998</cx:pt>
          <cx:pt idx="6553">4.5</cx:pt>
          <cx:pt idx="6554">4.5999999999999996</cx:pt>
          <cx:pt idx="6555">4.4000000000000004</cx:pt>
          <cx:pt idx="6556">3.7999999999999998</cx:pt>
          <cx:pt idx="6557">3.8999999999999999</cx:pt>
          <cx:pt idx="6558">3.3999999999999999</cx:pt>
          <cx:pt idx="6559">4.2000000000000002</cx:pt>
          <cx:pt idx="6560">3.8999999999999999</cx:pt>
          <cx:pt idx="6561">4.2999999999999998</cx:pt>
          <cx:pt idx="6562">4.4000000000000004</cx:pt>
          <cx:pt idx="6563">3.7999999999999998</cx:pt>
          <cx:pt idx="6564">4</cx:pt>
          <cx:pt idx="6565">4.2000000000000002</cx:pt>
          <cx:pt idx="6566">4.5</cx:pt>
          <cx:pt idx="6567">3.7999999999999998</cx:pt>
          <cx:pt idx="6568">3.7999999999999998</cx:pt>
          <cx:pt idx="6569">4</cx:pt>
          <cx:pt idx="6570">4</cx:pt>
          <cx:pt idx="6571">3.5</cx:pt>
          <cx:pt idx="6572">3.8999999999999999</cx:pt>
          <cx:pt idx="6573">4.0999999999999996</cx:pt>
          <cx:pt idx="6574">3.1000000000000001</cx:pt>
          <cx:pt idx="6575">3.7999999999999998</cx:pt>
          <cx:pt idx="6576">4.2000000000000002</cx:pt>
          <cx:pt idx="6577">3.6000000000000001</cx:pt>
          <cx:pt idx="6578">2.8999999999999999</cx:pt>
          <cx:pt idx="6579">3.8999999999999999</cx:pt>
          <cx:pt idx="6580">3.8999999999999999</cx:pt>
          <cx:pt idx="6581">4.2999999999999998</cx:pt>
          <cx:pt idx="6582">4.2999999999999998</cx:pt>
          <cx:pt idx="6583">4.5</cx:pt>
          <cx:pt idx="6584">3.8999999999999999</cx:pt>
          <cx:pt idx="6585">3.7000000000000002</cx:pt>
          <cx:pt idx="6586">4.2999999999999998</cx:pt>
          <cx:pt idx="6587">4.2999999999999998</cx:pt>
          <cx:pt idx="6588">4.2999999999999998</cx:pt>
          <cx:pt idx="6589">4.0999999999999996</cx:pt>
          <cx:pt idx="6590">4.0999999999999996</cx:pt>
          <cx:pt idx="6591">3.6000000000000001</cx:pt>
          <cx:pt idx="6592">3.7000000000000002</cx:pt>
          <cx:pt idx="6593">4.5</cx:pt>
          <cx:pt idx="6594">4.0999999999999996</cx:pt>
          <cx:pt idx="6595">4</cx:pt>
          <cx:pt idx="6596">4.2000000000000002</cx:pt>
          <cx:pt idx="6597">3.6000000000000001</cx:pt>
          <cx:pt idx="6598">3.7000000000000002</cx:pt>
          <cx:pt idx="6599">3.8999999999999999</cx:pt>
          <cx:pt idx="6600">4</cx:pt>
          <cx:pt idx="6601">3.7000000000000002</cx:pt>
          <cx:pt idx="6602">4</cx:pt>
          <cx:pt idx="6603">3.6000000000000001</cx:pt>
          <cx:pt idx="6604">4.2999999999999998</cx:pt>
          <cx:pt idx="6605">3.8999999999999999</cx:pt>
          <cx:pt idx="6606">4.2000000000000002</cx:pt>
          <cx:pt idx="6607">4</cx:pt>
          <cx:pt idx="6608">4</cx:pt>
          <cx:pt idx="6609">3.5</cx:pt>
          <cx:pt idx="6610">3.2999999999999998</cx:pt>
          <cx:pt idx="6611">2.8999999999999999</cx:pt>
          <cx:pt idx="6612">4</cx:pt>
          <cx:pt idx="6613">3.7999999999999998</cx:pt>
          <cx:pt idx="6614">4.2999999999999998</cx:pt>
          <cx:pt idx="6615">4.4000000000000004</cx:pt>
          <cx:pt idx="6616">4.2000000000000002</cx:pt>
          <cx:pt idx="6617">4.2000000000000002</cx:pt>
          <cx:pt idx="6618">4.0999999999999996</cx:pt>
          <cx:pt idx="6619">4.0999999999999996</cx:pt>
          <cx:pt idx="6620">4.2000000000000002</cx:pt>
          <cx:pt idx="6621">4.4000000000000004</cx:pt>
          <cx:pt idx="6622">4.4000000000000004</cx:pt>
          <cx:pt idx="6623">4.2000000000000002</cx:pt>
          <cx:pt idx="6624">4.2000000000000002</cx:pt>
          <cx:pt idx="6625">4.2000000000000002</cx:pt>
          <cx:pt idx="6626">4.2000000000000002</cx:pt>
          <cx:pt idx="6627">3.7999999999999998</cx:pt>
          <cx:pt idx="6628">4.5999999999999996</cx:pt>
          <cx:pt idx="6629">4.2999999999999998</cx:pt>
          <cx:pt idx="6630">4.4000000000000004</cx:pt>
          <cx:pt idx="6631">3.5</cx:pt>
          <cx:pt idx="6632">4</cx:pt>
          <cx:pt idx="6633">3.6000000000000001</cx:pt>
          <cx:pt idx="6634">4</cx:pt>
          <cx:pt idx="6635">4.0999999999999996</cx:pt>
          <cx:pt idx="6636">4</cx:pt>
          <cx:pt idx="6637">4.0999999999999996</cx:pt>
          <cx:pt idx="6638">4.2000000000000002</cx:pt>
          <cx:pt idx="6639">3.7999999999999998</cx:pt>
          <cx:pt idx="6640">4.2000000000000002</cx:pt>
          <cx:pt idx="6641">3.7000000000000002</cx:pt>
          <cx:pt idx="6642">4</cx:pt>
          <cx:pt idx="6643">4.2999999999999998</cx:pt>
          <cx:pt idx="6644">4.2000000000000002</cx:pt>
          <cx:pt idx="6645">4.0999999999999996</cx:pt>
          <cx:pt idx="6646">4</cx:pt>
          <cx:pt idx="6647">4</cx:pt>
          <cx:pt idx="6648">3.8999999999999999</cx:pt>
          <cx:pt idx="6649">3.8999999999999999</cx:pt>
          <cx:pt idx="6650">4</cx:pt>
          <cx:pt idx="6651">4</cx:pt>
          <cx:pt idx="6652">3.8999999999999999</cx:pt>
          <cx:pt idx="6653">3.8999999999999999</cx:pt>
          <cx:pt idx="6654">4.2999999999999998</cx:pt>
          <cx:pt idx="6655">4.2999999999999998</cx:pt>
          <cx:pt idx="6656">3.8999999999999999</cx:pt>
          <cx:pt idx="6657">3.8999999999999999</cx:pt>
          <cx:pt idx="6658">4.0999999999999996</cx:pt>
          <cx:pt idx="6659">3.7999999999999998</cx:pt>
          <cx:pt idx="6660">4</cx:pt>
          <cx:pt idx="6661">4.0999999999999996</cx:pt>
          <cx:pt idx="6662">4.0999999999999996</cx:pt>
          <cx:pt idx="6663">4.2999999999999998</cx:pt>
          <cx:pt idx="6664">4.2000000000000002</cx:pt>
          <cx:pt idx="6665">3.7999999999999998</cx:pt>
          <cx:pt idx="6666">4.0999999999999996</cx:pt>
          <cx:pt idx="6667">4</cx:pt>
          <cx:pt idx="6668">3.7999999999999998</cx:pt>
          <cx:pt idx="6669">2.8999999999999999</cx:pt>
          <cx:pt idx="6670">3.7999999999999998</cx:pt>
          <cx:pt idx="6671">3.7999999999999998</cx:pt>
          <cx:pt idx="6672">4.0999999999999996</cx:pt>
          <cx:pt idx="6673">3.8999999999999999</cx:pt>
          <cx:pt idx="6674">4.0999999999999996</cx:pt>
          <cx:pt idx="6675">4.2000000000000002</cx:pt>
          <cx:pt idx="6676">3.8999999999999999</cx:pt>
          <cx:pt idx="6677">3.8999999999999999</cx:pt>
          <cx:pt idx="6678">4.0999999999999996</cx:pt>
          <cx:pt idx="6679">4</cx:pt>
          <cx:pt idx="6680">4</cx:pt>
          <cx:pt idx="6681">4</cx:pt>
          <cx:pt idx="6682">3.8999999999999999</cx:pt>
          <cx:pt idx="6683">3.5</cx:pt>
          <cx:pt idx="6684">3.5</cx:pt>
          <cx:pt idx="6685">4</cx:pt>
          <cx:pt idx="6686">4</cx:pt>
          <cx:pt idx="6687">3.8999999999999999</cx:pt>
          <cx:pt idx="6688">3.7999999999999998</cx:pt>
          <cx:pt idx="6689">3.7000000000000002</cx:pt>
          <cx:pt idx="6690">3.7000000000000002</cx:pt>
          <cx:pt idx="6691">3.7999999999999998</cx:pt>
          <cx:pt idx="6692">3.8999999999999999</cx:pt>
          <cx:pt idx="6693">4</cx:pt>
          <cx:pt idx="6694">3.7999999999999998</cx:pt>
          <cx:pt idx="6695">3.7000000000000002</cx:pt>
          <cx:pt idx="6696">3.7999999999999998</cx:pt>
          <cx:pt idx="6697">3.5</cx:pt>
          <cx:pt idx="6698">3.5</cx:pt>
          <cx:pt idx="6699">3.7000000000000002</cx:pt>
          <cx:pt idx="6700">3.7000000000000002</cx:pt>
          <cx:pt idx="6701">3.8999999999999999</cx:pt>
          <cx:pt idx="6702">3.7999999999999998</cx:pt>
          <cx:pt idx="6703">3.2999999999999998</cx:pt>
          <cx:pt idx="6704">3.5</cx:pt>
          <cx:pt idx="6705">3.6000000000000001</cx:pt>
          <cx:pt idx="6706">3.7000000000000002</cx:pt>
          <cx:pt idx="6707">3.6000000000000001</cx:pt>
          <cx:pt idx="6708">3.2999999999999998</cx:pt>
          <cx:pt idx="6709">3.7000000000000002</cx:pt>
          <cx:pt idx="6710">3.7000000000000002</cx:pt>
          <cx:pt idx="6711">2.8999999999999999</cx:pt>
          <cx:pt idx="6712">3.6000000000000001</cx:pt>
          <cx:pt idx="6713">3.7999999999999998</cx:pt>
          <cx:pt idx="6714">3.2999999999999998</cx:pt>
          <cx:pt idx="6715">4</cx:pt>
          <cx:pt idx="6716">3.5</cx:pt>
          <cx:pt idx="6717">2.8999999999999999</cx:pt>
          <cx:pt idx="6718">3.5</cx:pt>
          <cx:pt idx="6719">3.7000000000000002</cx:pt>
          <cx:pt idx="6720">3.7000000000000002</cx:pt>
          <cx:pt idx="6721">3.7999999999999998</cx:pt>
          <cx:pt idx="6722">3.3999999999999999</cx:pt>
          <cx:pt idx="6723">3.6000000000000001</cx:pt>
          <cx:pt idx="6724">3.6000000000000001</cx:pt>
          <cx:pt idx="6725">3.8999999999999999</cx:pt>
          <cx:pt idx="6726">3.1000000000000001</cx:pt>
          <cx:pt idx="6727">3.7000000000000002</cx:pt>
          <cx:pt idx="6728">2.6000000000000001</cx:pt>
          <cx:pt idx="6729">3.2999999999999998</cx:pt>
          <cx:pt idx="6730">3.7000000000000002</cx:pt>
          <cx:pt idx="6731">3.3999999999999999</cx:pt>
          <cx:pt idx="6732">3.7999999999999998</cx:pt>
          <cx:pt idx="6733">2.8999999999999999</cx:pt>
          <cx:pt idx="6734">3.3999999999999999</cx:pt>
          <cx:pt idx="6735">3.5</cx:pt>
          <cx:pt idx="6736">3.7000000000000002</cx:pt>
          <cx:pt idx="6737">3.2000000000000002</cx:pt>
          <cx:pt idx="6738">3.2000000000000002</cx:pt>
          <cx:pt idx="6739">3.3999999999999999</cx:pt>
          <cx:pt idx="6740">3.2999999999999998</cx:pt>
          <cx:pt idx="6741">3.2000000000000002</cx:pt>
          <cx:pt idx="6742">3.2999999999999998</cx:pt>
          <cx:pt idx="6743">3.2999999999999998</cx:pt>
          <cx:pt idx="6744">3.3999999999999999</cx:pt>
          <cx:pt idx="6745">3.2999999999999998</cx:pt>
          <cx:pt idx="6746">3.1000000000000001</cx:pt>
          <cx:pt idx="6747">3.2999999999999998</cx:pt>
          <cx:pt idx="6748">3.2999999999999998</cx:pt>
          <cx:pt idx="6749">2.8999999999999999</cx:pt>
          <cx:pt idx="6750">3.2999999999999998</cx:pt>
          <cx:pt idx="6751">3.3999999999999999</cx:pt>
          <cx:pt idx="6752">3.2000000000000002</cx:pt>
          <cx:pt idx="6753">3.3999999999999999</cx:pt>
          <cx:pt idx="6754">3.3999999999999999</cx:pt>
          <cx:pt idx="6755">3.2000000000000002</cx:pt>
          <cx:pt idx="6756">3.2999999999999998</cx:pt>
          <cx:pt idx="6757">3.1000000000000001</cx:pt>
          <cx:pt idx="6758">3.2999999999999998</cx:pt>
          <cx:pt idx="6759">2.8999999999999999</cx:pt>
          <cx:pt idx="6760">3.2000000000000002</cx:pt>
          <cx:pt idx="6761">3</cx:pt>
          <cx:pt idx="6762">3.2999999999999998</cx:pt>
          <cx:pt idx="6763">3.1000000000000001</cx:pt>
          <cx:pt idx="6764">3.2000000000000002</cx:pt>
          <cx:pt idx="6765">3.2000000000000002</cx:pt>
          <cx:pt idx="6766">3.2000000000000002</cx:pt>
          <cx:pt idx="6767">0</cx:pt>
          <cx:pt idx="6768">0</cx:pt>
          <cx:pt idx="6769">0</cx:pt>
          <cx:pt idx="6770">3.2000000000000002</cx:pt>
          <cx:pt idx="6771">3.2000000000000002</cx:pt>
          <cx:pt idx="6772">0</cx:pt>
          <cx:pt idx="6773">0</cx:pt>
          <cx:pt idx="6774">3.2000000000000002</cx:pt>
          <cx:pt idx="6775">3.3999999999999999</cx:pt>
          <cx:pt idx="6776">4.4000000000000004</cx:pt>
          <cx:pt idx="6777">4.5999999999999996</cx:pt>
          <cx:pt idx="6778">4.5999999999999996</cx:pt>
          <cx:pt idx="6779">4.4000000000000004</cx:pt>
          <cx:pt idx="6780">4.5999999999999996</cx:pt>
          <cx:pt idx="6781">4.4000000000000004</cx:pt>
          <cx:pt idx="6782">4.2999999999999998</cx:pt>
          <cx:pt idx="6783">4.2999999999999998</cx:pt>
          <cx:pt idx="6784">4.2999999999999998</cx:pt>
          <cx:pt idx="6785">4.5999999999999996</cx:pt>
          <cx:pt idx="6786">4.2999999999999998</cx:pt>
          <cx:pt idx="6787">3.7999999999999998</cx:pt>
          <cx:pt idx="6788">4.0999999999999996</cx:pt>
          <cx:pt idx="6789">4.5999999999999996</cx:pt>
          <cx:pt idx="6790">4</cx:pt>
          <cx:pt idx="6791">3.7999999999999998</cx:pt>
          <cx:pt idx="6792">3.8999999999999999</cx:pt>
          <cx:pt idx="6793">4.2000000000000002</cx:pt>
          <cx:pt idx="6794">4.2000000000000002</cx:pt>
          <cx:pt idx="6795">4.0999999999999996</cx:pt>
          <cx:pt idx="6796">3.8999999999999999</cx:pt>
          <cx:pt idx="6797">4.5999999999999996</cx:pt>
          <cx:pt idx="6798">4.0999999999999996</cx:pt>
          <cx:pt idx="6799">4.2999999999999998</cx:pt>
          <cx:pt idx="6800">4</cx:pt>
          <cx:pt idx="6801">4.0999999999999996</cx:pt>
          <cx:pt idx="6802">4</cx:pt>
          <cx:pt idx="6803">4.2000000000000002</cx:pt>
          <cx:pt idx="6804">4.0999999999999996</cx:pt>
          <cx:pt idx="6805">4.0999999999999996</cx:pt>
          <cx:pt idx="6806">4.2000000000000002</cx:pt>
          <cx:pt idx="6807">4.0999999999999996</cx:pt>
          <cx:pt idx="6808">3.8999999999999999</cx:pt>
          <cx:pt idx="6809">4.0999999999999996</cx:pt>
          <cx:pt idx="6810">4.4000000000000004</cx:pt>
          <cx:pt idx="6811">4</cx:pt>
          <cx:pt idx="6812">4.2000000000000002</cx:pt>
          <cx:pt idx="6813">3.8999999999999999</cx:pt>
          <cx:pt idx="6814">3.7999999999999998</cx:pt>
          <cx:pt idx="6815">3.8999999999999999</cx:pt>
          <cx:pt idx="6816">4.2000000000000002</cx:pt>
          <cx:pt idx="6817">4.0999999999999996</cx:pt>
          <cx:pt idx="6818">3.7999999999999998</cx:pt>
          <cx:pt idx="6819">3.7999999999999998</cx:pt>
          <cx:pt idx="6820">3.8999999999999999</cx:pt>
          <cx:pt idx="6821">4</cx:pt>
          <cx:pt idx="6822">4</cx:pt>
          <cx:pt idx="6823">4.0999999999999996</cx:pt>
          <cx:pt idx="6824">4.0999999999999996</cx:pt>
          <cx:pt idx="6825">3.7999999999999998</cx:pt>
          <cx:pt idx="6826">4.0999999999999996</cx:pt>
          <cx:pt idx="6827">4</cx:pt>
          <cx:pt idx="6828">4</cx:pt>
          <cx:pt idx="6829">4.0999999999999996</cx:pt>
          <cx:pt idx="6830">3.8999999999999999</cx:pt>
          <cx:pt idx="6831">4.0999999999999996</cx:pt>
          <cx:pt idx="6832">3.8999999999999999</cx:pt>
          <cx:pt idx="6833">4</cx:pt>
          <cx:pt idx="6834">4</cx:pt>
          <cx:pt idx="6835">4.2000000000000002</cx:pt>
          <cx:pt idx="6836">3.8999999999999999</cx:pt>
          <cx:pt idx="6837">4.2000000000000002</cx:pt>
          <cx:pt idx="6838">3.7000000000000002</cx:pt>
          <cx:pt idx="6839">3.8999999999999999</cx:pt>
          <cx:pt idx="6840">4.2000000000000002</cx:pt>
          <cx:pt idx="6841">3.6000000000000001</cx:pt>
          <cx:pt idx="6842">3.8999999999999999</cx:pt>
          <cx:pt idx="6843">3.6000000000000001</cx:pt>
          <cx:pt idx="6844">4</cx:pt>
          <cx:pt idx="6845">3.8999999999999999</cx:pt>
          <cx:pt idx="6846">3.7000000000000002</cx:pt>
          <cx:pt idx="6847">4.0999999999999996</cx:pt>
          <cx:pt idx="6848">3.5</cx:pt>
          <cx:pt idx="6849">4</cx:pt>
          <cx:pt idx="6850">3.7999999999999998</cx:pt>
          <cx:pt idx="6851">3.7999999999999998</cx:pt>
          <cx:pt idx="6852">2.8999999999999999</cx:pt>
          <cx:pt idx="6853">3.6000000000000001</cx:pt>
          <cx:pt idx="6854">3.8999999999999999</cx:pt>
          <cx:pt idx="6855">3.8999999999999999</cx:pt>
          <cx:pt idx="6856">4.2999999999999998</cx:pt>
          <cx:pt idx="6857">4.2000000000000002</cx:pt>
          <cx:pt idx="6858">3.8999999999999999</cx:pt>
          <cx:pt idx="6859">3.6000000000000001</cx:pt>
          <cx:pt idx="6860">4.2999999999999998</cx:pt>
          <cx:pt idx="6861">3.7999999999999998</cx:pt>
          <cx:pt idx="6862">2.8999999999999999</cx:pt>
          <cx:pt idx="6863">4</cx:pt>
          <cx:pt idx="6864">4</cx:pt>
          <cx:pt idx="6865">3.6000000000000001</cx:pt>
          <cx:pt idx="6866">3.6000000000000001</cx:pt>
          <cx:pt idx="6867">2.8999999999999999</cx:pt>
          <cx:pt idx="6868">3.7000000000000002</cx:pt>
          <cx:pt idx="6869">3.3999999999999999</cx:pt>
          <cx:pt idx="6870">4.0999999999999996</cx:pt>
          <cx:pt idx="6871">3.7000000000000002</cx:pt>
          <cx:pt idx="6872">3.7999999999999998</cx:pt>
          <cx:pt idx="6873">3.7000000000000002</cx:pt>
          <cx:pt idx="6874">3.5</cx:pt>
          <cx:pt idx="6875">3</cx:pt>
          <cx:pt idx="6876">2.6000000000000001</cx:pt>
          <cx:pt idx="6877">2.8999999999999999</cx:pt>
          <cx:pt idx="6878">3.7000000000000002</cx:pt>
          <cx:pt idx="6879">3.8999999999999999</cx:pt>
          <cx:pt idx="6880">4.4000000000000004</cx:pt>
          <cx:pt idx="6881">3.8999999999999999</cx:pt>
          <cx:pt idx="6882">3.3999999999999999</cx:pt>
          <cx:pt idx="6883">3.3999999999999999</cx:pt>
          <cx:pt idx="6884">3.8999999999999999</cx:pt>
          <cx:pt idx="6885">3.7000000000000002</cx:pt>
          <cx:pt idx="6886">3.7000000000000002</cx:pt>
          <cx:pt idx="6887">3.7999999999999998</cx:pt>
          <cx:pt idx="6888">3.6000000000000001</cx:pt>
          <cx:pt idx="6889">3.7000000000000002</cx:pt>
          <cx:pt idx="6890">3.6000000000000001</cx:pt>
          <cx:pt idx="6891">3.5</cx:pt>
          <cx:pt idx="6892">3.1000000000000001</cx:pt>
          <cx:pt idx="6893">3.5</cx:pt>
          <cx:pt idx="6894">3.7000000000000002</cx:pt>
          <cx:pt idx="6895">3.6000000000000001</cx:pt>
          <cx:pt idx="6896">2.5</cx:pt>
          <cx:pt idx="6897">3.7999999999999998</cx:pt>
          <cx:pt idx="6898">2.7999999999999998</cx:pt>
          <cx:pt idx="6899">3.7000000000000002</cx:pt>
          <cx:pt idx="6900">4.2999999999999998</cx:pt>
          <cx:pt idx="6901">4.4000000000000004</cx:pt>
          <cx:pt idx="6902">4.2999999999999998</cx:pt>
          <cx:pt idx="6903">4</cx:pt>
          <cx:pt idx="6904">4.4000000000000004</cx:pt>
          <cx:pt idx="6905">4.2999999999999998</cx:pt>
          <cx:pt idx="6906">4.2999999999999998</cx:pt>
          <cx:pt idx="6907">4.5</cx:pt>
          <cx:pt idx="6908">4.2000000000000002</cx:pt>
          <cx:pt idx="6909">4.5</cx:pt>
          <cx:pt idx="6910">4.7000000000000002</cx:pt>
          <cx:pt idx="6911">4.0999999999999996</cx:pt>
          <cx:pt idx="6912">4.7000000000000002</cx:pt>
          <cx:pt idx="6913">4.2000000000000002</cx:pt>
          <cx:pt idx="6914">4.2999999999999998</cx:pt>
          <cx:pt idx="6915">4.2000000000000002</cx:pt>
          <cx:pt idx="6916">4.0999999999999996</cx:pt>
          <cx:pt idx="6917">4</cx:pt>
          <cx:pt idx="6918">4.4000000000000004</cx:pt>
          <cx:pt idx="6919">4.0999999999999996</cx:pt>
          <cx:pt idx="6920">4.2000000000000002</cx:pt>
          <cx:pt idx="6921">3.8999999999999999</cx:pt>
          <cx:pt idx="6922">4.2000000000000002</cx:pt>
          <cx:pt idx="6923">4.5</cx:pt>
          <cx:pt idx="6924">4</cx:pt>
          <cx:pt idx="6925">4.2000000000000002</cx:pt>
          <cx:pt idx="6926">4.2000000000000002</cx:pt>
          <cx:pt idx="6927">4.5</cx:pt>
          <cx:pt idx="6928">4.2000000000000002</cx:pt>
          <cx:pt idx="6929">4</cx:pt>
          <cx:pt idx="6930">4.2000000000000002</cx:pt>
          <cx:pt idx="6931">3.7999999999999998</cx:pt>
          <cx:pt idx="6932">3.8999999999999999</cx:pt>
          <cx:pt idx="6933">3.8999999999999999</cx:pt>
          <cx:pt idx="6934">4.0999999999999996</cx:pt>
          <cx:pt idx="6935">4.0999999999999996</cx:pt>
          <cx:pt idx="6936">3.6000000000000001</cx:pt>
          <cx:pt idx="6937">3.7999999999999998</cx:pt>
          <cx:pt idx="6938">3.8999999999999999</cx:pt>
          <cx:pt idx="6939">3.8999999999999999</cx:pt>
          <cx:pt idx="6940">3.2999999999999998</cx:pt>
          <cx:pt idx="6941">3.7000000000000002</cx:pt>
          <cx:pt idx="6942">3.7999999999999998</cx:pt>
          <cx:pt idx="6943">4</cx:pt>
          <cx:pt idx="6944">3.6000000000000001</cx:pt>
          <cx:pt idx="6945">3.7000000000000002</cx:pt>
          <cx:pt idx="6946">3.7999999999999998</cx:pt>
          <cx:pt idx="6947">3.7000000000000002</cx:pt>
          <cx:pt idx="6948">3.8999999999999999</cx:pt>
          <cx:pt idx="6949">3.2999999999999998</cx:pt>
          <cx:pt idx="6950">3.1000000000000001</cx:pt>
          <cx:pt idx="6951">2.7999999999999998</cx:pt>
          <cx:pt idx="6952">3.6000000000000001</cx:pt>
          <cx:pt idx="6953">3.7000000000000002</cx:pt>
          <cx:pt idx="6954">3.2999999999999998</cx:pt>
          <cx:pt idx="6955">3.7999999999999998</cx:pt>
          <cx:pt idx="6956">3.2000000000000002</cx:pt>
          <cx:pt idx="6957">3.7000000000000002</cx:pt>
          <cx:pt idx="6958">3.2000000000000002</cx:pt>
          <cx:pt idx="6959">3.5</cx:pt>
          <cx:pt idx="6960">3.7000000000000002</cx:pt>
          <cx:pt idx="6961">2.7999999999999998</cx:pt>
          <cx:pt idx="6962">3.7000000000000002</cx:pt>
          <cx:pt idx="6963">2.7999999999999998</cx:pt>
          <cx:pt idx="6964">3.8999999999999999</cx:pt>
          <cx:pt idx="6965">3.8999999999999999</cx:pt>
          <cx:pt idx="6966">3.2999999999999998</cx:pt>
          <cx:pt idx="6967">2.7999999999999998</cx:pt>
          <cx:pt idx="6968">3.1000000000000001</cx:pt>
          <cx:pt idx="6969">3.5</cx:pt>
          <cx:pt idx="6970">3.5</cx:pt>
          <cx:pt idx="6971">3.5</cx:pt>
          <cx:pt idx="6972">3.5</cx:pt>
          <cx:pt idx="6973">3.6000000000000001</cx:pt>
          <cx:pt idx="6974">3.2999999999999998</cx:pt>
          <cx:pt idx="6975">3.3999999999999999</cx:pt>
          <cx:pt idx="6976">3.5</cx:pt>
          <cx:pt idx="6977">3.3999999999999999</cx:pt>
          <cx:pt idx="6978">3.2999999999999998</cx:pt>
          <cx:pt idx="6979">2.8999999999999999</cx:pt>
          <cx:pt idx="6980">2.7000000000000002</cx:pt>
          <cx:pt idx="6981">3.1000000000000001</cx:pt>
          <cx:pt idx="6982">3.3999999999999999</cx:pt>
          <cx:pt idx="6983">2.8999999999999999</cx:pt>
          <cx:pt idx="6984">3.3999999999999999</cx:pt>
          <cx:pt idx="6985">2.8999999999999999</cx:pt>
          <cx:pt idx="6986">3.2000000000000002</cx:pt>
          <cx:pt idx="6987">3.2000000000000002</cx:pt>
          <cx:pt idx="6988">3.1000000000000001</cx:pt>
          <cx:pt idx="6989">3.2000000000000002</cx:pt>
          <cx:pt idx="6990">0</cx:pt>
          <cx:pt idx="6991">3.1000000000000001</cx:pt>
          <cx:pt idx="6992">2.8999999999999999</cx:pt>
          <cx:pt idx="6993">3</cx:pt>
          <cx:pt idx="6994">3.1000000000000001</cx:pt>
          <cx:pt idx="6995">0</cx:pt>
          <cx:pt idx="6996">0</cx:pt>
          <cx:pt idx="6997">0</cx:pt>
          <cx:pt idx="6998">0</cx:pt>
          <cx:pt idx="6999">3.8999999999999999</cx:pt>
          <cx:pt idx="7000">0</cx:pt>
          <cx:pt idx="7001">0</cx:pt>
          <cx:pt idx="7002">0</cx:pt>
          <cx:pt idx="7003">0</cx:pt>
          <cx:pt idx="7004">0</cx:pt>
          <cx:pt idx="7005">0</cx:pt>
          <cx:pt idx="7006">0</cx:pt>
          <cx:pt idx="7007">0</cx:pt>
          <cx:pt idx="7008">0</cx:pt>
          <cx:pt idx="7009">0</cx:pt>
          <cx:pt idx="7010">0</cx:pt>
          <cx:pt idx="7011">0</cx:pt>
          <cx:pt idx="7012">0</cx:pt>
          <cx:pt idx="7013">0</cx:pt>
          <cx:pt idx="7014">4</cx:pt>
          <cx:pt idx="7015">4.0999999999999996</cx:pt>
          <cx:pt idx="7016">4.7000000000000002</cx:pt>
          <cx:pt idx="7017">4.0999999999999996</cx:pt>
          <cx:pt idx="7018">4.0999999999999996</cx:pt>
          <cx:pt idx="7019">4.0999999999999996</cx:pt>
          <cx:pt idx="7020">4.4000000000000004</cx:pt>
          <cx:pt idx="7021">4.2000000000000002</cx:pt>
          <cx:pt idx="7022">3.5</cx:pt>
          <cx:pt idx="7023">3.7999999999999998</cx:pt>
          <cx:pt idx="7024">4</cx:pt>
          <cx:pt idx="7025">3.8999999999999999</cx:pt>
          <cx:pt idx="7026">3.7000000000000002</cx:pt>
          <cx:pt idx="7027">3.2999999999999998</cx:pt>
          <cx:pt idx="7028">3.7000000000000002</cx:pt>
          <cx:pt idx="7029">3.2999999999999998</cx:pt>
          <cx:pt idx="7030">3.3999999999999999</cx:pt>
          <cx:pt idx="7031">3.3999999999999999</cx:pt>
          <cx:pt idx="7032">3.6000000000000001</cx:pt>
          <cx:pt idx="7033">2.7999999999999998</cx:pt>
          <cx:pt idx="7034">3.2999999999999998</cx:pt>
          <cx:pt idx="7035">3.5</cx:pt>
          <cx:pt idx="7036">3.2000000000000002</cx:pt>
          <cx:pt idx="7037">3.6000000000000001</cx:pt>
          <cx:pt idx="7038">3.5</cx:pt>
          <cx:pt idx="7039">2.8999999999999999</cx:pt>
          <cx:pt idx="7040">0</cx:pt>
          <cx:pt idx="7041">0</cx:pt>
          <cx:pt idx="7042">3.8999999999999999</cx:pt>
          <cx:pt idx="7043">4</cx:pt>
          <cx:pt idx="7044">4.2999999999999998</cx:pt>
          <cx:pt idx="7045">4.2000000000000002</cx:pt>
          <cx:pt idx="7046">3.7000000000000002</cx:pt>
          <cx:pt idx="7047">4</cx:pt>
          <cx:pt idx="7048">3.7999999999999998</cx:pt>
          <cx:pt idx="7049">4</cx:pt>
          <cx:pt idx="7050">3.7000000000000002</cx:pt>
          <cx:pt idx="7051">3.7000000000000002</cx:pt>
          <cx:pt idx="7052">3.7000000000000002</cx:pt>
          <cx:pt idx="7053">3.5</cx:pt>
          <cx:pt idx="7054">3.2999999999999998</cx:pt>
          <cx:pt idx="7055">2.7000000000000002</cx:pt>
          <cx:pt idx="7056">3.1000000000000001</cx:pt>
          <cx:pt idx="7057">3.2000000000000002</cx:pt>
          <cx:pt idx="7058">4.2999999999999998</cx:pt>
          <cx:pt idx="7059">4.4000000000000004</cx:pt>
          <cx:pt idx="7060">4.2000000000000002</cx:pt>
          <cx:pt idx="7061">4.5</cx:pt>
          <cx:pt idx="7062">4.2000000000000002</cx:pt>
          <cx:pt idx="7063">4.4000000000000004</cx:pt>
          <cx:pt idx="7064">4.0999999999999996</cx:pt>
          <cx:pt idx="7065">4</cx:pt>
          <cx:pt idx="7066">4.2000000000000002</cx:pt>
          <cx:pt idx="7067">4.0999999999999996</cx:pt>
          <cx:pt idx="7068">3.7999999999999998</cx:pt>
          <cx:pt idx="7069">3.8999999999999999</cx:pt>
          <cx:pt idx="7070">4.2000000000000002</cx:pt>
          <cx:pt idx="7071">4.5999999999999996</cx:pt>
          <cx:pt idx="7072">4.2000000000000002</cx:pt>
          <cx:pt idx="7073">3.7999999999999998</cx:pt>
          <cx:pt idx="7074">4.2999999999999998</cx:pt>
          <cx:pt idx="7075">4.0999999999999996</cx:pt>
          <cx:pt idx="7076">4.0999999999999996</cx:pt>
          <cx:pt idx="7077">4</cx:pt>
          <cx:pt idx="7078">3.8999999999999999</cx:pt>
          <cx:pt idx="7079">4.4000000000000004</cx:pt>
          <cx:pt idx="7080">4.0999999999999996</cx:pt>
          <cx:pt idx="7081">4.2999999999999998</cx:pt>
          <cx:pt idx="7082">4.2000000000000002</cx:pt>
          <cx:pt idx="7083">3.6000000000000001</cx:pt>
          <cx:pt idx="7084">3.8999999999999999</cx:pt>
          <cx:pt idx="7085">3.5</cx:pt>
          <cx:pt idx="7086">4.0999999999999996</cx:pt>
          <cx:pt idx="7087">3.7999999999999998</cx:pt>
          <cx:pt idx="7088">3.6000000000000001</cx:pt>
          <cx:pt idx="7089">3.7999999999999998</cx:pt>
          <cx:pt idx="7090">3.7000000000000002</cx:pt>
          <cx:pt idx="7091">3.8999999999999999</cx:pt>
          <cx:pt idx="7092">4.0999999999999996</cx:pt>
          <cx:pt idx="7093">3.8999999999999999</cx:pt>
          <cx:pt idx="7094">4</cx:pt>
          <cx:pt idx="7095">4</cx:pt>
          <cx:pt idx="7096">3.7999999999999998</cx:pt>
          <cx:pt idx="7097">3.8999999999999999</cx:pt>
          <cx:pt idx="7098">4.0999999999999996</cx:pt>
          <cx:pt idx="7099">3.8999999999999999</cx:pt>
          <cx:pt idx="7100">3.7000000000000002</cx:pt>
          <cx:pt idx="7101">3.8999999999999999</cx:pt>
          <cx:pt idx="7102">3.7999999999999998</cx:pt>
          <cx:pt idx="7103">3.8999999999999999</cx:pt>
          <cx:pt idx="7104">3.6000000000000001</cx:pt>
          <cx:pt idx="7105">3.7999999999999998</cx:pt>
          <cx:pt idx="7106">3.8999999999999999</cx:pt>
          <cx:pt idx="7107">3.7000000000000002</cx:pt>
          <cx:pt idx="7108">3.3999999999999999</cx:pt>
          <cx:pt idx="7109">3.8999999999999999</cx:pt>
          <cx:pt idx="7110">3.6000000000000001</cx:pt>
          <cx:pt idx="7111">3.8999999999999999</cx:pt>
          <cx:pt idx="7112">3.6000000000000001</cx:pt>
          <cx:pt idx="7113">4.0999999999999996</cx:pt>
          <cx:pt idx="7114">3.7999999999999998</cx:pt>
          <cx:pt idx="7115">3.3999999999999999</cx:pt>
          <cx:pt idx="7116">4</cx:pt>
          <cx:pt idx="7117">3.6000000000000001</cx:pt>
          <cx:pt idx="7118">3.8999999999999999</cx:pt>
          <cx:pt idx="7119">3.7000000000000002</cx:pt>
          <cx:pt idx="7120">3.6000000000000001</cx:pt>
          <cx:pt idx="7121">3.7000000000000002</cx:pt>
          <cx:pt idx="7122">3.7999999999999998</cx:pt>
          <cx:pt idx="7123">3.1000000000000001</cx:pt>
          <cx:pt idx="7124">4</cx:pt>
          <cx:pt idx="7125">3.5</cx:pt>
          <cx:pt idx="7126">3.8999999999999999</cx:pt>
          <cx:pt idx="7127">3.6000000000000001</cx:pt>
          <cx:pt idx="7128">3.5</cx:pt>
          <cx:pt idx="7129">3.7000000000000002</cx:pt>
          <cx:pt idx="7130">3.7999999999999998</cx:pt>
          <cx:pt idx="7131">4.0999999999999996</cx:pt>
          <cx:pt idx="7132">3.8999999999999999</cx:pt>
          <cx:pt idx="7133">3.8999999999999999</cx:pt>
          <cx:pt idx="7134">3.6000000000000001</cx:pt>
          <cx:pt idx="7135">3.7999999999999998</cx:pt>
          <cx:pt idx="7136">3.6000000000000001</cx:pt>
          <cx:pt idx="7137">3.2000000000000002</cx:pt>
          <cx:pt idx="7138">4.0999999999999996</cx:pt>
          <cx:pt idx="7139">3.7999999999999998</cx:pt>
          <cx:pt idx="7140">4</cx:pt>
          <cx:pt idx="7141">3.7999999999999998</cx:pt>
          <cx:pt idx="7142">3.7999999999999998</cx:pt>
          <cx:pt idx="7143">4.2000000000000002</cx:pt>
          <cx:pt idx="7144">3.8999999999999999</cx:pt>
          <cx:pt idx="7145">4.0999999999999996</cx:pt>
          <cx:pt idx="7146">4.0999999999999996</cx:pt>
          <cx:pt idx="7147">3.7000000000000002</cx:pt>
          <cx:pt idx="7148">4</cx:pt>
          <cx:pt idx="7149">3.6000000000000001</cx:pt>
          <cx:pt idx="7150">3.8999999999999999</cx:pt>
          <cx:pt idx="7151">3.7999999999999998</cx:pt>
          <cx:pt idx="7152">3.2000000000000002</cx:pt>
          <cx:pt idx="7153">3.8999999999999999</cx:pt>
          <cx:pt idx="7154">4.0999999999999996</cx:pt>
          <cx:pt idx="7155">4.4000000000000004</cx:pt>
          <cx:pt idx="7156">4.0999999999999996</cx:pt>
          <cx:pt idx="7157">4.2999999999999998</cx:pt>
          <cx:pt idx="7158">3.7999999999999998</cx:pt>
          <cx:pt idx="7159">3.6000000000000001</cx:pt>
          <cx:pt idx="7160">4.5</cx:pt>
          <cx:pt idx="7161">4.0999999999999996</cx:pt>
          <cx:pt idx="7162">4.0999999999999996</cx:pt>
          <cx:pt idx="7163">3.6000000000000001</cx:pt>
          <cx:pt idx="7164">4.2999999999999998</cx:pt>
          <cx:pt idx="7165">4.2999999999999998</cx:pt>
          <cx:pt idx="7166">4</cx:pt>
          <cx:pt idx="7167">4.0999999999999996</cx:pt>
          <cx:pt idx="7168">3.7000000000000002</cx:pt>
          <cx:pt idx="7169">4</cx:pt>
          <cx:pt idx="7170">3.7999999999999998</cx:pt>
          <cx:pt idx="7171">4.0999999999999996</cx:pt>
          <cx:pt idx="7172">4</cx:pt>
          <cx:pt idx="7173">4</cx:pt>
          <cx:pt idx="7174">3.7999999999999998</cx:pt>
          <cx:pt idx="7175">4</cx:pt>
          <cx:pt idx="7176">3.8999999999999999</cx:pt>
          <cx:pt idx="7177">3.7000000000000002</cx:pt>
          <cx:pt idx="7178">3</cx:pt>
          <cx:pt idx="7179">3.6000000000000001</cx:pt>
          <cx:pt idx="7180">3.7000000000000002</cx:pt>
          <cx:pt idx="7181">3.3999999999999999</cx:pt>
          <cx:pt idx="7182">3.3999999999999999</cx:pt>
          <cx:pt idx="7183">3.7000000000000002</cx:pt>
          <cx:pt idx="7184">2.7000000000000002</cx:pt>
          <cx:pt idx="7185">3.6000000000000001</cx:pt>
          <cx:pt idx="7186">3.3999999999999999</cx:pt>
          <cx:pt idx="7187">3.6000000000000001</cx:pt>
          <cx:pt idx="7188">3.7000000000000002</cx:pt>
          <cx:pt idx="7189">3.6000000000000001</cx:pt>
          <cx:pt idx="7190">3.7999999999999998</cx:pt>
          <cx:pt idx="7191">3.3999999999999999</cx:pt>
          <cx:pt idx="7192">2.7999999999999998</cx:pt>
          <cx:pt idx="7193">3.2000000000000002</cx:pt>
          <cx:pt idx="7194">4.2999999999999998</cx:pt>
          <cx:pt idx="7195">4</cx:pt>
          <cx:pt idx="7196">4.5</cx:pt>
          <cx:pt idx="7197">3.7000000000000002</cx:pt>
          <cx:pt idx="7198">4.2999999999999998</cx:pt>
          <cx:pt idx="7199">4.0999999999999996</cx:pt>
          <cx:pt idx="7200">4.2999999999999998</cx:pt>
          <cx:pt idx="7201">3.8999999999999999</cx:pt>
          <cx:pt idx="7202">3.7000000000000002</cx:pt>
          <cx:pt idx="7203">3.6000000000000001</cx:pt>
          <cx:pt idx="7204">4.0999999999999996</cx:pt>
          <cx:pt idx="7205">3.6000000000000001</cx:pt>
          <cx:pt idx="7206">3.1000000000000001</cx:pt>
          <cx:pt idx="7207">3.7000000000000002</cx:pt>
          <cx:pt idx="7208">3.8999999999999999</cx:pt>
          <cx:pt idx="7209">4.0999999999999996</cx:pt>
          <cx:pt idx="7210">3.7000000000000002</cx:pt>
          <cx:pt idx="7211">3.1000000000000001</cx:pt>
          <cx:pt idx="7212">3.6000000000000001</cx:pt>
          <cx:pt idx="7213">3.8999999999999999</cx:pt>
          <cx:pt idx="7214">3.7000000000000002</cx:pt>
          <cx:pt idx="7215">3.7000000000000002</cx:pt>
          <cx:pt idx="7216">3.3999999999999999</cx:pt>
          <cx:pt idx="7217">3.6000000000000001</cx:pt>
          <cx:pt idx="7218">3.8999999999999999</cx:pt>
          <cx:pt idx="7219">3.6000000000000001</cx:pt>
          <cx:pt idx="7220">3.3999999999999999</cx:pt>
          <cx:pt idx="7221">3.6000000000000001</cx:pt>
          <cx:pt idx="7222">3.1000000000000001</cx:pt>
          <cx:pt idx="7223">3.7999999999999998</cx:pt>
          <cx:pt idx="7224">3.6000000000000001</cx:pt>
          <cx:pt idx="7225">3.6000000000000001</cx:pt>
          <cx:pt idx="7226">3.3999999999999999</cx:pt>
          <cx:pt idx="7227">3.6000000000000001</cx:pt>
          <cx:pt idx="7228">3.2000000000000002</cx:pt>
          <cx:pt idx="7229">3.5</cx:pt>
          <cx:pt idx="7230">2.8999999999999999</cx:pt>
          <cx:pt idx="7231">3.7000000000000002</cx:pt>
          <cx:pt idx="7232">3.1000000000000001</cx:pt>
          <cx:pt idx="7233">3.5</cx:pt>
          <cx:pt idx="7234">3.5</cx:pt>
          <cx:pt idx="7235">3.7000000000000002</cx:pt>
          <cx:pt idx="7236">2.8999999999999999</cx:pt>
          <cx:pt idx="7237">3.3999999999999999</cx:pt>
          <cx:pt idx="7238">3.6000000000000001</cx:pt>
          <cx:pt idx="7239">3</cx:pt>
          <cx:pt idx="7240">3.3999999999999999</cx:pt>
          <cx:pt idx="7241">3.3999999999999999</cx:pt>
          <cx:pt idx="7242">3.5</cx:pt>
          <cx:pt idx="7243">3.3999999999999999</cx:pt>
          <cx:pt idx="7244">3.2999999999999998</cx:pt>
          <cx:pt idx="7245">3.3999999999999999</cx:pt>
          <cx:pt idx="7246">3.3999999999999999</cx:pt>
          <cx:pt idx="7247">3.2999999999999998</cx:pt>
          <cx:pt idx="7248">3.2999999999999998</cx:pt>
          <cx:pt idx="7249">3</cx:pt>
          <cx:pt idx="7250">3.3999999999999999</cx:pt>
          <cx:pt idx="7251">3.1000000000000001</cx:pt>
          <cx:pt idx="7252">3.2999999999999998</cx:pt>
          <cx:pt idx="7253">3.1000000000000001</cx:pt>
          <cx:pt idx="7254">3.3999999999999999</cx:pt>
          <cx:pt idx="7255">3.2999999999999998</cx:pt>
          <cx:pt idx="7256">3.1000000000000001</cx:pt>
          <cx:pt idx="7257">3.2000000000000002</cx:pt>
          <cx:pt idx="7258">3</cx:pt>
          <cx:pt idx="7259">3.2000000000000002</cx:pt>
          <cx:pt idx="7260">3.1000000000000001</cx:pt>
          <cx:pt idx="7261">0</cx:pt>
          <cx:pt idx="7262">3.2000000000000002</cx:pt>
          <cx:pt idx="7263">2.8999999999999999</cx:pt>
          <cx:pt idx="7264">0</cx:pt>
          <cx:pt idx="7265">0</cx:pt>
          <cx:pt idx="7266">3.1000000000000001</cx:pt>
          <cx:pt idx="7267">0</cx:pt>
          <cx:pt idx="7268">3.1000000000000001</cx:pt>
          <cx:pt idx="7269">3</cx:pt>
          <cx:pt idx="7270">3</cx:pt>
          <cx:pt idx="7271">0</cx:pt>
          <cx:pt idx="7272">3</cx:pt>
          <cx:pt idx="7273">3.1000000000000001</cx:pt>
          <cx:pt idx="7274">0</cx:pt>
          <cx:pt idx="7275">0</cx:pt>
          <cx:pt idx="7276">0</cx:pt>
          <cx:pt idx="7277">0</cx:pt>
          <cx:pt idx="7278">4</cx:pt>
          <cx:pt idx="7279">4</cx:pt>
          <cx:pt idx="7280">0</cx:pt>
          <cx:pt idx="7281">3.8999999999999999</cx:pt>
          <cx:pt idx="7282">3.6000000000000001</cx:pt>
          <cx:pt idx="7283">3.7000000000000002</cx:pt>
          <cx:pt idx="7284">3.7999999999999998</cx:pt>
          <cx:pt idx="7285">3.6000000000000001</cx:pt>
          <cx:pt idx="7286">3.3999999999999999</cx:pt>
          <cx:pt idx="7287">3.2999999999999998</cx:pt>
          <cx:pt idx="7288">3.3999999999999999</cx:pt>
          <cx:pt idx="7289">3.2999999999999998</cx:pt>
          <cx:pt idx="7290">3.2000000000000002</cx:pt>
          <cx:pt idx="7291">3</cx:pt>
          <cx:pt idx="7292">3.2000000000000002</cx:pt>
          <cx:pt idx="7293">0</cx:pt>
          <cx:pt idx="7294">0</cx:pt>
          <cx:pt idx="7295">0</cx:pt>
          <cx:pt idx="7296">0</cx:pt>
          <cx:pt idx="7297">3.1000000000000001</cx:pt>
          <cx:pt idx="7298">2.5</cx:pt>
          <cx:pt idx="7299">0</cx:pt>
          <cx:pt idx="7300">0</cx:pt>
          <cx:pt idx="7301">0</cx:pt>
          <cx:pt idx="7302">0</cx:pt>
          <cx:pt idx="7303">0</cx:pt>
          <cx:pt idx="7304">0</cx:pt>
          <cx:pt idx="7305">0</cx:pt>
          <cx:pt idx="7306">3.6000000000000001</cx:pt>
          <cx:pt idx="7307">3.2999999999999998</cx:pt>
          <cx:pt idx="7308">3.2999999999999998</cx:pt>
          <cx:pt idx="7309">0</cx:pt>
          <cx:pt idx="7310">0</cx:pt>
          <cx:pt idx="7311">0</cx:pt>
          <cx:pt idx="7312">3.7000000000000002</cx:pt>
          <cx:pt idx="7313">3.7000000000000002</cx:pt>
          <cx:pt idx="7314">3.8999999999999999</cx:pt>
          <cx:pt idx="7315">4.2000000000000002</cx:pt>
          <cx:pt idx="7316">3.7999999999999998</cx:pt>
          <cx:pt idx="7317">3.6000000000000001</cx:pt>
          <cx:pt idx="7318">3.7999999999999998</cx:pt>
          <cx:pt idx="7319">3.8999999999999999</cx:pt>
          <cx:pt idx="7320">3.8999999999999999</cx:pt>
          <cx:pt idx="7321">4.7000000000000002</cx:pt>
          <cx:pt idx="7322">4.7000000000000002</cx:pt>
          <cx:pt idx="7323">4.5</cx:pt>
          <cx:pt idx="7324">4.5999999999999996</cx:pt>
          <cx:pt idx="7325">3.7000000000000002</cx:pt>
          <cx:pt idx="7326">3.7999999999999998</cx:pt>
          <cx:pt idx="7327">3.7000000000000002</cx:pt>
          <cx:pt idx="7328">4.0999999999999996</cx:pt>
          <cx:pt idx="7329">4.0999999999999996</cx:pt>
          <cx:pt idx="7330">3.3999999999999999</cx:pt>
          <cx:pt idx="7331">3.5</cx:pt>
          <cx:pt idx="7332">3.2999999999999998</cx:pt>
          <cx:pt idx="7333">0</cx:pt>
          <cx:pt idx="7334">4</cx:pt>
          <cx:pt idx="7335">4.0999999999999996</cx:pt>
          <cx:pt idx="7336">4.2000000000000002</cx:pt>
          <cx:pt idx="7337">3.6000000000000001</cx:pt>
          <cx:pt idx="7338">3.8999999999999999</cx:pt>
          <cx:pt idx="7339">3.8999999999999999</cx:pt>
          <cx:pt idx="7340">3.8999999999999999</cx:pt>
          <cx:pt idx="7341">3.8999999999999999</cx:pt>
          <cx:pt idx="7342">4</cx:pt>
          <cx:pt idx="7343">4</cx:pt>
          <cx:pt idx="7344">3.7999999999999998</cx:pt>
          <cx:pt idx="7345">3.7999999999999998</cx:pt>
          <cx:pt idx="7346">3.7000000000000002</cx:pt>
          <cx:pt idx="7347">3.7999999999999998</cx:pt>
          <cx:pt idx="7348">3.7999999999999998</cx:pt>
          <cx:pt idx="7349">3.8999999999999999</cx:pt>
          <cx:pt idx="7350">3.7999999999999998</cx:pt>
          <cx:pt idx="7351">4.2000000000000002</cx:pt>
          <cx:pt idx="7352">4.2999999999999998</cx:pt>
          <cx:pt idx="7353">3.7000000000000002</cx:pt>
          <cx:pt idx="7354">4.2000000000000002</cx:pt>
          <cx:pt idx="7355">3.5</cx:pt>
          <cx:pt idx="7356">3.7999999999999998</cx:pt>
          <cx:pt idx="7357">3.7999999999999998</cx:pt>
          <cx:pt idx="7358">3.7999999999999998</cx:pt>
          <cx:pt idx="7359">4.0999999999999996</cx:pt>
          <cx:pt idx="7360">4.4000000000000004</cx:pt>
          <cx:pt idx="7361">3.6000000000000001</cx:pt>
          <cx:pt idx="7362">1.8999999999999999</cx:pt>
          <cx:pt idx="7363">3.3999999999999999</cx:pt>
          <cx:pt idx="7364">2.5</cx:pt>
          <cx:pt idx="7365">3.7999999999999998</cx:pt>
          <cx:pt idx="7366">3.7000000000000002</cx:pt>
          <cx:pt idx="7367">3.2999999999999998</cx:pt>
          <cx:pt idx="7368">3.6000000000000001</cx:pt>
          <cx:pt idx="7369">3.2999999999999998</cx:pt>
          <cx:pt idx="7370">3.2999999999999998</cx:pt>
          <cx:pt idx="7371">0</cx:pt>
          <cx:pt idx="7372">4.2000000000000002</cx:pt>
          <cx:pt idx="7373">4</cx:pt>
          <cx:pt idx="7374">3.7999999999999998</cx:pt>
          <cx:pt idx="7375">4.2999999999999998</cx:pt>
          <cx:pt idx="7376">3.8999999999999999</cx:pt>
          <cx:pt idx="7377">4.2000000000000002</cx:pt>
          <cx:pt idx="7378">4.0999999999999996</cx:pt>
          <cx:pt idx="7379">4.0999999999999996</cx:pt>
          <cx:pt idx="7380">3.6000000000000001</cx:pt>
          <cx:pt idx="7381">3.8999999999999999</cx:pt>
          <cx:pt idx="7382">3.1000000000000001</cx:pt>
          <cx:pt idx="7383">3.7000000000000002</cx:pt>
          <cx:pt idx="7384">3.7000000000000002</cx:pt>
          <cx:pt idx="7385">3.5</cx:pt>
          <cx:pt idx="7386">3.3999999999999999</cx:pt>
          <cx:pt idx="7387">3.6000000000000001</cx:pt>
          <cx:pt idx="7388">3.8999999999999999</cx:pt>
          <cx:pt idx="7389">3.5</cx:pt>
          <cx:pt idx="7390">3.5</cx:pt>
          <cx:pt idx="7391">3.3999999999999999</cx:pt>
          <cx:pt idx="7392">3.5</cx:pt>
          <cx:pt idx="7393">0</cx:pt>
          <cx:pt idx="7394">4.2000000000000002</cx:pt>
          <cx:pt idx="7395">3.7000000000000002</cx:pt>
          <cx:pt idx="7396">4.4000000000000004</cx:pt>
          <cx:pt idx="7397">4.4000000000000004</cx:pt>
          <cx:pt idx="7398">4.2000000000000002</cx:pt>
          <cx:pt idx="7399">3.8999999999999999</cx:pt>
          <cx:pt idx="7400">4</cx:pt>
          <cx:pt idx="7401">3.8999999999999999</cx:pt>
          <cx:pt idx="7402">4.2000000000000002</cx:pt>
          <cx:pt idx="7403">3.7999999999999998</cx:pt>
          <cx:pt idx="7404">3.8999999999999999</cx:pt>
          <cx:pt idx="7405">3.8999999999999999</cx:pt>
          <cx:pt idx="7406">3.2999999999999998</cx:pt>
          <cx:pt idx="7407">3.6000000000000001</cx:pt>
          <cx:pt idx="7408">3.3999999999999999</cx:pt>
          <cx:pt idx="7409">3.2000000000000002</cx:pt>
          <cx:pt idx="7410">3.5</cx:pt>
          <cx:pt idx="7411">4.0999999999999996</cx:pt>
          <cx:pt idx="7412">3.8999999999999999</cx:pt>
          <cx:pt idx="7413">3.7000000000000002</cx:pt>
          <cx:pt idx="7414">3.7000000000000002</cx:pt>
          <cx:pt idx="7415">4.2000000000000002</cx:pt>
          <cx:pt idx="7416">4.2999999999999998</cx:pt>
          <cx:pt idx="7417">4.2000000000000002</cx:pt>
          <cx:pt idx="7418">4.4000000000000004</cx:pt>
          <cx:pt idx="7419">4.4000000000000004</cx:pt>
          <cx:pt idx="7420">3.8999999999999999</cx:pt>
          <cx:pt idx="7421">4.2999999999999998</cx:pt>
          <cx:pt idx="7422">4.0999999999999996</cx:pt>
          <cx:pt idx="7423">4.2999999999999998</cx:pt>
          <cx:pt idx="7424">4.0999999999999996</cx:pt>
          <cx:pt idx="7425">4.0999999999999996</cx:pt>
          <cx:pt idx="7426">4.0999999999999996</cx:pt>
          <cx:pt idx="7427">4.2000000000000002</cx:pt>
          <cx:pt idx="7428">4</cx:pt>
          <cx:pt idx="7429">4.2000000000000002</cx:pt>
          <cx:pt idx="7430">4</cx:pt>
          <cx:pt idx="7431">3.7000000000000002</cx:pt>
          <cx:pt idx="7432">4</cx:pt>
          <cx:pt idx="7433">4</cx:pt>
          <cx:pt idx="7434">3.7999999999999998</cx:pt>
          <cx:pt idx="7435">4.2000000000000002</cx:pt>
          <cx:pt idx="7436">4.4000000000000004</cx:pt>
          <cx:pt idx="7437">3.7999999999999998</cx:pt>
          <cx:pt idx="7438">3.7999999999999998</cx:pt>
          <cx:pt idx="7439">4</cx:pt>
          <cx:pt idx="7440">4</cx:pt>
          <cx:pt idx="7441">3.7999999999999998</cx:pt>
          <cx:pt idx="7442">3.7999999999999998</cx:pt>
          <cx:pt idx="7443">4.0999999999999996</cx:pt>
          <cx:pt idx="7444">4.0999999999999996</cx:pt>
          <cx:pt idx="7445">4.0999999999999996</cx:pt>
          <cx:pt idx="7446">4.2999999999999998</cx:pt>
          <cx:pt idx="7447">4.0999999999999996</cx:pt>
          <cx:pt idx="7448">3.8999999999999999</cx:pt>
          <cx:pt idx="7449">4.0999999999999996</cx:pt>
          <cx:pt idx="7450">4.2000000000000002</cx:pt>
          <cx:pt idx="7451">4.0999999999999996</cx:pt>
          <cx:pt idx="7452">4</cx:pt>
          <cx:pt idx="7453">3.3999999999999999</cx:pt>
          <cx:pt idx="7454">4</cx:pt>
          <cx:pt idx="7455">4.2000000000000002</cx:pt>
          <cx:pt idx="7456">4.0999999999999996</cx:pt>
          <cx:pt idx="7457">4</cx:pt>
          <cx:pt idx="7458">4</cx:pt>
          <cx:pt idx="7459">4</cx:pt>
          <cx:pt idx="7460">3.6000000000000001</cx:pt>
          <cx:pt idx="7461">4.2999999999999998</cx:pt>
          <cx:pt idx="7462">3.8999999999999999</cx:pt>
          <cx:pt idx="7463">3.7000000000000002</cx:pt>
          <cx:pt idx="7464">4.2000000000000002</cx:pt>
          <cx:pt idx="7465">4.2999999999999998</cx:pt>
          <cx:pt idx="7466">4</cx:pt>
          <cx:pt idx="7467">4.2999999999999998</cx:pt>
          <cx:pt idx="7468">4</cx:pt>
          <cx:pt idx="7469">4</cx:pt>
          <cx:pt idx="7470">4.2000000000000002</cx:pt>
          <cx:pt idx="7471">4.0999999999999996</cx:pt>
          <cx:pt idx="7472">3.8999999999999999</cx:pt>
          <cx:pt idx="7473">3.7999999999999998</cx:pt>
          <cx:pt idx="7474">3.8999999999999999</cx:pt>
          <cx:pt idx="7475">4</cx:pt>
          <cx:pt idx="7476">3.8999999999999999</cx:pt>
          <cx:pt idx="7477">4.2000000000000002</cx:pt>
          <cx:pt idx="7478">3.7999999999999998</cx:pt>
          <cx:pt idx="7479">4.2999999999999998</cx:pt>
          <cx:pt idx="7480">4.0999999999999996</cx:pt>
          <cx:pt idx="7481">4.0999999999999996</cx:pt>
          <cx:pt idx="7482">4.2000000000000002</cx:pt>
          <cx:pt idx="7483">3.6000000000000001</cx:pt>
          <cx:pt idx="7484">3.8999999999999999</cx:pt>
          <cx:pt idx="7485">3.7999999999999998</cx:pt>
          <cx:pt idx="7486">3.8999999999999999</cx:pt>
          <cx:pt idx="7487">4</cx:pt>
          <cx:pt idx="7488">3.3999999999999999</cx:pt>
          <cx:pt idx="7489">3.7000000000000002</cx:pt>
          <cx:pt idx="7490">3.6000000000000001</cx:pt>
          <cx:pt idx="7491">3.7000000000000002</cx:pt>
          <cx:pt idx="7492">4</cx:pt>
          <cx:pt idx="7493">3.7999999999999998</cx:pt>
          <cx:pt idx="7494">3.5</cx:pt>
          <cx:pt idx="7495">3.7999999999999998</cx:pt>
          <cx:pt idx="7496">3.5</cx:pt>
          <cx:pt idx="7497">3.6000000000000001</cx:pt>
          <cx:pt idx="7498">3.2999999999999998</cx:pt>
          <cx:pt idx="7499">3.7000000000000002</cx:pt>
          <cx:pt idx="7500">3.7000000000000002</cx:pt>
          <cx:pt idx="7501">3.7999999999999998</cx:pt>
          <cx:pt idx="7502">3.7999999999999998</cx:pt>
          <cx:pt idx="7503">3.7000000000000002</cx:pt>
          <cx:pt idx="7504">3.6000000000000001</cx:pt>
          <cx:pt idx="7505">3.7000000000000002</cx:pt>
          <cx:pt idx="7506">3.5</cx:pt>
          <cx:pt idx="7507">3.5</cx:pt>
          <cx:pt idx="7508">3.5</cx:pt>
          <cx:pt idx="7509">3.6000000000000001</cx:pt>
          <cx:pt idx="7510">3.5</cx:pt>
          <cx:pt idx="7511">3.1000000000000001</cx:pt>
          <cx:pt idx="7512">3.2999999999999998</cx:pt>
          <cx:pt idx="7513">3</cx:pt>
          <cx:pt idx="7514">3.2000000000000002</cx:pt>
          <cx:pt idx="7515">3.2000000000000002</cx:pt>
          <cx:pt idx="7516">3.6000000000000001</cx:pt>
          <cx:pt idx="7517">3.6000000000000001</cx:pt>
          <cx:pt idx="7518">3.3999999999999999</cx:pt>
          <cx:pt idx="7519">3.2000000000000002</cx:pt>
          <cx:pt idx="7520">3.2999999999999998</cx:pt>
          <cx:pt idx="7521">0</cx:pt>
          <cx:pt idx="7522">0</cx:pt>
          <cx:pt idx="7523">4.0999999999999996</cx:pt>
          <cx:pt idx="7524">4.0999999999999996</cx:pt>
          <cx:pt idx="7525">3.8999999999999999</cx:pt>
          <cx:pt idx="7526">3.7999999999999998</cx:pt>
          <cx:pt idx="7527">3.7000000000000002</cx:pt>
          <cx:pt idx="7528">3.7000000000000002</cx:pt>
          <cx:pt idx="7529">3.7000000000000002</cx:pt>
          <cx:pt idx="7530">4</cx:pt>
          <cx:pt idx="7531">4</cx:pt>
          <cx:pt idx="7532">3.3999999999999999</cx:pt>
          <cx:pt idx="7533">3.3999999999999999</cx:pt>
          <cx:pt idx="7534">3.3999999999999999</cx:pt>
          <cx:pt idx="7535">4</cx:pt>
          <cx:pt idx="7536">4.0999999999999996</cx:pt>
          <cx:pt idx="7537">3.7000000000000002</cx:pt>
          <cx:pt idx="7538">3.5</cx:pt>
          <cx:pt idx="7539">3.6000000000000001</cx:pt>
          <cx:pt idx="7540">0</cx:pt>
          <cx:pt idx="7541">3.1000000000000001</cx:pt>
          <cx:pt idx="7542">0</cx:pt>
          <cx:pt idx="7543">0</cx:pt>
          <cx:pt idx="7544">0</cx:pt>
          <cx:pt idx="7545">0</cx:pt>
          <cx:pt idx="7546">0</cx:pt>
          <cx:pt idx="7547">4.0999999999999996</cx:pt>
          <cx:pt idx="7548">0</cx:pt>
          <cx:pt idx="7549">4</cx:pt>
          <cx:pt idx="7550">4</cx:pt>
          <cx:pt idx="7551">4.2999999999999998</cx:pt>
          <cx:pt idx="7552">4.0999999999999996</cx:pt>
          <cx:pt idx="7553">4</cx:pt>
          <cx:pt idx="7554">4</cx:pt>
          <cx:pt idx="7555">2.5</cx:pt>
          <cx:pt idx="7556">3.5</cx:pt>
          <cx:pt idx="7557">3.8999999999999999</cx:pt>
          <cx:pt idx="7558">3.7999999999999998</cx:pt>
          <cx:pt idx="7559">3.7999999999999998</cx:pt>
          <cx:pt idx="7560">3.7999999999999998</cx:pt>
          <cx:pt idx="7561">3.6000000000000001</cx:pt>
          <cx:pt idx="7562">3.7000000000000002</cx:pt>
          <cx:pt idx="7563">3.6000000000000001</cx:pt>
          <cx:pt idx="7564">3.7000000000000002</cx:pt>
          <cx:pt idx="7565">3.5</cx:pt>
          <cx:pt idx="7566">3.8999999999999999</cx:pt>
          <cx:pt idx="7567">3.7999999999999998</cx:pt>
          <cx:pt idx="7568">3.8999999999999999</cx:pt>
          <cx:pt idx="7569">3.5</cx:pt>
          <cx:pt idx="7570">3.2000000000000002</cx:pt>
          <cx:pt idx="7571">3.7999999999999998</cx:pt>
          <cx:pt idx="7572">3.2999999999999998</cx:pt>
          <cx:pt idx="7573">3.3999999999999999</cx:pt>
          <cx:pt idx="7574">3.7000000000000002</cx:pt>
          <cx:pt idx="7575">3.1000000000000001</cx:pt>
          <cx:pt idx="7576">3.6000000000000001</cx:pt>
          <cx:pt idx="7577">2.7999999999999998</cx:pt>
          <cx:pt idx="7578">3.3999999999999999</cx:pt>
          <cx:pt idx="7579">3.6000000000000001</cx:pt>
          <cx:pt idx="7580">3.7999999999999998</cx:pt>
          <cx:pt idx="7581">3.3999999999999999</cx:pt>
          <cx:pt idx="7582">3.3999999999999999</cx:pt>
          <cx:pt idx="7583">3.3999999999999999</cx:pt>
          <cx:pt idx="7584">3.7999999999999998</cx:pt>
          <cx:pt idx="7585">3.2999999999999998</cx:pt>
          <cx:pt idx="7586">3.5</cx:pt>
          <cx:pt idx="7587">3.5</cx:pt>
          <cx:pt idx="7588">3.5</cx:pt>
          <cx:pt idx="7589">3.3999999999999999</cx:pt>
          <cx:pt idx="7590">3.6000000000000001</cx:pt>
          <cx:pt idx="7591">3.7000000000000002</cx:pt>
          <cx:pt idx="7592">3.3999999999999999</cx:pt>
          <cx:pt idx="7593">3.2000000000000002</cx:pt>
          <cx:pt idx="7594">3.3999999999999999</cx:pt>
          <cx:pt idx="7595">3</cx:pt>
          <cx:pt idx="7596">3.5</cx:pt>
          <cx:pt idx="7597">3.7000000000000002</cx:pt>
          <cx:pt idx="7598">3.5</cx:pt>
          <cx:pt idx="7599">3.2999999999999998</cx:pt>
          <cx:pt idx="7600">3.2999999999999998</cx:pt>
          <cx:pt idx="7601">3.5</cx:pt>
          <cx:pt idx="7602">3.6000000000000001</cx:pt>
          <cx:pt idx="7603">3.8999999999999999</cx:pt>
          <cx:pt idx="7604">3.3999999999999999</cx:pt>
          <cx:pt idx="7605">3.7000000000000002</cx:pt>
          <cx:pt idx="7606">3.7000000000000002</cx:pt>
          <cx:pt idx="7607">3.2999999999999998</cx:pt>
          <cx:pt idx="7608">3.5</cx:pt>
          <cx:pt idx="7609">3.2999999999999998</cx:pt>
          <cx:pt idx="7610">3.2999999999999998</cx:pt>
          <cx:pt idx="7611">3.6000000000000001</cx:pt>
          <cx:pt idx="7612">3.6000000000000001</cx:pt>
          <cx:pt idx="7613">3.3999999999999999</cx:pt>
          <cx:pt idx="7614">3.5</cx:pt>
          <cx:pt idx="7615">3.1000000000000001</cx:pt>
          <cx:pt idx="7616">3.3999999999999999</cx:pt>
          <cx:pt idx="7617">3.3999999999999999</cx:pt>
          <cx:pt idx="7618">2.7999999999999998</cx:pt>
          <cx:pt idx="7619">2.7999999999999998</cx:pt>
          <cx:pt idx="7620">3.2000000000000002</cx:pt>
          <cx:pt idx="7621">3.2999999999999998</cx:pt>
          <cx:pt idx="7622">3</cx:pt>
          <cx:pt idx="7623">2.2000000000000002</cx:pt>
          <cx:pt idx="7624">2.2000000000000002</cx:pt>
          <cx:pt idx="7625">2.2999999999999998</cx:pt>
          <cx:pt idx="7626">2.2999999999999998</cx:pt>
          <cx:pt idx="7627">2.2999999999999998</cx:pt>
          <cx:pt idx="7628">2.2999999999999998</cx:pt>
          <cx:pt idx="7629">2.3999999999999999</cx:pt>
          <cx:pt idx="7630">2.3999999999999999</cx:pt>
          <cx:pt idx="7631">2.3999999999999999</cx:pt>
          <cx:pt idx="7632">2.3999999999999999</cx:pt>
          <cx:pt idx="7633">2.3999999999999999</cx:pt>
          <cx:pt idx="7634">2.3999999999999999</cx:pt>
          <cx:pt idx="7635">2.3999999999999999</cx:pt>
          <cx:pt idx="7636">2.3999999999999999</cx:pt>
          <cx:pt idx="7637">2.3999999999999999</cx:pt>
          <cx:pt idx="7638">2.3999999999999999</cx:pt>
          <cx:pt idx="7639">2.5</cx:pt>
          <cx:pt idx="7640">2.5</cx:pt>
          <cx:pt idx="7641">2.5</cx:pt>
          <cx:pt idx="7642">2.5</cx:pt>
          <cx:pt idx="7643">2.5</cx:pt>
          <cx:pt idx="7644">2.5</cx:pt>
          <cx:pt idx="7645">2.5</cx:pt>
          <cx:pt idx="7646">2.5</cx:pt>
          <cx:pt idx="7647">2.5</cx:pt>
          <cx:pt idx="7648">2.5</cx:pt>
          <cx:pt idx="7649">2.5</cx:pt>
          <cx:pt idx="7650">2.5</cx:pt>
          <cx:pt idx="7651">2.6000000000000001</cx:pt>
          <cx:pt idx="7652">2.6000000000000001</cx:pt>
          <cx:pt idx="7653">2.6000000000000001</cx:pt>
          <cx:pt idx="7654">2.6000000000000001</cx:pt>
          <cx:pt idx="7655">2.6000000000000001</cx:pt>
          <cx:pt idx="7656">2.6000000000000001</cx:pt>
          <cx:pt idx="7657">2.6000000000000001</cx:pt>
          <cx:pt idx="7658">2.6000000000000001</cx:pt>
          <cx:pt idx="7659">3.7000000000000002</cx:pt>
          <cx:pt idx="7660">3.2000000000000002</cx:pt>
          <cx:pt idx="7661">2.7000000000000002</cx:pt>
          <cx:pt idx="7662">3.3999999999999999</cx:pt>
          <cx:pt idx="7663">3.7999999999999998</cx:pt>
          <cx:pt idx="7664">3.7000000000000002</cx:pt>
          <cx:pt idx="7665">3.8999999999999999</cx:pt>
          <cx:pt idx="7666">2.8999999999999999</cx:pt>
          <cx:pt idx="7667">3.5</cx:pt>
          <cx:pt idx="7668">4.0999999999999996</cx:pt>
          <cx:pt idx="7669">3.8999999999999999</cx:pt>
          <cx:pt idx="7670">3.8999999999999999</cx:pt>
          <cx:pt idx="7671">4.2999999999999998</cx:pt>
          <cx:pt idx="7672">4.7000000000000002</cx:pt>
          <cx:pt idx="7673">4.7999999999999998</cx:pt>
          <cx:pt idx="7674">3.8999999999999999</cx:pt>
          <cx:pt idx="7675">4.7000000000000002</cx:pt>
          <cx:pt idx="7676">4.0999999999999996</cx:pt>
          <cx:pt idx="7677">4.0999999999999996</cx:pt>
          <cx:pt idx="7678">4.2000000000000002</cx:pt>
          <cx:pt idx="7679">4.0999999999999996</cx:pt>
          <cx:pt idx="7680">4.2000000000000002</cx:pt>
          <cx:pt idx="7681">4.7999999999999998</cx:pt>
          <cx:pt idx="7682">4.2999999999999998</cx:pt>
          <cx:pt idx="7683">3.8999999999999999</cx:pt>
          <cx:pt idx="7684">4.4000000000000004</cx:pt>
          <cx:pt idx="7685">3.7000000000000002</cx:pt>
          <cx:pt idx="7686">3.7999999999999998</cx:pt>
          <cx:pt idx="7687">4.0999999999999996</cx:pt>
          <cx:pt idx="7688">4.0999999999999996</cx:pt>
          <cx:pt idx="7689">4</cx:pt>
          <cx:pt idx="7690">3.7999999999999998</cx:pt>
          <cx:pt idx="7691">3.7999999999999998</cx:pt>
          <cx:pt idx="7692">4.2000000000000002</cx:pt>
          <cx:pt idx="7693">4.2999999999999998</cx:pt>
          <cx:pt idx="7694">4.2000000000000002</cx:pt>
          <cx:pt idx="7695">4.2999999999999998</cx:pt>
          <cx:pt idx="7696">3.8999999999999999</cx:pt>
          <cx:pt idx="7697">4</cx:pt>
          <cx:pt idx="7698">4.0999999999999996</cx:pt>
          <cx:pt idx="7699">4.2000000000000002</cx:pt>
          <cx:pt idx="7700">4.2000000000000002</cx:pt>
          <cx:pt idx="7701">4</cx:pt>
          <cx:pt idx="7702">4.4000000000000004</cx:pt>
          <cx:pt idx="7703">4</cx:pt>
          <cx:pt idx="7704">4.2999999999999998</cx:pt>
          <cx:pt idx="7705">3.7000000000000002</cx:pt>
          <cx:pt idx="7706">3.7999999999999998</cx:pt>
          <cx:pt idx="7707">4.2999999999999998</cx:pt>
          <cx:pt idx="7708">4.5999999999999996</cx:pt>
          <cx:pt idx="7709">3.7000000000000002</cx:pt>
          <cx:pt idx="7710">3.7999999999999998</cx:pt>
          <cx:pt idx="7711">4.2999999999999998</cx:pt>
          <cx:pt idx="7712">4.2000000000000002</cx:pt>
          <cx:pt idx="7713">3.8999999999999999</cx:pt>
          <cx:pt idx="7714">4.5</cx:pt>
          <cx:pt idx="7715">4.0999999999999996</cx:pt>
          <cx:pt idx="7716">4.2000000000000002</cx:pt>
          <cx:pt idx="7717">4</cx:pt>
          <cx:pt idx="7718">4.2999999999999998</cx:pt>
          <cx:pt idx="7719">4.2000000000000002</cx:pt>
          <cx:pt idx="7720">4.0999999999999996</cx:pt>
          <cx:pt idx="7721">3.8999999999999999</cx:pt>
          <cx:pt idx="7722">4.5</cx:pt>
          <cx:pt idx="7723">4.2000000000000002</cx:pt>
          <cx:pt idx="7724">4.2999999999999998</cx:pt>
          <cx:pt idx="7725">4</cx:pt>
          <cx:pt idx="7726">4.0999999999999996</cx:pt>
          <cx:pt idx="7727">4</cx:pt>
          <cx:pt idx="7728">3.8999999999999999</cx:pt>
          <cx:pt idx="7729">4.2000000000000002</cx:pt>
          <cx:pt idx="7730">3.6000000000000001</cx:pt>
          <cx:pt idx="7731">0</cx:pt>
          <cx:pt idx="7732">4.0999999999999996</cx:pt>
          <cx:pt idx="7733">3.7999999999999998</cx:pt>
          <cx:pt idx="7734">4.0999999999999996</cx:pt>
          <cx:pt idx="7735">3.7999999999999998</cx:pt>
          <cx:pt idx="7736">3.8999999999999999</cx:pt>
          <cx:pt idx="7737">3.7999999999999998</cx:pt>
          <cx:pt idx="7738">3.3999999999999999</cx:pt>
          <cx:pt idx="7739">4.4000000000000004</cx:pt>
          <cx:pt idx="7740">3.7999999999999998</cx:pt>
          <cx:pt idx="7741">3.7000000000000002</cx:pt>
          <cx:pt idx="7742">2.5</cx:pt>
          <cx:pt idx="7743">3.7000000000000002</cx:pt>
          <cx:pt idx="7744">3.5</cx:pt>
          <cx:pt idx="7745">3</cx:pt>
          <cx:pt idx="7746">3</cx:pt>
          <cx:pt idx="7747">3</cx:pt>
          <cx:pt idx="7748">4</cx:pt>
          <cx:pt idx="7749">4</cx:pt>
          <cx:pt idx="7750">3.8999999999999999</cx:pt>
          <cx:pt idx="7751">3.5</cx:pt>
          <cx:pt idx="7752">3.5</cx:pt>
          <cx:pt idx="7753">3.3999999999999999</cx:pt>
          <cx:pt idx="7754">3.2000000000000002</cx:pt>
          <cx:pt idx="7755">3.2999999999999998</cx:pt>
          <cx:pt idx="7756">3.2000000000000002</cx:pt>
          <cx:pt idx="7757">2.8999999999999999</cx:pt>
          <cx:pt idx="7758">0</cx:pt>
          <cx:pt idx="7759">3.7000000000000002</cx:pt>
          <cx:pt idx="7760">2.8999999999999999</cx:pt>
          <cx:pt idx="7761">3.1000000000000001</cx:pt>
          <cx:pt idx="7762">3.7999999999999998</cx:pt>
          <cx:pt idx="7763">2.7000000000000002</cx:pt>
          <cx:pt idx="7764">3.5</cx:pt>
          <cx:pt idx="7765">3.7000000000000002</cx:pt>
          <cx:pt idx="7766">3.3999999999999999</cx:pt>
          <cx:pt idx="7767">2.6000000000000001</cx:pt>
          <cx:pt idx="7768">3.2999999999999998</cx:pt>
          <cx:pt idx="7769">3.2999999999999998</cx:pt>
          <cx:pt idx="7770">3.2999999999999998</cx:pt>
          <cx:pt idx="7771">3.2000000000000002</cx:pt>
          <cx:pt idx="7772">3.1000000000000001</cx:pt>
          <cx:pt idx="7773">3.1000000000000001</cx:pt>
          <cx:pt idx="7774">0</cx:pt>
          <cx:pt idx="7775">0</cx:pt>
          <cx:pt idx="7776">0</cx:pt>
          <cx:pt idx="7777">0</cx:pt>
          <cx:pt idx="7778">4.0999999999999996</cx:pt>
          <cx:pt idx="7779">3.2999999999999998</cx:pt>
          <cx:pt idx="7780">3.1000000000000001</cx:pt>
          <cx:pt idx="7781">0</cx:pt>
          <cx:pt idx="7782">0</cx:pt>
          <cx:pt idx="7783">0</cx:pt>
          <cx:pt idx="7784">0</cx:pt>
          <cx:pt idx="7785">0</cx:pt>
          <cx:pt idx="7786">0</cx:pt>
          <cx:pt idx="7787">0</cx:pt>
          <cx:pt idx="7788">0</cx:pt>
          <cx:pt idx="7789">0</cx:pt>
          <cx:pt idx="7790">0</cx:pt>
          <cx:pt idx="7791">0</cx:pt>
          <cx:pt idx="7792">0</cx:pt>
          <cx:pt idx="7793">0</cx:pt>
          <cx:pt idx="7794">0</cx:pt>
          <cx:pt idx="7795">0</cx:pt>
          <cx:pt idx="7796">0</cx:pt>
          <cx:pt idx="7797">0</cx:pt>
          <cx:pt idx="7798">0</cx:pt>
          <cx:pt idx="7799">0</cx:pt>
          <cx:pt idx="7800">0</cx:pt>
          <cx:pt idx="7801">0</cx:pt>
          <cx:pt idx="7802">4.0999999999999996</cx:pt>
          <cx:pt idx="7803">4.5</cx:pt>
          <cx:pt idx="7804">3.7000000000000002</cx:pt>
          <cx:pt idx="7805">4</cx:pt>
          <cx:pt idx="7806">3.6000000000000001</cx:pt>
          <cx:pt idx="7807">3.6000000000000001</cx:pt>
          <cx:pt idx="7808">3.7000000000000002</cx:pt>
          <cx:pt idx="7809">3.7000000000000002</cx:pt>
          <cx:pt idx="7810">3.7999999999999998</cx:pt>
          <cx:pt idx="7811">3.7999999999999998</cx:pt>
          <cx:pt idx="7812">3.6000000000000001</cx:pt>
          <cx:pt idx="7813">3.7000000000000002</cx:pt>
          <cx:pt idx="7814">3.7999999999999998</cx:pt>
          <cx:pt idx="7815">3.8999999999999999</cx:pt>
          <cx:pt idx="7816">3.2999999999999998</cx:pt>
          <cx:pt idx="7817">2.8999999999999999</cx:pt>
          <cx:pt idx="7818">3.6000000000000001</cx:pt>
          <cx:pt idx="7819">3.6000000000000001</cx:pt>
          <cx:pt idx="7820">3.1000000000000001</cx:pt>
          <cx:pt idx="7821">3.5</cx:pt>
          <cx:pt idx="7822">3.2999999999999998</cx:pt>
          <cx:pt idx="7823">3.3999999999999999</cx:pt>
          <cx:pt idx="7824">3</cx:pt>
          <cx:pt idx="7825">2.7999999999999998</cx:pt>
          <cx:pt idx="7826">0</cx:pt>
          <cx:pt idx="7827">3.3999999999999999</cx:pt>
          <cx:pt idx="7828">0</cx:pt>
          <cx:pt idx="7829">2.8999999999999999</cx:pt>
          <cx:pt idx="7830">0</cx:pt>
          <cx:pt idx="7831">3.2999999999999998</cx:pt>
          <cx:pt idx="7832">3.3999999999999999</cx:pt>
          <cx:pt idx="7833">3.3999999999999999</cx:pt>
          <cx:pt idx="7834">3.1000000000000001</cx:pt>
          <cx:pt idx="7835">3.3999999999999999</cx:pt>
          <cx:pt idx="7836">3.2000000000000002</cx:pt>
          <cx:pt idx="7837">0</cx:pt>
          <cx:pt idx="7838">3.2999999999999998</cx:pt>
          <cx:pt idx="7839">0</cx:pt>
          <cx:pt idx="7840">0</cx:pt>
          <cx:pt idx="7841">3.1000000000000001</cx:pt>
          <cx:pt idx="7842">3.2999999999999998</cx:pt>
          <cx:pt idx="7843">0</cx:pt>
          <cx:pt idx="7844">2.7999999999999998</cx:pt>
          <cx:pt idx="7845">3.1000000000000001</cx:pt>
          <cx:pt idx="7846">0</cx:pt>
          <cx:pt idx="7847">0</cx:pt>
          <cx:pt idx="7848">0</cx:pt>
          <cx:pt idx="7849">0</cx:pt>
          <cx:pt idx="7850">3.2000000000000002</cx:pt>
          <cx:pt idx="7851">3.1000000000000001</cx:pt>
          <cx:pt idx="7852">3.2000000000000002</cx:pt>
          <cx:pt idx="7853">0</cx:pt>
          <cx:pt idx="7854">0</cx:pt>
          <cx:pt idx="7855">3.2000000000000002</cx:pt>
          <cx:pt idx="7856">3.1000000000000001</cx:pt>
          <cx:pt idx="7857">0</cx:pt>
          <cx:pt idx="7858">3</cx:pt>
          <cx:pt idx="7859">0</cx:pt>
          <cx:pt idx="7860">0</cx:pt>
          <cx:pt idx="7861">3</cx:pt>
          <cx:pt idx="7862">3.2000000000000002</cx:pt>
          <cx:pt idx="7863">0</cx:pt>
          <cx:pt idx="7864">0</cx:pt>
          <cx:pt idx="7865">3.1000000000000001</cx:pt>
          <cx:pt idx="7866">0</cx:pt>
          <cx:pt idx="7867">3.1000000000000001</cx:pt>
          <cx:pt idx="7868">2.8999999999999999</cx:pt>
          <cx:pt idx="7869">0</cx:pt>
          <cx:pt idx="7870">0</cx:pt>
          <cx:pt idx="7871">0</cx:pt>
          <cx:pt idx="7872">3.1000000000000001</cx:pt>
          <cx:pt idx="7873">0</cx:pt>
          <cx:pt idx="7874">0</cx:pt>
          <cx:pt idx="7875">0</cx:pt>
          <cx:pt idx="7876">0</cx:pt>
          <cx:pt idx="7877">0</cx:pt>
          <cx:pt idx="7878">0</cx:pt>
          <cx:pt idx="7879">4.4000000000000004</cx:pt>
          <cx:pt idx="7880">4.4000000000000004</cx:pt>
          <cx:pt idx="7881">4.4000000000000004</cx:pt>
          <cx:pt idx="7882">4.4000000000000004</cx:pt>
          <cx:pt idx="7883">4.4000000000000004</cx:pt>
          <cx:pt idx="7884">4.2999999999999998</cx:pt>
          <cx:pt idx="7885">4.2999999999999998</cx:pt>
          <cx:pt idx="7886">4.2000000000000002</cx:pt>
          <cx:pt idx="7887">4.2000000000000002</cx:pt>
          <cx:pt idx="7888">4.2000000000000002</cx:pt>
          <cx:pt idx="7889">4.2000000000000002</cx:pt>
          <cx:pt idx="7890">4.2000000000000002</cx:pt>
          <cx:pt idx="7891">4.2000000000000002</cx:pt>
          <cx:pt idx="7892">4.2000000000000002</cx:pt>
          <cx:pt idx="7893">4.2000000000000002</cx:pt>
          <cx:pt idx="7894">4.2000000000000002</cx:pt>
          <cx:pt idx="7895">4.0999999999999996</cx:pt>
          <cx:pt idx="7896">4.0999999999999996</cx:pt>
          <cx:pt idx="7897">4.0999999999999996</cx:pt>
          <cx:pt idx="7898">4.0999999999999996</cx:pt>
          <cx:pt idx="7899">4.0999999999999996</cx:pt>
          <cx:pt idx="7900">4.0999999999999996</cx:pt>
          <cx:pt idx="7901">4.0999999999999996</cx:pt>
          <cx:pt idx="7902">2.2999999999999998</cx:pt>
          <cx:pt idx="7903">2.3999999999999999</cx:pt>
          <cx:pt idx="7904">2.3999999999999999</cx:pt>
          <cx:pt idx="7905">2.5</cx:pt>
          <cx:pt idx="7906">2.5</cx:pt>
          <cx:pt idx="7907">2.5</cx:pt>
          <cx:pt idx="7908">2.5</cx:pt>
          <cx:pt idx="7909">2.5</cx:pt>
          <cx:pt idx="7910">2.6000000000000001</cx:pt>
          <cx:pt idx="7911">2.6000000000000001</cx:pt>
          <cx:pt idx="7912">2.6000000000000001</cx:pt>
          <cx:pt idx="7913">2.6000000000000001</cx:pt>
          <cx:pt idx="7914">2.6000000000000001</cx:pt>
          <cx:pt idx="7915">2.6000000000000001</cx:pt>
          <cx:pt idx="7916">2.6000000000000001</cx:pt>
          <cx:pt idx="7917">2.6000000000000001</cx:pt>
          <cx:pt idx="7918">2.7000000000000002</cx:pt>
          <cx:pt idx="7919">2.7000000000000002</cx:pt>
          <cx:pt idx="7920">2.7000000000000002</cx:pt>
          <cx:pt idx="7921">2.7000000000000002</cx:pt>
          <cx:pt idx="7922">2.7000000000000002</cx:pt>
          <cx:pt idx="7923">2.7000000000000002</cx:pt>
          <cx:pt idx="7924">2.7000000000000002</cx:pt>
          <cx:pt idx="7925">2.7000000000000002</cx:pt>
          <cx:pt idx="7926">2.7000000000000002</cx:pt>
          <cx:pt idx="7927">2.7000000000000002</cx:pt>
          <cx:pt idx="7928">2.7000000000000002</cx:pt>
          <cx:pt idx="7929">2.7000000000000002</cx:pt>
          <cx:pt idx="7930">2.7000000000000002</cx:pt>
          <cx:pt idx="7931">2.7000000000000002</cx:pt>
          <cx:pt idx="7932">2.7000000000000002</cx:pt>
          <cx:pt idx="7933">2.7000000000000002</cx:pt>
          <cx:pt idx="7934">2.7999999999999998</cx:pt>
          <cx:pt idx="7935">2.7999999999999998</cx:pt>
          <cx:pt idx="7936">2.7999999999999998</cx:pt>
          <cx:pt idx="7937">2.7999999999999998</cx:pt>
          <cx:pt idx="7938">2.7999999999999998</cx:pt>
          <cx:pt idx="7939">2.7999999999999998</cx:pt>
          <cx:pt idx="7940">2.7999999999999998</cx:pt>
          <cx:pt idx="7941">2.7999999999999998</cx:pt>
          <cx:pt idx="7942">2.7999999999999998</cx:pt>
          <cx:pt idx="7943">2.7999999999999998</cx:pt>
          <cx:pt idx="7944">2.7999999999999998</cx:pt>
          <cx:pt idx="7945">2.7999999999999998</cx:pt>
          <cx:pt idx="7946">2.7999999999999998</cx:pt>
          <cx:pt idx="7947">2.7999999999999998</cx:pt>
          <cx:pt idx="7948">2.7999999999999998</cx:pt>
          <cx:pt idx="7949">2.7999999999999998</cx:pt>
          <cx:pt idx="7950">2.7999999999999998</cx:pt>
          <cx:pt idx="7951">2.7999999999999998</cx:pt>
          <cx:pt idx="7952">2.7999999999999998</cx:pt>
          <cx:pt idx="7953">2.7999999999999998</cx:pt>
          <cx:pt idx="7954">2.7999999999999998</cx:pt>
          <cx:pt idx="7955">2.7999999999999998</cx:pt>
          <cx:pt idx="7956">2.7999999999999998</cx:pt>
          <cx:pt idx="7957">2.7999999999999998</cx:pt>
          <cx:pt idx="7958">2.7999999999999998</cx:pt>
          <cx:pt idx="7959">2.8999999999999999</cx:pt>
          <cx:pt idx="7960">2.8999999999999999</cx:pt>
          <cx:pt idx="7961">2.8999999999999999</cx:pt>
          <cx:pt idx="7962">2.8999999999999999</cx:pt>
          <cx:pt idx="7963">2.8999999999999999</cx:pt>
          <cx:pt idx="7964">2.8999999999999999</cx:pt>
          <cx:pt idx="7965">2.8999999999999999</cx:pt>
          <cx:pt idx="7966">2.8999999999999999</cx:pt>
          <cx:pt idx="7967">2.8999999999999999</cx:pt>
          <cx:pt idx="7968">3.8999999999999999</cx:pt>
          <cx:pt idx="7969">4</cx:pt>
          <cx:pt idx="7970">3.7999999999999998</cx:pt>
          <cx:pt idx="7971">4</cx:pt>
          <cx:pt idx="7972">3.8999999999999999</cx:pt>
          <cx:pt idx="7973">3.8999999999999999</cx:pt>
          <cx:pt idx="7974">3.7999999999999998</cx:pt>
          <cx:pt idx="7975">4</cx:pt>
          <cx:pt idx="7976">3.7000000000000002</cx:pt>
          <cx:pt idx="7977">3.3999999999999999</cx:pt>
          <cx:pt idx="7978">4</cx:pt>
          <cx:pt idx="7979">4</cx:pt>
          <cx:pt idx="7980">3.7000000000000002</cx:pt>
          <cx:pt idx="7981">3.6000000000000001</cx:pt>
          <cx:pt idx="7982">3.7999999999999998</cx:pt>
          <cx:pt idx="7983">3.7000000000000002</cx:pt>
          <cx:pt idx="7984">3.7999999999999998</cx:pt>
          <cx:pt idx="7985">3.7999999999999998</cx:pt>
          <cx:pt idx="7986">3.3999999999999999</cx:pt>
          <cx:pt idx="7987">4</cx:pt>
          <cx:pt idx="7988">3.8999999999999999</cx:pt>
          <cx:pt idx="7989">3.8999999999999999</cx:pt>
          <cx:pt idx="7990">4</cx:pt>
          <cx:pt idx="7991">3.6000000000000001</cx:pt>
          <cx:pt idx="7992">3.8999999999999999</cx:pt>
          <cx:pt idx="7993">3.7999999999999998</cx:pt>
          <cx:pt idx="7994">4.0999999999999996</cx:pt>
          <cx:pt idx="7995">3.7999999999999998</cx:pt>
          <cx:pt idx="7996">4.0999999999999996</cx:pt>
          <cx:pt idx="7997">3.7000000000000002</cx:pt>
          <cx:pt idx="7998">3.8999999999999999</cx:pt>
          <cx:pt idx="7999">3.8999999999999999</cx:pt>
          <cx:pt idx="8000">3.6000000000000001</cx:pt>
          <cx:pt idx="8001">3.5</cx:pt>
          <cx:pt idx="8002">3.7999999999999998</cx:pt>
          <cx:pt idx="8003">3.8999999999999999</cx:pt>
          <cx:pt idx="8004">4</cx:pt>
          <cx:pt idx="8005">4.0999999999999996</cx:pt>
          <cx:pt idx="8006">3.7999999999999998</cx:pt>
          <cx:pt idx="8007">3.8999999999999999</cx:pt>
          <cx:pt idx="8008">3.7999999999999998</cx:pt>
          <cx:pt idx="8009">3.7000000000000002</cx:pt>
          <cx:pt idx="8010">3.7999999999999998</cx:pt>
          <cx:pt idx="8011">3.8999999999999999</cx:pt>
          <cx:pt idx="8012">3.8999999999999999</cx:pt>
          <cx:pt idx="8013">3.7000000000000002</cx:pt>
          <cx:pt idx="8014">3.7000000000000002</cx:pt>
          <cx:pt idx="8015">3.7999999999999998</cx:pt>
          <cx:pt idx="8016">3.5</cx:pt>
          <cx:pt idx="8017">3.8999999999999999</cx:pt>
          <cx:pt idx="8018">4</cx:pt>
          <cx:pt idx="8019">3.8999999999999999</cx:pt>
          <cx:pt idx="8020">3.7999999999999998</cx:pt>
          <cx:pt idx="8021">4</cx:pt>
          <cx:pt idx="8022">4.0999999999999996</cx:pt>
          <cx:pt idx="8023">3.8999999999999999</cx:pt>
          <cx:pt idx="8024">3.7000000000000002</cx:pt>
          <cx:pt idx="8025">4</cx:pt>
          <cx:pt idx="8026">4</cx:pt>
          <cx:pt idx="8027">3.8999999999999999</cx:pt>
          <cx:pt idx="8028">4</cx:pt>
          <cx:pt idx="8029">4.0999999999999996</cx:pt>
          <cx:pt idx="8030">3.7999999999999998</cx:pt>
          <cx:pt idx="8031">3.7000000000000002</cx:pt>
          <cx:pt idx="8032">3.7999999999999998</cx:pt>
          <cx:pt idx="8033">3.2999999999999998</cx:pt>
          <cx:pt idx="8034">3.3999999999999999</cx:pt>
          <cx:pt idx="8035">0</cx:pt>
          <cx:pt idx="8036">0</cx:pt>
          <cx:pt idx="8037">0</cx:pt>
          <cx:pt idx="8038">0</cx:pt>
          <cx:pt idx="8039">0</cx:pt>
          <cx:pt idx="8040">0</cx:pt>
          <cx:pt idx="8041">3.8999999999999999</cx:pt>
          <cx:pt idx="8042">3.7999999999999998</cx:pt>
          <cx:pt idx="8043">4</cx:pt>
          <cx:pt idx="8044">3.6000000000000001</cx:pt>
          <cx:pt idx="8045">3</cx:pt>
          <cx:pt idx="8046">3.5</cx:pt>
          <cx:pt idx="8047">3.3999999999999999</cx:pt>
          <cx:pt idx="8048">3.6000000000000001</cx:pt>
          <cx:pt idx="8049">3.7000000000000002</cx:pt>
          <cx:pt idx="8050">3.5</cx:pt>
          <cx:pt idx="8051">3</cx:pt>
          <cx:pt idx="8052">3.3999999999999999</cx:pt>
          <cx:pt idx="8053">2.8999999999999999</cx:pt>
          <cx:pt idx="8054">3.3999999999999999</cx:pt>
          <cx:pt idx="8055">3.1000000000000001</cx:pt>
          <cx:pt idx="8056">2.8999999999999999</cx:pt>
          <cx:pt idx="8057">3.1000000000000001</cx:pt>
          <cx:pt idx="8058">0</cx:pt>
          <cx:pt idx="8059">0</cx:pt>
          <cx:pt idx="8060">0</cx:pt>
          <cx:pt idx="8061">4</cx:pt>
          <cx:pt idx="8062">4</cx:pt>
          <cx:pt idx="8063">3.8999999999999999</cx:pt>
          <cx:pt idx="8064">4</cx:pt>
          <cx:pt idx="8065">3.2000000000000002</cx:pt>
          <cx:pt idx="8066">3.7999999999999998</cx:pt>
          <cx:pt idx="8067">3.5</cx:pt>
          <cx:pt idx="8068">3.7999999999999998</cx:pt>
          <cx:pt idx="8069">3.2000000000000002</cx:pt>
          <cx:pt idx="8070">3.5</cx:pt>
          <cx:pt idx="8071">3.3999999999999999</cx:pt>
          <cx:pt idx="8072">3.2999999999999998</cx:pt>
          <cx:pt idx="8073">3.6000000000000001</cx:pt>
          <cx:pt idx="8074">3.2000000000000002</cx:pt>
          <cx:pt idx="8075">0</cx:pt>
          <cx:pt idx="8076">3.3999999999999999</cx:pt>
          <cx:pt idx="8077">0</cx:pt>
          <cx:pt idx="8078">0</cx:pt>
          <cx:pt idx="8079">3.1000000000000001</cx:pt>
          <cx:pt idx="8080">3</cx:pt>
          <cx:pt idx="8081">2.8999999999999999</cx:pt>
          <cx:pt idx="8082">0</cx:pt>
          <cx:pt idx="8083">0</cx:pt>
          <cx:pt idx="8084">0</cx:pt>
          <cx:pt idx="8085">0</cx:pt>
          <cx:pt idx="8086">0</cx:pt>
          <cx:pt idx="8087">0</cx:pt>
          <cx:pt idx="8088">0</cx:pt>
          <cx:pt idx="8089">0</cx:pt>
          <cx:pt idx="8090">3.8999999999999999</cx:pt>
          <cx:pt idx="8091">3.8999999999999999</cx:pt>
          <cx:pt idx="8092">3.8999999999999999</cx:pt>
          <cx:pt idx="8093">3.7999999999999998</cx:pt>
          <cx:pt idx="8094">3.6000000000000001</cx:pt>
          <cx:pt idx="8095">4</cx:pt>
          <cx:pt idx="8096">3.6000000000000001</cx:pt>
          <cx:pt idx="8097">4.0999999999999996</cx:pt>
          <cx:pt idx="8098">3.7999999999999998</cx:pt>
          <cx:pt idx="8099">3.7999999999999998</cx:pt>
          <cx:pt idx="8100">3.7999999999999998</cx:pt>
          <cx:pt idx="8101">3.6000000000000001</cx:pt>
          <cx:pt idx="8102">3.6000000000000001</cx:pt>
          <cx:pt idx="8103">3.2999999999999998</cx:pt>
          <cx:pt idx="8104">3.7999999999999998</cx:pt>
          <cx:pt idx="8105">3.8999999999999999</cx:pt>
          <cx:pt idx="8106">3.6000000000000001</cx:pt>
          <cx:pt idx="8107">3.6000000000000001</cx:pt>
          <cx:pt idx="8108">3</cx:pt>
          <cx:pt idx="8109">3.2999999999999998</cx:pt>
          <cx:pt idx="8110">3.6000000000000001</cx:pt>
          <cx:pt idx="8111">3.5</cx:pt>
          <cx:pt idx="8112">3.5</cx:pt>
          <cx:pt idx="8113">3.3999999999999999</cx:pt>
          <cx:pt idx="8114">3.1000000000000001</cx:pt>
          <cx:pt idx="8115">3.2999999999999998</cx:pt>
          <cx:pt idx="8116">3.2000000000000002</cx:pt>
          <cx:pt idx="8117">3.5</cx:pt>
          <cx:pt idx="8118">3.6000000000000001</cx:pt>
          <cx:pt idx="8119">3.6000000000000001</cx:pt>
          <cx:pt idx="8120">3.3999999999999999</cx:pt>
          <cx:pt idx="8121">3.2999999999999998</cx:pt>
          <cx:pt idx="8122">3</cx:pt>
          <cx:pt idx="8123">3.2999999999999998</cx:pt>
          <cx:pt idx="8124">3.2999999999999998</cx:pt>
          <cx:pt idx="8125">3.2999999999999998</cx:pt>
          <cx:pt idx="8126">3.1000000000000001</cx:pt>
          <cx:pt idx="8127">3.5</cx:pt>
          <cx:pt idx="8128">3.2000000000000002</cx:pt>
          <cx:pt idx="8129">3.2999999999999998</cx:pt>
          <cx:pt idx="8130">3.3999999999999999</cx:pt>
          <cx:pt idx="8131">3.3999999999999999</cx:pt>
          <cx:pt idx="8132">3</cx:pt>
          <cx:pt idx="8133">3</cx:pt>
          <cx:pt idx="8134">3.1000000000000001</cx:pt>
          <cx:pt idx="8135">3.2000000000000002</cx:pt>
          <cx:pt idx="8136">3.3999999999999999</cx:pt>
          <cx:pt idx="8137">3.2999999999999998</cx:pt>
          <cx:pt idx="8138">3.1000000000000001</cx:pt>
          <cx:pt idx="8139">3.3999999999999999</cx:pt>
          <cx:pt idx="8140">0</cx:pt>
          <cx:pt idx="8141">3.2000000000000002</cx:pt>
          <cx:pt idx="8142">3.1000000000000001</cx:pt>
          <cx:pt idx="8143">3.2000000000000002</cx:pt>
          <cx:pt idx="8144">0</cx:pt>
          <cx:pt idx="8145">0</cx:pt>
          <cx:pt idx="8146">3</cx:pt>
          <cx:pt idx="8147">0</cx:pt>
          <cx:pt idx="8148">2.8999999999999999</cx:pt>
          <cx:pt idx="8149">0</cx:pt>
          <cx:pt idx="8150">0</cx:pt>
          <cx:pt idx="8151">0</cx:pt>
          <cx:pt idx="8152">0</cx:pt>
          <cx:pt idx="8153">0</cx:pt>
          <cx:pt idx="8154">2.8999999999999999</cx:pt>
          <cx:pt idx="8155">0</cx:pt>
          <cx:pt idx="8156">0</cx:pt>
          <cx:pt idx="8157">0</cx:pt>
          <cx:pt idx="8158">0</cx:pt>
          <cx:pt idx="8159">0</cx:pt>
          <cx:pt idx="8160">0</cx:pt>
          <cx:pt idx="8161">4</cx:pt>
          <cx:pt idx="8162">3.7999999999999998</cx:pt>
          <cx:pt idx="8163">3.8999999999999999</cx:pt>
          <cx:pt idx="8164">3.7000000000000002</cx:pt>
          <cx:pt idx="8165">3.8999999999999999</cx:pt>
          <cx:pt idx="8166">3.7000000000000002</cx:pt>
          <cx:pt idx="8167">3.5</cx:pt>
          <cx:pt idx="8168">3.8999999999999999</cx:pt>
          <cx:pt idx="8169">3.6000000000000001</cx:pt>
          <cx:pt idx="8170">3.5</cx:pt>
          <cx:pt idx="8171">3.7000000000000002</cx:pt>
          <cx:pt idx="8172">3.3999999999999999</cx:pt>
          <cx:pt idx="8173">3.3999999999999999</cx:pt>
          <cx:pt idx="8174">3.5</cx:pt>
          <cx:pt idx="8175">3.5</cx:pt>
          <cx:pt idx="8176">3.3999999999999999</cx:pt>
          <cx:pt idx="8177">3.5</cx:pt>
          <cx:pt idx="8178">3.7000000000000002</cx:pt>
          <cx:pt idx="8179">3.2999999999999998</cx:pt>
          <cx:pt idx="8180">3</cx:pt>
          <cx:pt idx="8181">3.1000000000000001</cx:pt>
          <cx:pt idx="8182">0</cx:pt>
          <cx:pt idx="8183">3.2999999999999998</cx:pt>
          <cx:pt idx="8184">3</cx:pt>
          <cx:pt idx="8185">3.1000000000000001</cx:pt>
          <cx:pt idx="8186">0</cx:pt>
          <cx:pt idx="8187">0</cx:pt>
          <cx:pt idx="8188">3.2999999999999998</cx:pt>
          <cx:pt idx="8189">3.1000000000000001</cx:pt>
          <cx:pt idx="8190">0</cx:pt>
          <cx:pt idx="8191">0</cx:pt>
          <cx:pt idx="8192">3</cx:pt>
          <cx:pt idx="8193">0</cx:pt>
          <cx:pt idx="8194">0</cx:pt>
          <cx:pt idx="8195">0</cx:pt>
          <cx:pt idx="8196">0</cx:pt>
          <cx:pt idx="8197">0</cx:pt>
          <cx:pt idx="8198">0</cx:pt>
          <cx:pt idx="8199">0</cx:pt>
          <cx:pt idx="8200">0</cx:pt>
          <cx:pt idx="8201">0</cx:pt>
          <cx:pt idx="8202">0</cx:pt>
          <cx:pt idx="8203">0</cx:pt>
          <cx:pt idx="8204">0</cx:pt>
          <cx:pt idx="8205">0</cx:pt>
          <cx:pt idx="8206">0</cx:pt>
          <cx:pt idx="8207">0</cx:pt>
          <cx:pt idx="8208">0</cx:pt>
          <cx:pt idx="8209">0</cx:pt>
          <cx:pt idx="8210">0</cx:pt>
          <cx:pt idx="8211">0</cx:pt>
          <cx:pt idx="8212">0</cx:pt>
          <cx:pt idx="8213">0</cx:pt>
          <cx:pt idx="8214">0</cx:pt>
          <cx:pt idx="8215">0</cx:pt>
          <cx:pt idx="8216">0</cx:pt>
          <cx:pt idx="8217">0</cx:pt>
          <cx:pt idx="8218">0</cx:pt>
          <cx:pt idx="8219">0</cx:pt>
          <cx:pt idx="8220">0</cx:pt>
          <cx:pt idx="8221">0</cx:pt>
          <cx:pt idx="8222">0</cx:pt>
          <cx:pt idx="8223">0</cx:pt>
          <cx:pt idx="8224">4</cx:pt>
          <cx:pt idx="8225">3.6000000000000001</cx:pt>
          <cx:pt idx="8226">4</cx:pt>
          <cx:pt idx="8227">3.8999999999999999</cx:pt>
          <cx:pt idx="8228">3.6000000000000001</cx:pt>
          <cx:pt idx="8229">3.5</cx:pt>
          <cx:pt idx="8230">3.5</cx:pt>
          <cx:pt idx="8231">3.7000000000000002</cx:pt>
          <cx:pt idx="8232">3.7999999999999998</cx:pt>
          <cx:pt idx="8233">3.7000000000000002</cx:pt>
          <cx:pt idx="8234">3.7000000000000002</cx:pt>
          <cx:pt idx="8235">3.6000000000000001</cx:pt>
          <cx:pt idx="8236">3.6000000000000001</cx:pt>
          <cx:pt idx="8237">3.7999999999999998</cx:pt>
          <cx:pt idx="8238">3.6000000000000001</cx:pt>
          <cx:pt idx="8239">3.6000000000000001</cx:pt>
          <cx:pt idx="8240">3.7000000000000002</cx:pt>
          <cx:pt idx="8241">3.2999999999999998</cx:pt>
          <cx:pt idx="8242">3.6000000000000001</cx:pt>
          <cx:pt idx="8243">3.5</cx:pt>
          <cx:pt idx="8244">0</cx:pt>
          <cx:pt idx="8245">3.2999999999999998</cx:pt>
          <cx:pt idx="8246">3.7000000000000002</cx:pt>
          <cx:pt idx="8247">3.3999999999999999</cx:pt>
          <cx:pt idx="8248">3.3999999999999999</cx:pt>
          <cx:pt idx="8249">3.6000000000000001</cx:pt>
          <cx:pt idx="8250">3.1000000000000001</cx:pt>
          <cx:pt idx="8251">3</cx:pt>
          <cx:pt idx="8252">3.3999999999999999</cx:pt>
          <cx:pt idx="8253">3.3999999999999999</cx:pt>
          <cx:pt idx="8254">3.3999999999999999</cx:pt>
          <cx:pt idx="8255">0</cx:pt>
          <cx:pt idx="8256">3.2999999999999998</cx:pt>
          <cx:pt idx="8257">3.6000000000000001</cx:pt>
          <cx:pt idx="8258">3.3999999999999999</cx:pt>
          <cx:pt idx="8259">3.3999999999999999</cx:pt>
          <cx:pt idx="8260">3.2000000000000002</cx:pt>
          <cx:pt idx="8261">2.8999999999999999</cx:pt>
          <cx:pt idx="8262">3</cx:pt>
          <cx:pt idx="8263">3.3999999999999999</cx:pt>
          <cx:pt idx="8264">3.1000000000000001</cx:pt>
          <cx:pt idx="8265">3.2999999999999998</cx:pt>
          <cx:pt idx="8266">3</cx:pt>
          <cx:pt idx="8267">0</cx:pt>
          <cx:pt idx="8268">3.2000000000000002</cx:pt>
          <cx:pt idx="8269">0</cx:pt>
          <cx:pt idx="8270">3.3999999999999999</cx:pt>
          <cx:pt idx="8271">3.2999999999999998</cx:pt>
          <cx:pt idx="8272">3.1000000000000001</cx:pt>
          <cx:pt idx="8273">3.2999999999999998</cx:pt>
          <cx:pt idx="8274">3.1000000000000001</cx:pt>
          <cx:pt idx="8275">3.1000000000000001</cx:pt>
          <cx:pt idx="8276">0</cx:pt>
          <cx:pt idx="8277">0</cx:pt>
          <cx:pt idx="8278">3.2000000000000002</cx:pt>
          <cx:pt idx="8279">0</cx:pt>
          <cx:pt idx="8280">3.2999999999999998</cx:pt>
          <cx:pt idx="8281">0</cx:pt>
          <cx:pt idx="8282">0</cx:pt>
          <cx:pt idx="8283">0</cx:pt>
          <cx:pt idx="8284">0</cx:pt>
          <cx:pt idx="8285">3.2999999999999998</cx:pt>
          <cx:pt idx="8286">0</cx:pt>
          <cx:pt idx="8287">3</cx:pt>
          <cx:pt idx="8288">3.1000000000000001</cx:pt>
          <cx:pt idx="8289">3</cx:pt>
          <cx:pt idx="8290">0</cx:pt>
          <cx:pt idx="8291">4</cx:pt>
          <cx:pt idx="8292">4.0999999999999996</cx:pt>
          <cx:pt idx="8293">3.7999999999999998</cx:pt>
          <cx:pt idx="8294">3.8999999999999999</cx:pt>
          <cx:pt idx="8295">3.8999999999999999</cx:pt>
          <cx:pt idx="8296">3.7999999999999998</cx:pt>
          <cx:pt idx="8297">3.7000000000000002</cx:pt>
          <cx:pt idx="8298">3.8999999999999999</cx:pt>
          <cx:pt idx="8299">3.6000000000000001</cx:pt>
          <cx:pt idx="8300">3.7999999999999998</cx:pt>
          <cx:pt idx="8301">3.3999999999999999</cx:pt>
          <cx:pt idx="8302">3.5</cx:pt>
          <cx:pt idx="8303">3.7999999999999998</cx:pt>
          <cx:pt idx="8304">3.6000000000000001</cx:pt>
          <cx:pt idx="8305">3.7000000000000002</cx:pt>
          <cx:pt idx="8306">3.6000000000000001</cx:pt>
          <cx:pt idx="8307">3.3999999999999999</cx:pt>
          <cx:pt idx="8308">3</cx:pt>
          <cx:pt idx="8309">3.2999999999999998</cx:pt>
          <cx:pt idx="8310">3.2999999999999998</cx:pt>
          <cx:pt idx="8311">3.7000000000000002</cx:pt>
          <cx:pt idx="8312">3.2999999999999998</cx:pt>
          <cx:pt idx="8313">3.5</cx:pt>
          <cx:pt idx="8314">0</cx:pt>
          <cx:pt idx="8315">3.2000000000000002</cx:pt>
          <cx:pt idx="8316">3.2999999999999998</cx:pt>
          <cx:pt idx="8317">3.3999999999999999</cx:pt>
          <cx:pt idx="8318">3.2999999999999998</cx:pt>
          <cx:pt idx="8319">3</cx:pt>
          <cx:pt idx="8320">3.2000000000000002</cx:pt>
          <cx:pt idx="8321">0</cx:pt>
          <cx:pt idx="8322">0</cx:pt>
          <cx:pt idx="8323">3.2000000000000002</cx:pt>
          <cx:pt idx="8324">3.2000000000000002</cx:pt>
          <cx:pt idx="8325">3.1000000000000001</cx:pt>
          <cx:pt idx="8326">3.2999999999999998</cx:pt>
          <cx:pt idx="8327">3.2000000000000002</cx:pt>
          <cx:pt idx="8328">3</cx:pt>
          <cx:pt idx="8329">0</cx:pt>
          <cx:pt idx="8330">0</cx:pt>
          <cx:pt idx="8331">0</cx:pt>
          <cx:pt idx="8332">3.2000000000000002</cx:pt>
          <cx:pt idx="8333">3.2999999999999998</cx:pt>
          <cx:pt idx="8334">3.1000000000000001</cx:pt>
          <cx:pt idx="8335">0</cx:pt>
          <cx:pt idx="8336">3</cx:pt>
          <cx:pt idx="8337">0</cx:pt>
          <cx:pt idx="8338">3.1000000000000001</cx:pt>
          <cx:pt idx="8339">0</cx:pt>
          <cx:pt idx="8340">3</cx:pt>
          <cx:pt idx="8341">0</cx:pt>
          <cx:pt idx="8342">0</cx:pt>
          <cx:pt idx="8343">0</cx:pt>
          <cx:pt idx="8344">0</cx:pt>
          <cx:pt idx="8345">0</cx:pt>
          <cx:pt idx="8346">0</cx:pt>
          <cx:pt idx="8347">0</cx:pt>
          <cx:pt idx="8348">0</cx:pt>
          <cx:pt idx="8349">0</cx:pt>
          <cx:pt idx="8350">0</cx:pt>
          <cx:pt idx="8351">0</cx:pt>
          <cx:pt idx="8352">0</cx:pt>
          <cx:pt idx="8353">0</cx:pt>
          <cx:pt idx="8354">0</cx:pt>
          <cx:pt idx="8355">0</cx:pt>
          <cx:pt idx="8356">0</cx:pt>
          <cx:pt idx="8357">0</cx:pt>
          <cx:pt idx="8358">0</cx:pt>
          <cx:pt idx="8359">0</cx:pt>
          <cx:pt idx="8360">0</cx:pt>
          <cx:pt idx="8361">0</cx:pt>
          <cx:pt idx="8362">0</cx:pt>
          <cx:pt idx="8363">0</cx:pt>
          <cx:pt idx="8364">0</cx:pt>
          <cx:pt idx="8365">0</cx:pt>
          <cx:pt idx="8366">0</cx:pt>
          <cx:pt idx="8367">0</cx:pt>
          <cx:pt idx="8368">3.2000000000000002</cx:pt>
          <cx:pt idx="8369">0</cx:pt>
          <cx:pt idx="8370">4</cx:pt>
          <cx:pt idx="8371">4.0999999999999996</cx:pt>
          <cx:pt idx="8372">4</cx:pt>
          <cx:pt idx="8373">4</cx:pt>
          <cx:pt idx="8374">4</cx:pt>
          <cx:pt idx="8375">3.7999999999999998</cx:pt>
          <cx:pt idx="8376">3.8999999999999999</cx:pt>
          <cx:pt idx="8377">3.3999999999999999</cx:pt>
          <cx:pt idx="8378">3.8999999999999999</cx:pt>
          <cx:pt idx="8379">3.8999999999999999</cx:pt>
          <cx:pt idx="8380">4</cx:pt>
          <cx:pt idx="8381">3.8999999999999999</cx:pt>
          <cx:pt idx="8382">3.7000000000000002</cx:pt>
          <cx:pt idx="8383">3.7000000000000002</cx:pt>
          <cx:pt idx="8384">3.5</cx:pt>
          <cx:pt idx="8385">3.8999999999999999</cx:pt>
          <cx:pt idx="8386">3.5</cx:pt>
          <cx:pt idx="8387">3.6000000000000001</cx:pt>
          <cx:pt idx="8388">3.6000000000000001</cx:pt>
          <cx:pt idx="8389">3.3999999999999999</cx:pt>
          <cx:pt idx="8390">3.8999999999999999</cx:pt>
          <cx:pt idx="8391">3.7999999999999998</cx:pt>
          <cx:pt idx="8392">3.5</cx:pt>
          <cx:pt idx="8393">3.7000000000000002</cx:pt>
          <cx:pt idx="8394">3.5</cx:pt>
          <cx:pt idx="8395">3.5</cx:pt>
          <cx:pt idx="8396">3.5</cx:pt>
          <cx:pt idx="8397">3.2999999999999998</cx:pt>
          <cx:pt idx="8398">3.2999999999999998</cx:pt>
          <cx:pt idx="8399">3.8999999999999999</cx:pt>
          <cx:pt idx="8400">3.2999999999999998</cx:pt>
          <cx:pt idx="8401">3.7000000000000002</cx:pt>
          <cx:pt idx="8402">3.5</cx:pt>
          <cx:pt idx="8403">3.7999999999999998</cx:pt>
          <cx:pt idx="8404">3.3999999999999999</cx:pt>
          <cx:pt idx="8405">3.2999999999999998</cx:pt>
          <cx:pt idx="8406">3.8999999999999999</cx:pt>
          <cx:pt idx="8407">3.7000000000000002</cx:pt>
          <cx:pt idx="8408">0</cx:pt>
          <cx:pt idx="8409">3.7000000000000002</cx:pt>
          <cx:pt idx="8410">3.7999999999999998</cx:pt>
          <cx:pt idx="8411">3.3999999999999999</cx:pt>
          <cx:pt idx="8412">3.3999999999999999</cx:pt>
          <cx:pt idx="8413">3.2000000000000002</cx:pt>
          <cx:pt idx="8414">3.2000000000000002</cx:pt>
          <cx:pt idx="8415">3.2999999999999998</cx:pt>
          <cx:pt idx="8416">3.5</cx:pt>
          <cx:pt idx="8417">3.2000000000000002</cx:pt>
          <cx:pt idx="8418">3.7000000000000002</cx:pt>
          <cx:pt idx="8419">3.5</cx:pt>
          <cx:pt idx="8420">3.3999999999999999</cx:pt>
          <cx:pt idx="8421">3.3999999999999999</cx:pt>
          <cx:pt idx="8422">3.2999999999999998</cx:pt>
          <cx:pt idx="8423">3.7000000000000002</cx:pt>
          <cx:pt idx="8424">3</cx:pt>
          <cx:pt idx="8425">0</cx:pt>
          <cx:pt idx="8426">3.2999999999999998</cx:pt>
          <cx:pt idx="8427">3.5</cx:pt>
          <cx:pt idx="8428">3.2000000000000002</cx:pt>
          <cx:pt idx="8429">3.2999999999999998</cx:pt>
          <cx:pt idx="8430">3</cx:pt>
          <cx:pt idx="8431">3.2000000000000002</cx:pt>
          <cx:pt idx="8432">3.7999999999999998</cx:pt>
          <cx:pt idx="8433">3</cx:pt>
          <cx:pt idx="8434">0</cx:pt>
          <cx:pt idx="8435">2.8999999999999999</cx:pt>
          <cx:pt idx="8436">0</cx:pt>
          <cx:pt idx="8437">0</cx:pt>
          <cx:pt idx="8438">0</cx:pt>
          <cx:pt idx="8439">3.6000000000000001</cx:pt>
          <cx:pt idx="8440">3.2999999999999998</cx:pt>
          <cx:pt idx="8441">3.3999999999999999</cx:pt>
          <cx:pt idx="8442">0</cx:pt>
          <cx:pt idx="8443">0</cx:pt>
          <cx:pt idx="8444">0</cx:pt>
          <cx:pt idx="8445">0</cx:pt>
          <cx:pt idx="8446">0</cx:pt>
          <cx:pt idx="8447">3.2000000000000002</cx:pt>
          <cx:pt idx="8448">0</cx:pt>
          <cx:pt idx="8449">4</cx:pt>
          <cx:pt idx="8450">3.5</cx:pt>
          <cx:pt idx="8451">3.7999999999999998</cx:pt>
          <cx:pt idx="8452">3.5</cx:pt>
          <cx:pt idx="8453">3.7000000000000002</cx:pt>
          <cx:pt idx="8454">3.7000000000000002</cx:pt>
          <cx:pt idx="8455">4</cx:pt>
          <cx:pt idx="8456">3.7000000000000002</cx:pt>
          <cx:pt idx="8457">3.6000000000000001</cx:pt>
          <cx:pt idx="8458">3.2999999999999998</cx:pt>
          <cx:pt idx="8459">4.0999999999999996</cx:pt>
          <cx:pt idx="8460">3.7000000000000002</cx:pt>
          <cx:pt idx="8461">3.5</cx:pt>
          <cx:pt idx="8462">3.7999999999999998</cx:pt>
          <cx:pt idx="8463">3.8999999999999999</cx:pt>
          <cx:pt idx="8464">3.8999999999999999</cx:pt>
          <cx:pt idx="8465">3.2999999999999998</cx:pt>
          <cx:pt idx="8466">3.7000000000000002</cx:pt>
          <cx:pt idx="8467">3.7000000000000002</cx:pt>
          <cx:pt idx="8468">3.5</cx:pt>
          <cx:pt idx="8469">3.6000000000000001</cx:pt>
          <cx:pt idx="8470">3.5</cx:pt>
          <cx:pt idx="8471">3.6000000000000001</cx:pt>
          <cx:pt idx="8472">3.7000000000000002</cx:pt>
          <cx:pt idx="8473">3.2999999999999998</cx:pt>
          <cx:pt idx="8474">3.3999999999999999</cx:pt>
          <cx:pt idx="8475">3.6000000000000001</cx:pt>
          <cx:pt idx="8476">3.7000000000000002</cx:pt>
          <cx:pt idx="8477">3.7999999999999998</cx:pt>
          <cx:pt idx="8478">3.8999999999999999</cx:pt>
          <cx:pt idx="8479">3.2999999999999998</cx:pt>
          <cx:pt idx="8480">3.7000000000000002</cx:pt>
          <cx:pt idx="8481">3.6000000000000001</cx:pt>
          <cx:pt idx="8482">3.7000000000000002</cx:pt>
          <cx:pt idx="8483">3.7000000000000002</cx:pt>
          <cx:pt idx="8484">3.6000000000000001</cx:pt>
          <cx:pt idx="8485">3.6000000000000001</cx:pt>
          <cx:pt idx="8486">3.6000000000000001</cx:pt>
          <cx:pt idx="8487">3.6000000000000001</cx:pt>
          <cx:pt idx="8488">3.6000000000000001</cx:pt>
          <cx:pt idx="8489">3.3999999999999999</cx:pt>
          <cx:pt idx="8490">3.7000000000000002</cx:pt>
          <cx:pt idx="8491">3.5</cx:pt>
          <cx:pt idx="8492">3.6000000000000001</cx:pt>
          <cx:pt idx="8493">3.3999999999999999</cx:pt>
          <cx:pt idx="8494">3.6000000000000001</cx:pt>
          <cx:pt idx="8495">3.6000000000000001</cx:pt>
          <cx:pt idx="8496">3.2000000000000002</cx:pt>
          <cx:pt idx="8497">3.7000000000000002</cx:pt>
          <cx:pt idx="8498">3.2999999999999998</cx:pt>
          <cx:pt idx="8499">3.7999999999999998</cx:pt>
          <cx:pt idx="8500">3.7000000000000002</cx:pt>
          <cx:pt idx="8501">3.3999999999999999</cx:pt>
          <cx:pt idx="8502">3.2999999999999998</cx:pt>
          <cx:pt idx="8503">3.7999999999999998</cx:pt>
          <cx:pt idx="8504">3.5</cx:pt>
          <cx:pt idx="8505">3.3999999999999999</cx:pt>
          <cx:pt idx="8506">3.3999999999999999</cx:pt>
          <cx:pt idx="8507">3.5</cx:pt>
          <cx:pt idx="8508">3.5</cx:pt>
          <cx:pt idx="8509">3.2999999999999998</cx:pt>
          <cx:pt idx="8510">3.2999999999999998</cx:pt>
          <cx:pt idx="8511">3.2999999999999998</cx:pt>
          <cx:pt idx="8512">3.2999999999999998</cx:pt>
          <cx:pt idx="8513">3.3999999999999999</cx:pt>
          <cx:pt idx="8514">3.2999999999999998</cx:pt>
          <cx:pt idx="8515">3.5</cx:pt>
          <cx:pt idx="8516">3.3999999999999999</cx:pt>
          <cx:pt idx="8517">3.2000000000000002</cx:pt>
          <cx:pt idx="8518">3.1000000000000001</cx:pt>
          <cx:pt idx="8519">0</cx:pt>
          <cx:pt idx="8520">0</cx:pt>
          <cx:pt idx="8521">3.2000000000000002</cx:pt>
          <cx:pt idx="8522">3.2999999999999998</cx:pt>
          <cx:pt idx="8523">0</cx:pt>
          <cx:pt idx="8524">3.3999999999999999</cx:pt>
          <cx:pt idx="8525">3.3999999999999999</cx:pt>
          <cx:pt idx="8526">3.2999999999999998</cx:pt>
          <cx:pt idx="8527">3.2000000000000002</cx:pt>
          <cx:pt idx="8528">0</cx:pt>
          <cx:pt idx="8529">3.2999999999999998</cx:pt>
          <cx:pt idx="8530">3.3999999999999999</cx:pt>
          <cx:pt idx="8531">3.2999999999999998</cx:pt>
          <cx:pt idx="8532">3.3999999999999999</cx:pt>
          <cx:pt idx="8533">3.2000000000000002</cx:pt>
          <cx:pt idx="8534">0</cx:pt>
          <cx:pt idx="8535">3.2000000000000002</cx:pt>
          <cx:pt idx="8536">0</cx:pt>
          <cx:pt idx="8537">3.6000000000000001</cx:pt>
          <cx:pt idx="8538">3.5</cx:pt>
          <cx:pt idx="8539">3.2999999999999998</cx:pt>
          <cx:pt idx="8540">3.2000000000000002</cx:pt>
          <cx:pt idx="8541">3.2999999999999998</cx:pt>
          <cx:pt idx="8542">0</cx:pt>
          <cx:pt idx="8543">3.1000000000000001</cx:pt>
          <cx:pt idx="8544">3.2999999999999998</cx:pt>
          <cx:pt idx="8545">3.2000000000000002</cx:pt>
          <cx:pt idx="8546">3.2000000000000002</cx:pt>
          <cx:pt idx="8547">3.2000000000000002</cx:pt>
          <cx:pt idx="8548">3.2000000000000002</cx:pt>
          <cx:pt idx="8549">3.2000000000000002</cx:pt>
          <cx:pt idx="8550">3.2000000000000002</cx:pt>
          <cx:pt idx="8551">3.2000000000000002</cx:pt>
          <cx:pt idx="8552">3.2000000000000002</cx:pt>
          <cx:pt idx="8553">0</cx:pt>
          <cx:pt idx="8554">0</cx:pt>
          <cx:pt idx="8555">0</cx:pt>
          <cx:pt idx="8556">0</cx:pt>
          <cx:pt idx="8557">0</cx:pt>
          <cx:pt idx="8558">0</cx:pt>
          <cx:pt idx="8559">3.2999999999999998</cx:pt>
          <cx:pt idx="8560">3.3999999999999999</cx:pt>
          <cx:pt idx="8561">3.5</cx:pt>
          <cx:pt idx="8562">3.2999999999999998</cx:pt>
          <cx:pt idx="8563">3.5</cx:pt>
          <cx:pt idx="8564">3.2000000000000002</cx:pt>
          <cx:pt idx="8565">0</cx:pt>
          <cx:pt idx="8566">0</cx:pt>
          <cx:pt idx="8567">3.2000000000000002</cx:pt>
          <cx:pt idx="8568">3.2000000000000002</cx:pt>
          <cx:pt idx="8569">3.2000000000000002</cx:pt>
          <cx:pt idx="8570">3.2000000000000002</cx:pt>
          <cx:pt idx="8571">0</cx:pt>
          <cx:pt idx="8572">0</cx:pt>
          <cx:pt idx="8573">0</cx:pt>
          <cx:pt idx="8574">3.2999999999999998</cx:pt>
          <cx:pt idx="8575">3.2999999999999998</cx:pt>
          <cx:pt idx="8576">3.2999999999999998</cx:pt>
          <cx:pt idx="8577">3.3999999999999999</cx:pt>
          <cx:pt idx="8578">3.2999999999999998</cx:pt>
          <cx:pt idx="8579">3.2999999999999998</cx:pt>
          <cx:pt idx="8580">3.1000000000000001</cx:pt>
          <cx:pt idx="8581">3.2999999999999998</cx:pt>
          <cx:pt idx="8582">3.2000000000000002</cx:pt>
          <cx:pt idx="8583">3.2999999999999998</cx:pt>
          <cx:pt idx="8584">3.2999999999999998</cx:pt>
          <cx:pt idx="8585">3.2999999999999998</cx:pt>
          <cx:pt idx="8586">0</cx:pt>
          <cx:pt idx="8587">3.2000000000000002</cx:pt>
          <cx:pt idx="8588">3.2000000000000002</cx:pt>
          <cx:pt idx="8589">3.2000000000000002</cx:pt>
          <cx:pt idx="8590">3.2000000000000002</cx:pt>
          <cx:pt idx="8591">3.2000000000000002</cx:pt>
          <cx:pt idx="8592">3.2000000000000002</cx:pt>
          <cx:pt idx="8593">3.2000000000000002</cx:pt>
          <cx:pt idx="8594">0</cx:pt>
          <cx:pt idx="8595">3.2000000000000002</cx:pt>
          <cx:pt idx="8596">3.2000000000000002</cx:pt>
          <cx:pt idx="8597">3.2000000000000002</cx:pt>
          <cx:pt idx="8598">3.2000000000000002</cx:pt>
          <cx:pt idx="8599">0</cx:pt>
          <cx:pt idx="8600">3.2000000000000002</cx:pt>
          <cx:pt idx="8601">0</cx:pt>
          <cx:pt idx="8602">0</cx:pt>
          <cx:pt idx="8603">0</cx:pt>
          <cx:pt idx="8604">3.6000000000000001</cx:pt>
          <cx:pt idx="8605">3.6000000000000001</cx:pt>
          <cx:pt idx="8606">3.6000000000000001</cx:pt>
          <cx:pt idx="8607">3.3999999999999999</cx:pt>
          <cx:pt idx="8608">3.2000000000000002</cx:pt>
          <cx:pt idx="8609">3.2000000000000002</cx:pt>
          <cx:pt idx="8610">3.2000000000000002</cx:pt>
          <cx:pt idx="8611">3.2000000000000002</cx:pt>
          <cx:pt idx="8612">3.2000000000000002</cx:pt>
          <cx:pt idx="8613">3.2000000000000002</cx:pt>
          <cx:pt idx="8614">3.2000000000000002</cx:pt>
          <cx:pt idx="8615">3.2000000000000002</cx:pt>
          <cx:pt idx="8616">3.2000000000000002</cx:pt>
          <cx:pt idx="8617">3.2000000000000002</cx:pt>
          <cx:pt idx="8618">3.2999999999999998</cx:pt>
          <cx:pt idx="8619">3.2999999999999998</cx:pt>
          <cx:pt idx="8620">3.2999999999999998</cx:pt>
          <cx:pt idx="8621">3.2999999999999998</cx:pt>
          <cx:pt idx="8622">3.3999999999999999</cx:pt>
          <cx:pt idx="8623">3.2999999999999998</cx:pt>
          <cx:pt idx="8624">0</cx:pt>
          <cx:pt idx="8625">3.2999999999999998</cx:pt>
          <cx:pt idx="8626">3.3999999999999999</cx:pt>
          <cx:pt idx="8627">0</cx:pt>
          <cx:pt idx="8628">3.3999999999999999</cx:pt>
          <cx:pt idx="8629">0</cx:pt>
          <cx:pt idx="8630">0</cx:pt>
          <cx:pt idx="8631">0</cx:pt>
          <cx:pt idx="8632">0</cx:pt>
          <cx:pt idx="8633">3.2999999999999998</cx:pt>
          <cx:pt idx="8634">0</cx:pt>
          <cx:pt idx="8635">0</cx:pt>
          <cx:pt idx="8636">4.0999999999999996</cx:pt>
          <cx:pt idx="8637">4.0999999999999996</cx:pt>
          <cx:pt idx="8638">3.7000000000000002</cx:pt>
          <cx:pt idx="8639">4.2000000000000002</cx:pt>
          <cx:pt idx="8640">3</cx:pt>
          <cx:pt idx="8641">2.8999999999999999</cx:pt>
          <cx:pt idx="8642">3.6000000000000001</cx:pt>
          <cx:pt idx="8643">3.2000000000000002</cx:pt>
          <cx:pt idx="8644">3.2999999999999998</cx:pt>
          <cx:pt idx="8645">3.2999999999999998</cx:pt>
          <cx:pt idx="8646">3.5</cx:pt>
          <cx:pt idx="8647">3.2999999999999998</cx:pt>
          <cx:pt idx="8648">3.2000000000000002</cx:pt>
          <cx:pt idx="8649">3.2999999999999998</cx:pt>
          <cx:pt idx="8650">3.1000000000000001</cx:pt>
          <cx:pt idx="8651">3.2000000000000002</cx:pt>
          <cx:pt idx="8652">3.2000000000000002</cx:pt>
          <cx:pt idx="8653">3.2000000000000002</cx:pt>
          <cx:pt idx="8654">3.2000000000000002</cx:pt>
          <cx:pt idx="8655">3.2999999999999998</cx:pt>
          <cx:pt idx="8656">3.2000000000000002</cx:pt>
          <cx:pt idx="8657">0</cx:pt>
          <cx:pt idx="8658">3.2000000000000002</cx:pt>
          <cx:pt idx="8659">0</cx:pt>
          <cx:pt idx="8660">0</cx:pt>
          <cx:pt idx="8661">3.2000000000000002</cx:pt>
          <cx:pt idx="8662">0</cx:pt>
          <cx:pt idx="8663">0</cx:pt>
          <cx:pt idx="8664">0</cx:pt>
          <cx:pt idx="8665">0</cx:pt>
          <cx:pt idx="8666">3.2000000000000002</cx:pt>
          <cx:pt idx="8667">0</cx:pt>
          <cx:pt idx="8668">0</cx:pt>
          <cx:pt idx="8669">0</cx:pt>
          <cx:pt idx="8670">0</cx:pt>
          <cx:pt idx="8671">0</cx:pt>
          <cx:pt idx="8672">0</cx:pt>
          <cx:pt idx="8673">0</cx:pt>
          <cx:pt idx="8674">0</cx:pt>
          <cx:pt idx="8675">0</cx:pt>
          <cx:pt idx="8676">0</cx:pt>
          <cx:pt idx="8677">0</cx:pt>
          <cx:pt idx="8678">0</cx:pt>
          <cx:pt idx="8679">0</cx:pt>
          <cx:pt idx="8680">0</cx:pt>
          <cx:pt idx="8681">0</cx:pt>
          <cx:pt idx="8682">0</cx:pt>
          <cx:pt idx="8683">0</cx:pt>
          <cx:pt idx="8684">0</cx:pt>
          <cx:pt idx="8685">0</cx:pt>
          <cx:pt idx="8686">0</cx:pt>
          <cx:pt idx="8687">0</cx:pt>
          <cx:pt idx="8688">0</cx:pt>
          <cx:pt idx="8689">0</cx:pt>
          <cx:pt idx="8690">0</cx:pt>
          <cx:pt idx="8691">0</cx:pt>
          <cx:pt idx="8692">0</cx:pt>
          <cx:pt idx="8693">0</cx:pt>
          <cx:pt idx="8694">0</cx:pt>
          <cx:pt idx="8695">0</cx:pt>
          <cx:pt idx="8696">0</cx:pt>
          <cx:pt idx="8697">0</cx:pt>
          <cx:pt idx="8698">0</cx:pt>
          <cx:pt idx="8699">0</cx:pt>
          <cx:pt idx="8700">0</cx:pt>
          <cx:pt idx="8701">0</cx:pt>
          <cx:pt idx="8702">0</cx:pt>
          <cx:pt idx="8703">0</cx:pt>
          <cx:pt idx="8704">0</cx:pt>
          <cx:pt idx="8705">0</cx:pt>
          <cx:pt idx="8706">0</cx:pt>
          <cx:pt idx="8707">0</cx:pt>
          <cx:pt idx="8708">0</cx:pt>
          <cx:pt idx="8709">0</cx:pt>
          <cx:pt idx="8710">0</cx:pt>
          <cx:pt idx="8711">0</cx:pt>
          <cx:pt idx="8712">0</cx:pt>
          <cx:pt idx="8713">3.6000000000000001</cx:pt>
          <cx:pt idx="8714">0</cx:pt>
          <cx:pt idx="8715">0</cx:pt>
          <cx:pt idx="8716">0</cx:pt>
        </cx:lvl>
      </cx:numDim>
    </cx:data>
  </cx:chartData>
  <cx:chart>
    <cx:title pos="t" align="ctr" overlay="0">
      <cx:tx>
        <cx:rich>
          <a:bodyPr rot="0" spcFirstLastPara="1" vertOverflow="ellipsis" vert="horz" wrap="square" lIns="0" tIns="0" rIns="0" bIns="0" anchor="ctr" anchorCtr="1"/>
          <a:lstStyle/>
          <a:p>
            <a:pPr algn="ctr">
              <a:defRPr lang="en-US" sz="1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j-lt"/>
              </a:defRPr>
            </a:pPr>
            <a:r>
              <a:rPr lang="en-US" sz="1600" b="1" dirty="0">
                <a:latin typeface="+mj-lt"/>
              </a:rPr>
              <a:t>Rating of the restaurants who </a:t>
            </a:r>
            <a:r>
              <a:rPr lang="en-US" sz="1600" b="1" dirty="0" err="1">
                <a:solidFill>
                  <a:srgbClr val="0070C0"/>
                </a:solidFill>
                <a:latin typeface="+mj-lt"/>
              </a:rPr>
              <a:t>dont</a:t>
            </a:r>
            <a:r>
              <a:rPr lang="en-US" sz="1600" b="1" dirty="0">
                <a:latin typeface="+mj-lt"/>
              </a:rPr>
              <a:t> sell North Indian</a:t>
            </a:r>
          </a:p>
        </cx:rich>
      </cx:tx>
    </cx:title>
    <cx:plotArea>
      <cx:plotAreaRegion>
        <cx:series layoutId="boxWhisker" uniqueId="{9EE0A6CB-48B2-45AF-BB04-3D9218D562DE}">
          <cx:dataLabels>
            <cx:numFmt formatCode="#,##0.00" sourceLinked="0"/>
            <cx:txPr>
              <a:bodyPr spcFirstLastPara="1" vertOverflow="ellipsis" wrap="square" lIns="0" tIns="0" rIns="0" bIns="0" anchor="ctr" anchorCtr="1"/>
              <a:lstStyle/>
              <a:p>
                <a:pPr>
                  <a:defRPr sz="1400" b="1"/>
                </a:pPr>
                <a:endParaRPr lang="en-US" sz="1400" b="1"/>
              </a:p>
            </cx:txPr>
            <cx:visibility seriesName="0" categoryName="0" value="1"/>
            <cx:separator>, </cx:separator>
          </cx:dataLabels>
          <cx:dataId val="0"/>
          <cx:layoutPr>
            <cx:visibility meanLine="0" meanMarker="1" nonoutliers="0" outliers="0"/>
            <cx:statistics quartileMethod="exclusive"/>
          </cx:layoutPr>
        </cx:series>
      </cx:plotAreaRegion>
      <cx:axis id="0" hidden="1">
        <cx:catScaling gapWidth="1"/>
        <cx:tickLabels/>
      </cx:axis>
      <cx:axis id="1" hidden="1">
        <cx:valScaling/>
        <cx:tickLabels/>
      </cx:axis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NI!$C$8721:$C$13463</cx:f>
        <cx:lvl ptCount="4743" formatCode="General">
          <cx:pt idx="0">4.4000000000000004</cx:pt>
          <cx:pt idx="1">4.4000000000000004</cx:pt>
          <cx:pt idx="2">4.9000000000000004</cx:pt>
          <cx:pt idx="3">4.2000000000000002</cx:pt>
          <cx:pt idx="4">4.4000000000000004</cx:pt>
          <cx:pt idx="5">4.4000000000000004</cx:pt>
          <cx:pt idx="6">4.0999999999999996</cx:pt>
          <cx:pt idx="7">4.0999999999999996</cx:pt>
          <cx:pt idx="8">4.5999999999999996</cx:pt>
          <cx:pt idx="9">4.0999999999999996</cx:pt>
          <cx:pt idx="10">4.5999999999999996</cx:pt>
          <cx:pt idx="11">4.2000000000000002</cx:pt>
          <cx:pt idx="12">4.0999999999999996</cx:pt>
          <cx:pt idx="13">4.2999999999999998</cx:pt>
          <cx:pt idx="14">4.5</cx:pt>
          <cx:pt idx="15">4.2000000000000002</cx:pt>
          <cx:pt idx="16">4</cx:pt>
          <cx:pt idx="17">4.5999999999999996</cx:pt>
          <cx:pt idx="18">4</cx:pt>
          <cx:pt idx="19">4.7000000000000002</cx:pt>
          <cx:pt idx="20">4</cx:pt>
          <cx:pt idx="21">4.2000000000000002</cx:pt>
          <cx:pt idx="22">4.2000000000000002</cx:pt>
          <cx:pt idx="23">4.0999999999999996</cx:pt>
          <cx:pt idx="24">4.4000000000000004</cx:pt>
          <cx:pt idx="25">4.2000000000000002</cx:pt>
          <cx:pt idx="26">3.7999999999999998</cx:pt>
          <cx:pt idx="27">3.7999999999999998</cx:pt>
          <cx:pt idx="28">3.7000000000000002</cx:pt>
          <cx:pt idx="29">4.2000000000000002</cx:pt>
          <cx:pt idx="30">4</cx:pt>
          <cx:pt idx="31">4.2000000000000002</cx:pt>
          <cx:pt idx="32">4</cx:pt>
          <cx:pt idx="33">4.0999999999999996</cx:pt>
          <cx:pt idx="34">4.4000000000000004</cx:pt>
          <cx:pt idx="35">3.8999999999999999</cx:pt>
          <cx:pt idx="36">4.7000000000000002</cx:pt>
          <cx:pt idx="37">4</cx:pt>
          <cx:pt idx="38">4.0999999999999996</cx:pt>
          <cx:pt idx="39">4.7999999999999998</cx:pt>
          <cx:pt idx="40">3.7999999999999998</cx:pt>
          <cx:pt idx="41">3.7000000000000002</cx:pt>
          <cx:pt idx="42">4.0999999999999996</cx:pt>
          <cx:pt idx="43">4.2000000000000002</cx:pt>
          <cx:pt idx="44">3.8999999999999999</cx:pt>
          <cx:pt idx="45">4.2999999999999998</cx:pt>
          <cx:pt idx="46">3.5</cx:pt>
          <cx:pt idx="47">3.7999999999999998</cx:pt>
          <cx:pt idx="48">3.5</cx:pt>
          <cx:pt idx="49">3.8999999999999999</cx:pt>
          <cx:pt idx="50">3.7999999999999998</cx:pt>
          <cx:pt idx="51">3.7999999999999998</cx:pt>
          <cx:pt idx="52">3.7999999999999998</cx:pt>
          <cx:pt idx="53">4.2999999999999998</cx:pt>
          <cx:pt idx="54">4.2999999999999998</cx:pt>
          <cx:pt idx="55">4</cx:pt>
          <cx:pt idx="56">4.4000000000000004</cx:pt>
          <cx:pt idx="57">4.0999999999999996</cx:pt>
          <cx:pt idx="58">0</cx:pt>
          <cx:pt idx="59">4.2000000000000002</cx:pt>
          <cx:pt idx="60">3.7000000000000002</cx:pt>
          <cx:pt idx="61">3.8999999999999999</cx:pt>
          <cx:pt idx="62">4.2000000000000002</cx:pt>
          <cx:pt idx="63">4.2999999999999998</cx:pt>
          <cx:pt idx="64">4.0999999999999996</cx:pt>
          <cx:pt idx="65">3.8999999999999999</cx:pt>
          <cx:pt idx="66">3.8999999999999999</cx:pt>
          <cx:pt idx="67">4.2000000000000002</cx:pt>
          <cx:pt idx="68">3.8999999999999999</cx:pt>
          <cx:pt idx="69">4.5999999999999996</cx:pt>
          <cx:pt idx="70">4.5</cx:pt>
          <cx:pt idx="71">3.7999999999999998</cx:pt>
          <cx:pt idx="72">4</cx:pt>
          <cx:pt idx="73">4</cx:pt>
          <cx:pt idx="74">3.7999999999999998</cx:pt>
          <cx:pt idx="75">3.5</cx:pt>
          <cx:pt idx="76">3.7999999999999998</cx:pt>
          <cx:pt idx="77">0</cx:pt>
          <cx:pt idx="78">3.6000000000000001</cx:pt>
          <cx:pt idx="79">4.0999999999999996</cx:pt>
          <cx:pt idx="80">4.2000000000000002</cx:pt>
          <cx:pt idx="81">3.8999999999999999</cx:pt>
          <cx:pt idx="82">0</cx:pt>
          <cx:pt idx="83">2.7999999999999998</cx:pt>
          <cx:pt idx="84">3.6000000000000001</cx:pt>
          <cx:pt idx="85">3.3999999999999999</cx:pt>
          <cx:pt idx="86">3.2000000000000002</cx:pt>
          <cx:pt idx="87">0</cx:pt>
          <cx:pt idx="88">0</cx:pt>
          <cx:pt idx="89">3.1000000000000001</cx:pt>
          <cx:pt idx="90">0</cx:pt>
          <cx:pt idx="91">0</cx:pt>
          <cx:pt idx="92">4</cx:pt>
          <cx:pt idx="93">3.7999999999999998</cx:pt>
          <cx:pt idx="94">3.2999999999999998</cx:pt>
          <cx:pt idx="95">3.2000000000000002</cx:pt>
          <cx:pt idx="96">0</cx:pt>
          <cx:pt idx="97">2.6000000000000001</cx:pt>
          <cx:pt idx="98">3.3999999999999999</cx:pt>
          <cx:pt idx="99">0</cx:pt>
          <cx:pt idx="100">0</cx:pt>
          <cx:pt idx="101">0</cx:pt>
          <cx:pt idx="102">0</cx:pt>
          <cx:pt idx="103">0</cx:pt>
          <cx:pt idx="104">0</cx:pt>
          <cx:pt idx="105">3.8999999999999999</cx:pt>
          <cx:pt idx="106">3.7999999999999998</cx:pt>
          <cx:pt idx="107">3.3999999999999999</cx:pt>
          <cx:pt idx="108">0</cx:pt>
          <cx:pt idx="109">0</cx:pt>
          <cx:pt idx="110">4</cx:pt>
          <cx:pt idx="111">4.2000000000000002</cx:pt>
          <cx:pt idx="112">3.8999999999999999</cx:pt>
          <cx:pt idx="113">3.7000000000000002</cx:pt>
          <cx:pt idx="114">3.8999999999999999</cx:pt>
          <cx:pt idx="115">4.0999999999999996</cx:pt>
          <cx:pt idx="116">3.6000000000000001</cx:pt>
          <cx:pt idx="117">0</cx:pt>
          <cx:pt idx="118">3.5</cx:pt>
          <cx:pt idx="119">3.2999999999999998</cx:pt>
          <cx:pt idx="120">3.1000000000000001</cx:pt>
          <cx:pt idx="121">0</cx:pt>
          <cx:pt idx="122">3.2000000000000002</cx:pt>
          <cx:pt idx="123">0</cx:pt>
          <cx:pt idx="124">3</cx:pt>
          <cx:pt idx="125">3</cx:pt>
          <cx:pt idx="126">0</cx:pt>
          <cx:pt idx="127">0</cx:pt>
          <cx:pt idx="128">4.4000000000000004</cx:pt>
          <cx:pt idx="129">4.2000000000000002</cx:pt>
          <cx:pt idx="130">4.0999999999999996</cx:pt>
          <cx:pt idx="131">4.0999999999999996</cx:pt>
          <cx:pt idx="132">4.0999999999999996</cx:pt>
          <cx:pt idx="133">2.2000000000000002</cx:pt>
          <cx:pt idx="134">2.2999999999999998</cx:pt>
          <cx:pt idx="135">2.2999999999999998</cx:pt>
          <cx:pt idx="136">2.2999999999999998</cx:pt>
          <cx:pt idx="137">2.3999999999999999</cx:pt>
          <cx:pt idx="138">2.5</cx:pt>
          <cx:pt idx="139">2.5</cx:pt>
          <cx:pt idx="140">2.6000000000000001</cx:pt>
          <cx:pt idx="141">2.6000000000000001</cx:pt>
          <cx:pt idx="142">2.6000000000000001</cx:pt>
          <cx:pt idx="143">2.6000000000000001</cx:pt>
          <cx:pt idx="144">2.6000000000000001</cx:pt>
          <cx:pt idx="145">2.7000000000000002</cx:pt>
          <cx:pt idx="146">2.7000000000000002</cx:pt>
          <cx:pt idx="147">2.7000000000000002</cx:pt>
          <cx:pt idx="148">2.7000000000000002</cx:pt>
          <cx:pt idx="149">2.7000000000000002</cx:pt>
          <cx:pt idx="150">2.7000000000000002</cx:pt>
          <cx:pt idx="151">2.7000000000000002</cx:pt>
          <cx:pt idx="152">2.7000000000000002</cx:pt>
          <cx:pt idx="153">2.7000000000000002</cx:pt>
          <cx:pt idx="154">2.7000000000000002</cx:pt>
          <cx:pt idx="155">2.7000000000000002</cx:pt>
          <cx:pt idx="156">2.7999999999999998</cx:pt>
          <cx:pt idx="157">2.7999999999999998</cx:pt>
          <cx:pt idx="158">2.7999999999999998</cx:pt>
          <cx:pt idx="159">2.7999999999999998</cx:pt>
          <cx:pt idx="160">2.7999999999999998</cx:pt>
          <cx:pt idx="161">2.7999999999999998</cx:pt>
          <cx:pt idx="162">2.7999999999999998</cx:pt>
          <cx:pt idx="163">2.7999999999999998</cx:pt>
          <cx:pt idx="164">2.7999999999999998</cx:pt>
          <cx:pt idx="165">2.7999999999999998</cx:pt>
          <cx:pt idx="166">2.7999999999999998</cx:pt>
          <cx:pt idx="167">2.8999999999999999</cx:pt>
          <cx:pt idx="168">2.8999999999999999</cx:pt>
          <cx:pt idx="169">2.8999999999999999</cx:pt>
          <cx:pt idx="170">2.8999999999999999</cx:pt>
          <cx:pt idx="171">2.8999999999999999</cx:pt>
          <cx:pt idx="172">2.8999999999999999</cx:pt>
          <cx:pt idx="173">2.8999999999999999</cx:pt>
          <cx:pt idx="174">2.8999999999999999</cx:pt>
          <cx:pt idx="175">2.8999999999999999</cx:pt>
          <cx:pt idx="176">2.8999999999999999</cx:pt>
          <cx:pt idx="177">2.8999999999999999</cx:pt>
          <cx:pt idx="178">2.8999999999999999</cx:pt>
          <cx:pt idx="179">2.8999999999999999</cx:pt>
          <cx:pt idx="180">2.8999999999999999</cx:pt>
          <cx:pt idx="181">2.8999999999999999</cx:pt>
          <cx:pt idx="182">2.8999999999999999</cx:pt>
          <cx:pt idx="183">2.8999999999999999</cx:pt>
          <cx:pt idx="184">2.8999999999999999</cx:pt>
          <cx:pt idx="185">2.8999999999999999</cx:pt>
          <cx:pt idx="186">2.8999999999999999</cx:pt>
          <cx:pt idx="187">2.8999999999999999</cx:pt>
          <cx:pt idx="188">2.8999999999999999</cx:pt>
          <cx:pt idx="189">2.8999999999999999</cx:pt>
          <cx:pt idx="190">2.8999999999999999</cx:pt>
          <cx:pt idx="191">2.8999999999999999</cx:pt>
          <cx:pt idx="192">2.8999999999999999</cx:pt>
          <cx:pt idx="193">2.8999999999999999</cx:pt>
          <cx:pt idx="194">2.8999999999999999</cx:pt>
          <cx:pt idx="195">3</cx:pt>
          <cx:pt idx="196">3</cx:pt>
          <cx:pt idx="197">3.8999999999999999</cx:pt>
          <cx:pt idx="198">3.8999999999999999</cx:pt>
          <cx:pt idx="199">3.8999999999999999</cx:pt>
          <cx:pt idx="200">3.7999999999999998</cx:pt>
          <cx:pt idx="201">3.6000000000000001</cx:pt>
          <cx:pt idx="202">3.7000000000000002</cx:pt>
          <cx:pt idx="203">3.7000000000000002</cx:pt>
          <cx:pt idx="204">4</cx:pt>
          <cx:pt idx="205">3.6000000000000001</cx:pt>
          <cx:pt idx="206">3.7000000000000002</cx:pt>
          <cx:pt idx="207">3.3999999999999999</cx:pt>
          <cx:pt idx="208">3.6000000000000001</cx:pt>
          <cx:pt idx="209">3.3999999999999999</cx:pt>
          <cx:pt idx="210">3.7000000000000002</cx:pt>
          <cx:pt idx="211">3.5</cx:pt>
          <cx:pt idx="212">3.8999999999999999</cx:pt>
          <cx:pt idx="213">3.8999999999999999</cx:pt>
          <cx:pt idx="214">4</cx:pt>
          <cx:pt idx="215">3.6000000000000001</cx:pt>
          <cx:pt idx="216">3.7000000000000002</cx:pt>
          <cx:pt idx="217">3.7999999999999998</cx:pt>
          <cx:pt idx="218">3.6000000000000001</cx:pt>
          <cx:pt idx="219">3.6000000000000001</cx:pt>
          <cx:pt idx="220">3.7999999999999998</cx:pt>
          <cx:pt idx="221">4</cx:pt>
          <cx:pt idx="222">3.7000000000000002</cx:pt>
          <cx:pt idx="223">3.7000000000000002</cx:pt>
          <cx:pt idx="224">3.7000000000000002</cx:pt>
          <cx:pt idx="225">4</cx:pt>
          <cx:pt idx="226">3.7000000000000002</cx:pt>
          <cx:pt idx="227">3.7000000000000002</cx:pt>
          <cx:pt idx="228">3</cx:pt>
          <cx:pt idx="229">3.6000000000000001</cx:pt>
          <cx:pt idx="230">3.8999999999999999</cx:pt>
          <cx:pt idx="231">3.5</cx:pt>
          <cx:pt idx="232">3.6000000000000001</cx:pt>
          <cx:pt idx="233">3.5</cx:pt>
          <cx:pt idx="234">3.7000000000000002</cx:pt>
          <cx:pt idx="235">3.5</cx:pt>
          <cx:pt idx="236">3.7999999999999998</cx:pt>
          <cx:pt idx="237">3.2000000000000002</cx:pt>
          <cx:pt idx="238">3.2999999999999998</cx:pt>
          <cx:pt idx="239">3.3999999999999999</cx:pt>
          <cx:pt idx="240">3.8999999999999999</cx:pt>
          <cx:pt idx="241">3.5</cx:pt>
          <cx:pt idx="242">3.8999999999999999</cx:pt>
          <cx:pt idx="243">3.7999999999999998</cx:pt>
          <cx:pt idx="244">4</cx:pt>
          <cx:pt idx="245">3.8999999999999999</cx:pt>
          <cx:pt idx="246">3.7999999999999998</cx:pt>
          <cx:pt idx="247">3.7000000000000002</cx:pt>
          <cx:pt idx="248">3.7999999999999998</cx:pt>
          <cx:pt idx="249">3.7000000000000002</cx:pt>
          <cx:pt idx="250">3.8999999999999999</cx:pt>
          <cx:pt idx="251">3.6000000000000001</cx:pt>
          <cx:pt idx="252">3.5</cx:pt>
          <cx:pt idx="253">3.6000000000000001</cx:pt>
          <cx:pt idx="254">3.7000000000000002</cx:pt>
          <cx:pt idx="255">3.6000000000000001</cx:pt>
          <cx:pt idx="256">3.8999999999999999</cx:pt>
          <cx:pt idx="257">3.3999999999999999</cx:pt>
          <cx:pt idx="258">3.2000000000000002</cx:pt>
          <cx:pt idx="259">3.2000000000000002</cx:pt>
          <cx:pt idx="260">0</cx:pt>
          <cx:pt idx="261">0</cx:pt>
          <cx:pt idx="262">3.7999999999999998</cx:pt>
          <cx:pt idx="263">3.7000000000000002</cx:pt>
          <cx:pt idx="264">3.5</cx:pt>
          <cx:pt idx="265">3.3999999999999999</cx:pt>
          <cx:pt idx="266">3.2000000000000002</cx:pt>
          <cx:pt idx="267">3.2000000000000002</cx:pt>
          <cx:pt idx="268">0</cx:pt>
          <cx:pt idx="269">3.3999999999999999</cx:pt>
          <cx:pt idx="270">3.2000000000000002</cx:pt>
          <cx:pt idx="271">3.6000000000000001</cx:pt>
          <cx:pt idx="272">3.6000000000000001</cx:pt>
          <cx:pt idx="273">3.7000000000000002</cx:pt>
          <cx:pt idx="274">3.7000000000000002</cx:pt>
          <cx:pt idx="275">3.7999999999999998</cx:pt>
          <cx:pt idx="276">3.5</cx:pt>
          <cx:pt idx="277">3.6000000000000001</cx:pt>
          <cx:pt idx="278">3.3999999999999999</cx:pt>
          <cx:pt idx="279">3.1000000000000001</cx:pt>
          <cx:pt idx="280">3.6000000000000001</cx:pt>
          <cx:pt idx="281">3.2999999999999998</cx:pt>
          <cx:pt idx="282">3.3999999999999999</cx:pt>
          <cx:pt idx="283">3.3999999999999999</cx:pt>
          <cx:pt idx="284">3.3999999999999999</cx:pt>
          <cx:pt idx="285">3.3999999999999999</cx:pt>
          <cx:pt idx="286">3.3999999999999999</cx:pt>
          <cx:pt idx="287">3.2999999999999998</cx:pt>
          <cx:pt idx="288">3</cx:pt>
          <cx:pt idx="289">0</cx:pt>
          <cx:pt idx="290">3</cx:pt>
          <cx:pt idx="291">0</cx:pt>
          <cx:pt idx="292">3</cx:pt>
          <cx:pt idx="293">3.2000000000000002</cx:pt>
          <cx:pt idx="294">0</cx:pt>
          <cx:pt idx="295">0</cx:pt>
          <cx:pt idx="296">0</cx:pt>
          <cx:pt idx="297">0</cx:pt>
          <cx:pt idx="298">0</cx:pt>
          <cx:pt idx="299">0</cx:pt>
          <cx:pt idx="300">0</cx:pt>
          <cx:pt idx="301">0</cx:pt>
          <cx:pt idx="302">0</cx:pt>
          <cx:pt idx="303">0</cx:pt>
          <cx:pt idx="304">0</cx:pt>
          <cx:pt idx="305">3.3999999999999999</cx:pt>
          <cx:pt idx="306">3.7999999999999998</cx:pt>
          <cx:pt idx="307">3.5</cx:pt>
          <cx:pt idx="308">3.5</cx:pt>
          <cx:pt idx="309">3.5</cx:pt>
          <cx:pt idx="310">3.5</cx:pt>
          <cx:pt idx="311">3.3999999999999999</cx:pt>
          <cx:pt idx="312">3.2999999999999998</cx:pt>
          <cx:pt idx="313">3.2000000000000002</cx:pt>
          <cx:pt idx="314">3</cx:pt>
          <cx:pt idx="315">3</cx:pt>
          <cx:pt idx="316">0</cx:pt>
          <cx:pt idx="317">0</cx:pt>
          <cx:pt idx="318">3.5</cx:pt>
          <cx:pt idx="319">3</cx:pt>
          <cx:pt idx="320">3.5</cx:pt>
          <cx:pt idx="321">3</cx:pt>
          <cx:pt idx="322">3.3999999999999999</cx:pt>
          <cx:pt idx="323">3.7999999999999998</cx:pt>
          <cx:pt idx="324">3.6000000000000001</cx:pt>
          <cx:pt idx="325">3.6000000000000001</cx:pt>
          <cx:pt idx="326">3.6000000000000001</cx:pt>
          <cx:pt idx="327">3.6000000000000001</cx:pt>
          <cx:pt idx="328">3.5</cx:pt>
          <cx:pt idx="329">3.5</cx:pt>
          <cx:pt idx="330">3.2999999999999998</cx:pt>
          <cx:pt idx="331">0</cx:pt>
          <cx:pt idx="332">4.5</cx:pt>
          <cx:pt idx="333">4.5999999999999996</cx:pt>
          <cx:pt idx="334">4.4000000000000004</cx:pt>
          <cx:pt idx="335">4.7000000000000002</cx:pt>
          <cx:pt idx="336">4.2999999999999998</cx:pt>
          <cx:pt idx="337">4.2999999999999998</cx:pt>
          <cx:pt idx="338">4</cx:pt>
          <cx:pt idx="339">4.2000000000000002</cx:pt>
          <cx:pt idx="340">4.2000000000000002</cx:pt>
          <cx:pt idx="341">3.1000000000000001</cx:pt>
          <cx:pt idx="342">4.0999999999999996</cx:pt>
          <cx:pt idx="343">4.5</cx:pt>
          <cx:pt idx="344">4.2000000000000002</cx:pt>
          <cx:pt idx="345">4.7999999999999998</cx:pt>
          <cx:pt idx="346">4.2000000000000002</cx:pt>
          <cx:pt idx="347">4.0999999999999996</cx:pt>
          <cx:pt idx="348">4.4000000000000004</cx:pt>
          <cx:pt idx="349">4.5</cx:pt>
          <cx:pt idx="350">3.7000000000000002</cx:pt>
          <cx:pt idx="351">4</cx:pt>
          <cx:pt idx="352">4.0999999999999996</cx:pt>
          <cx:pt idx="353">3.8999999999999999</cx:pt>
          <cx:pt idx="354">3.8999999999999999</cx:pt>
          <cx:pt idx="355">4.5</cx:pt>
          <cx:pt idx="356">4.5999999999999996</cx:pt>
          <cx:pt idx="357">3.5</cx:pt>
          <cx:pt idx="358">4.5</cx:pt>
          <cx:pt idx="359">3.7999999999999998</cx:pt>
          <cx:pt idx="360">4</cx:pt>
          <cx:pt idx="361">4.0999999999999996</cx:pt>
          <cx:pt idx="362">4.0999999999999996</cx:pt>
          <cx:pt idx="363">4.5</cx:pt>
          <cx:pt idx="364">4.5999999999999996</cx:pt>
          <cx:pt idx="365">4.2999999999999998</cx:pt>
          <cx:pt idx="366">4</cx:pt>
          <cx:pt idx="367">4.4000000000000004</cx:pt>
          <cx:pt idx="368">3.6000000000000001</cx:pt>
          <cx:pt idx="369">4</cx:pt>
          <cx:pt idx="370">4</cx:pt>
          <cx:pt idx="371">4.0999999999999996</cx:pt>
          <cx:pt idx="372">4.5</cx:pt>
          <cx:pt idx="373">4.2000000000000002</cx:pt>
          <cx:pt idx="374">4.2999999999999998</cx:pt>
          <cx:pt idx="375">4.0999999999999996</cx:pt>
          <cx:pt idx="376">4.2000000000000002</cx:pt>
          <cx:pt idx="377">4</cx:pt>
          <cx:pt idx="378">4.2999999999999998</cx:pt>
          <cx:pt idx="379">4.2000000000000002</cx:pt>
          <cx:pt idx="380">3.3999999999999999</cx:pt>
          <cx:pt idx="381">4.2000000000000002</cx:pt>
          <cx:pt idx="382">4.0999999999999996</cx:pt>
          <cx:pt idx="383">3.8999999999999999</cx:pt>
          <cx:pt idx="384">4</cx:pt>
          <cx:pt idx="385">3.8999999999999999</cx:pt>
          <cx:pt idx="386">4.2999999999999998</cx:pt>
          <cx:pt idx="387">3.7000000000000002</cx:pt>
          <cx:pt idx="388">4.2000000000000002</cx:pt>
          <cx:pt idx="389">4.2000000000000002</cx:pt>
          <cx:pt idx="390">4.0999999999999996</cx:pt>
          <cx:pt idx="391">4.0999999999999996</cx:pt>
          <cx:pt idx="392">4.0999999999999996</cx:pt>
          <cx:pt idx="393">3.8999999999999999</cx:pt>
          <cx:pt idx="394">3.6000000000000001</cx:pt>
          <cx:pt idx="395">4</cx:pt>
          <cx:pt idx="396">3.8999999999999999</cx:pt>
          <cx:pt idx="397">3.8999999999999999</cx:pt>
          <cx:pt idx="398">3.7000000000000002</cx:pt>
          <cx:pt idx="399">3.8999999999999999</cx:pt>
          <cx:pt idx="400">3.5</cx:pt>
          <cx:pt idx="401">3.7000000000000002</cx:pt>
          <cx:pt idx="402">3.5</cx:pt>
          <cx:pt idx="403">4.0999999999999996</cx:pt>
          <cx:pt idx="404">4.5999999999999996</cx:pt>
          <cx:pt idx="405">3.8999999999999999</cx:pt>
          <cx:pt idx="406">3.7000000000000002</cx:pt>
          <cx:pt idx="407">4.2000000000000002</cx:pt>
          <cx:pt idx="408">3.8999999999999999</cx:pt>
          <cx:pt idx="409">2.8999999999999999</cx:pt>
          <cx:pt idx="410">3.7999999999999998</cx:pt>
          <cx:pt idx="411">3.7999999999999998</cx:pt>
          <cx:pt idx="412">3.8999999999999999</cx:pt>
          <cx:pt idx="413">3.3999999999999999</cx:pt>
          <cx:pt idx="414">3.1000000000000001</cx:pt>
          <cx:pt idx="415">4.2000000000000002</cx:pt>
          <cx:pt idx="416">4.4000000000000004</cx:pt>
          <cx:pt idx="417">4</cx:pt>
          <cx:pt idx="418">4.4000000000000004</cx:pt>
          <cx:pt idx="419">4.2999999999999998</cx:pt>
          <cx:pt idx="420">3.8999999999999999</cx:pt>
          <cx:pt idx="421">3.8999999999999999</cx:pt>
          <cx:pt idx="422">4.2999999999999998</cx:pt>
          <cx:pt idx="423">3.8999999999999999</cx:pt>
          <cx:pt idx="424">3.7000000000000002</cx:pt>
          <cx:pt idx="425">3.3999999999999999</cx:pt>
          <cx:pt idx="426">3.7000000000000002</cx:pt>
          <cx:pt idx="427">3.3999999999999999</cx:pt>
          <cx:pt idx="428">3.2000000000000002</cx:pt>
          <cx:pt idx="429">3.2999999999999998</cx:pt>
          <cx:pt idx="430">4.4000000000000004</cx:pt>
          <cx:pt idx="431">3.7999999999999998</cx:pt>
          <cx:pt idx="432">4.0999999999999996</cx:pt>
          <cx:pt idx="433">4</cx:pt>
          <cx:pt idx="434">4.4000000000000004</cx:pt>
          <cx:pt idx="435">4.4000000000000004</cx:pt>
          <cx:pt idx="436">4.4000000000000004</cx:pt>
          <cx:pt idx="437">4.4000000000000004</cx:pt>
          <cx:pt idx="438">4.4000000000000004</cx:pt>
          <cx:pt idx="439">4.4000000000000004</cx:pt>
          <cx:pt idx="440">2.2999999999999998</cx:pt>
          <cx:pt idx="441">2.3999999999999999</cx:pt>
          <cx:pt idx="442">2.5</cx:pt>
          <cx:pt idx="443">2.5</cx:pt>
          <cx:pt idx="444">2.5</cx:pt>
          <cx:pt idx="445">2.5</cx:pt>
          <cx:pt idx="446">2.5</cx:pt>
          <cx:pt idx="447">2.5</cx:pt>
          <cx:pt idx="448">2.6000000000000001</cx:pt>
          <cx:pt idx="449">2.6000000000000001</cx:pt>
          <cx:pt idx="450">2.6000000000000001</cx:pt>
          <cx:pt idx="451">2.6000000000000001</cx:pt>
          <cx:pt idx="452">2.6000000000000001</cx:pt>
          <cx:pt idx="453">2.6000000000000001</cx:pt>
          <cx:pt idx="454">2.6000000000000001</cx:pt>
          <cx:pt idx="455">2.6000000000000001</cx:pt>
          <cx:pt idx="456">2.6000000000000001</cx:pt>
          <cx:pt idx="457">2.6000000000000001</cx:pt>
          <cx:pt idx="458">2.6000000000000001</cx:pt>
          <cx:pt idx="459">2.6000000000000001</cx:pt>
          <cx:pt idx="460">2.6000000000000001</cx:pt>
          <cx:pt idx="461">2.6000000000000001</cx:pt>
          <cx:pt idx="462">2.6000000000000001</cx:pt>
          <cx:pt idx="463">2.6000000000000001</cx:pt>
          <cx:pt idx="464">2.6000000000000001</cx:pt>
          <cx:pt idx="465">2.6000000000000001</cx:pt>
          <cx:pt idx="466">2.7000000000000002</cx:pt>
          <cx:pt idx="467">2.7000000000000002</cx:pt>
          <cx:pt idx="468">2.7000000000000002</cx:pt>
          <cx:pt idx="469">2.7000000000000002</cx:pt>
          <cx:pt idx="470">2.7000000000000002</cx:pt>
          <cx:pt idx="471">2.7000000000000002</cx:pt>
          <cx:pt idx="472">2.7000000000000002</cx:pt>
          <cx:pt idx="473">4</cx:pt>
          <cx:pt idx="474">3.7999999999999998</cx:pt>
          <cx:pt idx="475">4.2000000000000002</cx:pt>
          <cx:pt idx="476">4.2000000000000002</cx:pt>
          <cx:pt idx="477">4.0999999999999996</cx:pt>
          <cx:pt idx="478">4.2000000000000002</cx:pt>
          <cx:pt idx="479">4</cx:pt>
          <cx:pt idx="480">3.7000000000000002</cx:pt>
          <cx:pt idx="481">4</cx:pt>
          <cx:pt idx="482">4.2999999999999998</cx:pt>
          <cx:pt idx="483">4.2999999999999998</cx:pt>
          <cx:pt idx="484">4.2999999999999998</cx:pt>
          <cx:pt idx="485">4.0999999999999996</cx:pt>
          <cx:pt idx="486">4</cx:pt>
          <cx:pt idx="487">4.2000000000000002</cx:pt>
          <cx:pt idx="488">3.8999999999999999</cx:pt>
          <cx:pt idx="489">3.7999999999999998</cx:pt>
          <cx:pt idx="490">4.2000000000000002</cx:pt>
          <cx:pt idx="491">3.6000000000000001</cx:pt>
          <cx:pt idx="492">4.2000000000000002</cx:pt>
          <cx:pt idx="493">4.2999999999999998</cx:pt>
          <cx:pt idx="494">3.8999999999999999</cx:pt>
          <cx:pt idx="495">4.2999999999999998</cx:pt>
          <cx:pt idx="496">3.8999999999999999</cx:pt>
          <cx:pt idx="497">4.0999999999999996</cx:pt>
          <cx:pt idx="498">3.8999999999999999</cx:pt>
          <cx:pt idx="499">2.8999999999999999</cx:pt>
          <cx:pt idx="500">3.8999999999999999</cx:pt>
          <cx:pt idx="501">3.3999999999999999</cx:pt>
          <cx:pt idx="502">4.2999999999999998</cx:pt>
          <cx:pt idx="503">3.5</cx:pt>
          <cx:pt idx="504">4.0999999999999996</cx:pt>
          <cx:pt idx="505">4</cx:pt>
          <cx:pt idx="506">3.7999999999999998</cx:pt>
          <cx:pt idx="507">4</cx:pt>
          <cx:pt idx="508">3.7000000000000002</cx:pt>
          <cx:pt idx="509">3.6000000000000001</cx:pt>
          <cx:pt idx="510">3.2000000000000002</cx:pt>
          <cx:pt idx="511">3.2000000000000002</cx:pt>
          <cx:pt idx="512">3.7000000000000002</cx:pt>
          <cx:pt idx="513">3.8999999999999999</cx:pt>
          <cx:pt idx="514">3.7999999999999998</cx:pt>
          <cx:pt idx="515">4.2000000000000002</cx:pt>
          <cx:pt idx="516">3.3999999999999999</cx:pt>
          <cx:pt idx="517">3.3999999999999999</cx:pt>
          <cx:pt idx="518">3.6000000000000001</cx:pt>
          <cx:pt idx="519">3.7000000000000002</cx:pt>
          <cx:pt idx="520">2.8999999999999999</cx:pt>
          <cx:pt idx="521">3.8999999999999999</cx:pt>
          <cx:pt idx="522">3.7999999999999998</cx:pt>
          <cx:pt idx="523">3.7000000000000002</cx:pt>
          <cx:pt idx="524">2.7000000000000002</cx:pt>
          <cx:pt idx="525">3.6000000000000001</cx:pt>
          <cx:pt idx="526">3.6000000000000001</cx:pt>
          <cx:pt idx="527">3.5</cx:pt>
          <cx:pt idx="528">3.6000000000000001</cx:pt>
          <cx:pt idx="529">3.5</cx:pt>
          <cx:pt idx="530">3.5</cx:pt>
          <cx:pt idx="531">3.6000000000000001</cx:pt>
          <cx:pt idx="532">3.5</cx:pt>
          <cx:pt idx="533">3.5</cx:pt>
          <cx:pt idx="534">3.2000000000000002</cx:pt>
          <cx:pt idx="535">3</cx:pt>
          <cx:pt idx="536">3.2999999999999998</cx:pt>
          <cx:pt idx="537">3.1000000000000001</cx:pt>
          <cx:pt idx="538">2.8999999999999999</cx:pt>
          <cx:pt idx="539">3</cx:pt>
          <cx:pt idx="540">3.1000000000000001</cx:pt>
          <cx:pt idx="541">0</cx:pt>
          <cx:pt idx="542">3</cx:pt>
          <cx:pt idx="543">2.8999999999999999</cx:pt>
          <cx:pt idx="544">2.8999999999999999</cx:pt>
          <cx:pt idx="545">0</cx:pt>
          <cx:pt idx="546">0</cx:pt>
          <cx:pt idx="547">0</cx:pt>
          <cx:pt idx="548">0</cx:pt>
          <cx:pt idx="549">0</cx:pt>
          <cx:pt idx="550">0</cx:pt>
          <cx:pt idx="551">0</cx:pt>
          <cx:pt idx="552">0</cx:pt>
          <cx:pt idx="553">0</cx:pt>
          <cx:pt idx="554">0</cx:pt>
          <cx:pt idx="555">0</cx:pt>
          <cx:pt idx="556">0</cx:pt>
          <cx:pt idx="557">0</cx:pt>
          <cx:pt idx="558">0</cx:pt>
          <cx:pt idx="559">0</cx:pt>
          <cx:pt idx="560">0</cx:pt>
          <cx:pt idx="561">0</cx:pt>
          <cx:pt idx="562">0</cx:pt>
          <cx:pt idx="563">0</cx:pt>
          <cx:pt idx="564">4</cx:pt>
          <cx:pt idx="565">4</cx:pt>
          <cx:pt idx="566">4</cx:pt>
          <cx:pt idx="567">4.2000000000000002</cx:pt>
          <cx:pt idx="568">4.0999999999999996</cx:pt>
          <cx:pt idx="569">3.3999999999999999</cx:pt>
          <cx:pt idx="570">3.7999999999999998</cx:pt>
          <cx:pt idx="571">3.7999999999999998</cx:pt>
          <cx:pt idx="572">3.8999999999999999</cx:pt>
          <cx:pt idx="573">3.7000000000000002</cx:pt>
          <cx:pt idx="574">4.2999999999999998</cx:pt>
          <cx:pt idx="575">3.8999999999999999</cx:pt>
          <cx:pt idx="576">4.0999999999999996</cx:pt>
          <cx:pt idx="577">3.7000000000000002</cx:pt>
          <cx:pt idx="578">3.7999999999999998</cx:pt>
          <cx:pt idx="579">3</cx:pt>
          <cx:pt idx="580">3.3999999999999999</cx:pt>
          <cx:pt idx="581">3.3999999999999999</cx:pt>
          <cx:pt idx="582">3.6000000000000001</cx:pt>
          <cx:pt idx="583">3.2999999999999998</cx:pt>
          <cx:pt idx="584">3.5</cx:pt>
          <cx:pt idx="585">3.3999999999999999</cx:pt>
          <cx:pt idx="586">4</cx:pt>
          <cx:pt idx="587">3.7999999999999998</cx:pt>
          <cx:pt idx="588">3.2000000000000002</cx:pt>
          <cx:pt idx="589">3</cx:pt>
          <cx:pt idx="590">3.1000000000000001</cx:pt>
          <cx:pt idx="591">3.2000000000000002</cx:pt>
          <cx:pt idx="592">0</cx:pt>
          <cx:pt idx="593">0</cx:pt>
          <cx:pt idx="594">0</cx:pt>
          <cx:pt idx="595">3.7999999999999998</cx:pt>
          <cx:pt idx="596">3.5</cx:pt>
          <cx:pt idx="597">3.6000000000000001</cx:pt>
          <cx:pt idx="598">3.2999999999999998</cx:pt>
          <cx:pt idx="599">3.2999999999999998</cx:pt>
          <cx:pt idx="600">3.2999999999999998</cx:pt>
          <cx:pt idx="601">3.1000000000000001</cx:pt>
          <cx:pt idx="602">3.1000000000000001</cx:pt>
          <cx:pt idx="603">2.8999999999999999</cx:pt>
          <cx:pt idx="604">3</cx:pt>
          <cx:pt idx="605">0</cx:pt>
          <cx:pt idx="606">0</cx:pt>
          <cx:pt idx="607">0</cx:pt>
          <cx:pt idx="608">0</cx:pt>
          <cx:pt idx="609">0</cx:pt>
          <cx:pt idx="610">0</cx:pt>
          <cx:pt idx="611">0</cx:pt>
          <cx:pt idx="612">0</cx:pt>
          <cx:pt idx="613">0</cx:pt>
          <cx:pt idx="614">0</cx:pt>
          <cx:pt idx="615">0</cx:pt>
          <cx:pt idx="616">0</cx:pt>
          <cx:pt idx="617">0</cx:pt>
          <cx:pt idx="618">0</cx:pt>
          <cx:pt idx="619">0</cx:pt>
          <cx:pt idx="620">0</cx:pt>
          <cx:pt idx="621">0</cx:pt>
          <cx:pt idx="622">0</cx:pt>
          <cx:pt idx="623">0</cx:pt>
          <cx:pt idx="624">0</cx:pt>
          <cx:pt idx="625">3.6000000000000001</cx:pt>
          <cx:pt idx="626">3.8999999999999999</cx:pt>
          <cx:pt idx="627">3.5</cx:pt>
          <cx:pt idx="628">3.5</cx:pt>
          <cx:pt idx="629">3.5</cx:pt>
          <cx:pt idx="630">3.2999999999999998</cx:pt>
          <cx:pt idx="631">3.2999999999999998</cx:pt>
          <cx:pt idx="632">3</cx:pt>
          <cx:pt idx="633">0</cx:pt>
          <cx:pt idx="634">3.1000000000000001</cx:pt>
          <cx:pt idx="635">3.2999999999999998</cx:pt>
          <cx:pt idx="636">3.2000000000000002</cx:pt>
          <cx:pt idx="637">3.2000000000000002</cx:pt>
          <cx:pt idx="638">2.8999999999999999</cx:pt>
          <cx:pt idx="639">3.2000000000000002</cx:pt>
          <cx:pt idx="640">3</cx:pt>
          <cx:pt idx="641">0</cx:pt>
          <cx:pt idx="642">0</cx:pt>
          <cx:pt idx="643">0</cx:pt>
          <cx:pt idx="644">0</cx:pt>
          <cx:pt idx="645">2.8999999999999999</cx:pt>
          <cx:pt idx="646">0</cx:pt>
          <cx:pt idx="647">0</cx:pt>
          <cx:pt idx="648">0</cx:pt>
          <cx:pt idx="649">0</cx:pt>
          <cx:pt idx="650">3.7999999999999998</cx:pt>
          <cx:pt idx="651">3.5</cx:pt>
          <cx:pt idx="652">3.2999999999999998</cx:pt>
          <cx:pt idx="653">2.8999999999999999</cx:pt>
          <cx:pt idx="654">3.2000000000000002</cx:pt>
          <cx:pt idx="655">3</cx:pt>
          <cx:pt idx="656">0</cx:pt>
          <cx:pt idx="657">0</cx:pt>
          <cx:pt idx="658">0</cx:pt>
          <cx:pt idx="659">3.8999999999999999</cx:pt>
          <cx:pt idx="660">4</cx:pt>
          <cx:pt idx="661">4</cx:pt>
          <cx:pt idx="662">4.2000000000000002</cx:pt>
          <cx:pt idx="663">3.7999999999999998</cx:pt>
          <cx:pt idx="664">3.7999999999999998</cx:pt>
          <cx:pt idx="665">4.0999999999999996</cx:pt>
          <cx:pt idx="666">3.7000000000000002</cx:pt>
          <cx:pt idx="667">3.8999999999999999</cx:pt>
          <cx:pt idx="668">3.3999999999999999</cx:pt>
          <cx:pt idx="669">3.3999999999999999</cx:pt>
          <cx:pt idx="670">4.0999999999999996</cx:pt>
          <cx:pt idx="671">3.6000000000000001</cx:pt>
          <cx:pt idx="672">3.8999999999999999</cx:pt>
          <cx:pt idx="673">4</cx:pt>
          <cx:pt idx="674">3.6000000000000001</cx:pt>
          <cx:pt idx="675">3.8999999999999999</cx:pt>
          <cx:pt idx="676">4.0999999999999996</cx:pt>
          <cx:pt idx="677">4</cx:pt>
          <cx:pt idx="678">3.8999999999999999</cx:pt>
          <cx:pt idx="679">3.6000000000000001</cx:pt>
          <cx:pt idx="680">3.6000000000000001</cx:pt>
          <cx:pt idx="681">3.5</cx:pt>
          <cx:pt idx="682">3.5</cx:pt>
          <cx:pt idx="683">3.7999999999999998</cx:pt>
          <cx:pt idx="684">3.5</cx:pt>
          <cx:pt idx="685">3.8999999999999999</cx:pt>
          <cx:pt idx="686">3.5</cx:pt>
          <cx:pt idx="687">4</cx:pt>
          <cx:pt idx="688">3.7999999999999998</cx:pt>
          <cx:pt idx="689">3.8999999999999999</cx:pt>
          <cx:pt idx="690">3.2000000000000002</cx:pt>
          <cx:pt idx="691">3.2000000000000002</cx:pt>
          <cx:pt idx="692">4.2000000000000002</cx:pt>
          <cx:pt idx="693">3.2999999999999998</cx:pt>
          <cx:pt idx="694">4.0999999999999996</cx:pt>
          <cx:pt idx="695">3.8999999999999999</cx:pt>
          <cx:pt idx="696">3.6000000000000001</cx:pt>
          <cx:pt idx="697">3.8999999999999999</cx:pt>
          <cx:pt idx="698">3.7000000000000002</cx:pt>
          <cx:pt idx="699">4</cx:pt>
          <cx:pt idx="700">4.2999999999999998</cx:pt>
          <cx:pt idx="701">3.8999999999999999</cx:pt>
          <cx:pt idx="702">4.2000000000000002</cx:pt>
          <cx:pt idx="703">3.8999999999999999</cx:pt>
          <cx:pt idx="704">4</cx:pt>
          <cx:pt idx="705">3.7999999999999998</cx:pt>
          <cx:pt idx="706">4</cx:pt>
          <cx:pt idx="707">4</cx:pt>
          <cx:pt idx="708">3.7999999999999998</cx:pt>
          <cx:pt idx="709">4</cx:pt>
          <cx:pt idx="710">3.7000000000000002</cx:pt>
          <cx:pt idx="711">3.8999999999999999</cx:pt>
          <cx:pt idx="712">4.2999999999999998</cx:pt>
          <cx:pt idx="713">4.2000000000000002</cx:pt>
          <cx:pt idx="714">3.8999999999999999</cx:pt>
          <cx:pt idx="715">3.6000000000000001</cx:pt>
          <cx:pt idx="716">3.7000000000000002</cx:pt>
          <cx:pt idx="717">3.7999999999999998</cx:pt>
          <cx:pt idx="718">4.2000000000000002</cx:pt>
          <cx:pt idx="719">3.8999999999999999</cx:pt>
          <cx:pt idx="720">4.2000000000000002</cx:pt>
          <cx:pt idx="721">4.2000000000000002</cx:pt>
          <cx:pt idx="722">4.2000000000000002</cx:pt>
          <cx:pt idx="723">3.7999999999999998</cx:pt>
          <cx:pt idx="724">4</cx:pt>
          <cx:pt idx="725">4</cx:pt>
          <cx:pt idx="726">3.8999999999999999</cx:pt>
          <cx:pt idx="727">3.7999999999999998</cx:pt>
          <cx:pt idx="728">3.8999999999999999</cx:pt>
          <cx:pt idx="729">3.7000000000000002</cx:pt>
          <cx:pt idx="730">3.7999999999999998</cx:pt>
          <cx:pt idx="731">4.2000000000000002</cx:pt>
          <cx:pt idx="732">4</cx:pt>
          <cx:pt idx="733">3.7999999999999998</cx:pt>
          <cx:pt idx="734">3.1000000000000001</cx:pt>
          <cx:pt idx="735">3.8999999999999999</cx:pt>
          <cx:pt idx="736">4.7999999999999998</cx:pt>
          <cx:pt idx="737">4.5999999999999996</cx:pt>
          <cx:pt idx="738">4.2000000000000002</cx:pt>
          <cx:pt idx="739">4.0999999999999996</cx:pt>
          <cx:pt idx="740">3.7999999999999998</cx:pt>
          <cx:pt idx="741">4.2999999999999998</cx:pt>
          <cx:pt idx="742">4.2000000000000002</cx:pt>
          <cx:pt idx="743">4.2999999999999998</cx:pt>
          <cx:pt idx="744">4.2000000000000002</cx:pt>
          <cx:pt idx="745">4.5</cx:pt>
          <cx:pt idx="746">4.2000000000000002</cx:pt>
          <cx:pt idx="747">3.2000000000000002</cx:pt>
          <cx:pt idx="748">4.2999999999999998</cx:pt>
          <cx:pt idx="749">4</cx:pt>
          <cx:pt idx="750">3.8999999999999999</cx:pt>
          <cx:pt idx="751">4</cx:pt>
          <cx:pt idx="752">3.7999999999999998</cx:pt>
          <cx:pt idx="753">4.2999999999999998</cx:pt>
          <cx:pt idx="754">3.8999999999999999</cx:pt>
          <cx:pt idx="755">4.0999999999999996</cx:pt>
          <cx:pt idx="756">4</cx:pt>
          <cx:pt idx="757">4</cx:pt>
          <cx:pt idx="758">4.0999999999999996</cx:pt>
          <cx:pt idx="759">3.6000000000000001</cx:pt>
          <cx:pt idx="760">3</cx:pt>
          <cx:pt idx="761">4</cx:pt>
          <cx:pt idx="762">3.7999999999999998</cx:pt>
          <cx:pt idx="763">3.7999999999999998</cx:pt>
          <cx:pt idx="764">2.5</cx:pt>
          <cx:pt idx="765">3.8999999999999999</cx:pt>
          <cx:pt idx="766">4.4000000000000004</cx:pt>
          <cx:pt idx="767">3.7000000000000002</cx:pt>
          <cx:pt idx="768">4</cx:pt>
          <cx:pt idx="769">4</cx:pt>
          <cx:pt idx="770">3.8999999999999999</cx:pt>
          <cx:pt idx="771">3.7999999999999998</cx:pt>
          <cx:pt idx="772">3.6000000000000001</cx:pt>
          <cx:pt idx="773">3.5</cx:pt>
          <cx:pt idx="774">3.5</cx:pt>
          <cx:pt idx="775">3.7000000000000002</cx:pt>
          <cx:pt idx="776">3.7000000000000002</cx:pt>
          <cx:pt idx="777">3.7999999999999998</cx:pt>
          <cx:pt idx="778">3.2999999999999998</cx:pt>
          <cx:pt idx="779">3.7000000000000002</cx:pt>
          <cx:pt idx="780">3.5</cx:pt>
          <cx:pt idx="781">2.7999999999999998</cx:pt>
          <cx:pt idx="782">3.7000000000000002</cx:pt>
          <cx:pt idx="783">3.7999999999999998</cx:pt>
          <cx:pt idx="784">3.3999999999999999</cx:pt>
          <cx:pt idx="785">3.8999999999999999</cx:pt>
          <cx:pt idx="786">3.8999999999999999</cx:pt>
          <cx:pt idx="787">3.5</cx:pt>
          <cx:pt idx="788">3.7999999999999998</cx:pt>
          <cx:pt idx="789">3.3999999999999999</cx:pt>
          <cx:pt idx="790">3.7000000000000002</cx:pt>
          <cx:pt idx="791">2.7999999999999998</cx:pt>
          <cx:pt idx="792">3.7999999999999998</cx:pt>
          <cx:pt idx="793">3.6000000000000001</cx:pt>
          <cx:pt idx="794">3.5</cx:pt>
          <cx:pt idx="795">2.8999999999999999</cx:pt>
          <cx:pt idx="796">3.7999999999999998</cx:pt>
          <cx:pt idx="797">3.7999999999999998</cx:pt>
          <cx:pt idx="798">3.7000000000000002</cx:pt>
          <cx:pt idx="799">3.5</cx:pt>
          <cx:pt idx="800">3.6000000000000001</cx:pt>
          <cx:pt idx="801">3.6000000000000001</cx:pt>
          <cx:pt idx="802">3.7000000000000002</cx:pt>
          <cx:pt idx="803">3.6000000000000001</cx:pt>
          <cx:pt idx="804">3.2000000000000002</cx:pt>
          <cx:pt idx="805">3.5</cx:pt>
          <cx:pt idx="806">3.3999999999999999</cx:pt>
          <cx:pt idx="807">3.6000000000000001</cx:pt>
          <cx:pt idx="808">3.2000000000000002</cx:pt>
          <cx:pt idx="809">3.2999999999999998</cx:pt>
          <cx:pt idx="810">0</cx:pt>
          <cx:pt idx="811">0</cx:pt>
          <cx:pt idx="812">3.7999999999999998</cx:pt>
          <cx:pt idx="813">4</cx:pt>
          <cx:pt idx="814">3.2999999999999998</cx:pt>
          <cx:pt idx="815">3.3999999999999999</cx:pt>
          <cx:pt idx="816">3.2999999999999998</cx:pt>
          <cx:pt idx="817">3.2999999999999998</cx:pt>
          <cx:pt idx="818">3.3999999999999999</cx:pt>
          <cx:pt idx="819">3.3999999999999999</cx:pt>
          <cx:pt idx="820">2.8999999999999999</cx:pt>
          <cx:pt idx="821">2.6000000000000001</cx:pt>
          <cx:pt idx="822">3.2000000000000002</cx:pt>
          <cx:pt idx="823">2.8999999999999999</cx:pt>
          <cx:pt idx="824">3.2999999999999998</cx:pt>
          <cx:pt idx="825">3.1000000000000001</cx:pt>
          <cx:pt idx="826">3.2999999999999998</cx:pt>
          <cx:pt idx="827">3.2000000000000002</cx:pt>
          <cx:pt idx="828">2.8999999999999999</cx:pt>
          <cx:pt idx="829">3.2999999999999998</cx:pt>
          <cx:pt idx="830">2.7999999999999998</cx:pt>
          <cx:pt idx="831">3.2000000000000002</cx:pt>
          <cx:pt idx="832">0</cx:pt>
          <cx:pt idx="833">0</cx:pt>
          <cx:pt idx="834">0</cx:pt>
          <cx:pt idx="835">0</cx:pt>
          <cx:pt idx="836">0</cx:pt>
          <cx:pt idx="837">2.7999999999999998</cx:pt>
          <cx:pt idx="838">0</cx:pt>
          <cx:pt idx="839">0</cx:pt>
          <cx:pt idx="840">0</cx:pt>
          <cx:pt idx="841">0</cx:pt>
          <cx:pt idx="842">0</cx:pt>
          <cx:pt idx="843">2.6000000000000001</cx:pt>
          <cx:pt idx="844">3.6000000000000001</cx:pt>
          <cx:pt idx="845">3.6000000000000001</cx:pt>
          <cx:pt idx="846">3</cx:pt>
          <cx:pt idx="847">3</cx:pt>
          <cx:pt idx="848">3.5</cx:pt>
          <cx:pt idx="849">3.5</cx:pt>
          <cx:pt idx="850">0</cx:pt>
          <cx:pt idx="851">0</cx:pt>
          <cx:pt idx="852">3.2000000000000002</cx:pt>
          <cx:pt idx="853">0</cx:pt>
          <cx:pt idx="854">0</cx:pt>
          <cx:pt idx="855">0</cx:pt>
          <cx:pt idx="856">0</cx:pt>
          <cx:pt idx="857">0</cx:pt>
          <cx:pt idx="858">0</cx:pt>
          <cx:pt idx="859">0</cx:pt>
          <cx:pt idx="860">0</cx:pt>
          <cx:pt idx="861">0</cx:pt>
          <cx:pt idx="862">2.7000000000000002</cx:pt>
          <cx:pt idx="863">2.7000000000000002</cx:pt>
          <cx:pt idx="864">3.5</cx:pt>
          <cx:pt idx="865">2.7000000000000002</cx:pt>
          <cx:pt idx="866">2.8999999999999999</cx:pt>
          <cx:pt idx="867">0</cx:pt>
          <cx:pt idx="868">0</cx:pt>
          <cx:pt idx="869">0</cx:pt>
          <cx:pt idx="870">0</cx:pt>
          <cx:pt idx="871">0</cx:pt>
          <cx:pt idx="872">0</cx:pt>
          <cx:pt idx="873">0</cx:pt>
          <cx:pt idx="874">0</cx:pt>
          <cx:pt idx="875">3.5</cx:pt>
          <cx:pt idx="876">0</cx:pt>
          <cx:pt idx="877">0</cx:pt>
          <cx:pt idx="878">0</cx:pt>
          <cx:pt idx="879">3.2999999999999998</cx:pt>
          <cx:pt idx="880">3.2000000000000002</cx:pt>
          <cx:pt idx="881">3.1000000000000001</cx:pt>
          <cx:pt idx="882">2.8999999999999999</cx:pt>
          <cx:pt idx="883">2.8999999999999999</cx:pt>
          <cx:pt idx="884">3.7999999999999998</cx:pt>
          <cx:pt idx="885">3.7999999999999998</cx:pt>
          <cx:pt idx="886">3.7000000000000002</cx:pt>
          <cx:pt idx="887">2.7999999999999998</cx:pt>
          <cx:pt idx="888">2.7999999999999998</cx:pt>
          <cx:pt idx="889">2.8999999999999999</cx:pt>
          <cx:pt idx="890">2.8999999999999999</cx:pt>
          <cx:pt idx="891">2.8999999999999999</cx:pt>
          <cx:pt idx="892">3</cx:pt>
          <cx:pt idx="893">3</cx:pt>
          <cx:pt idx="894">3</cx:pt>
          <cx:pt idx="895">3</cx:pt>
          <cx:pt idx="896">3</cx:pt>
          <cx:pt idx="897">3.1000000000000001</cx:pt>
          <cx:pt idx="898">3.1000000000000001</cx:pt>
          <cx:pt idx="899">3.1000000000000001</cx:pt>
          <cx:pt idx="900">3.1000000000000001</cx:pt>
          <cx:pt idx="901">3.2000000000000002</cx:pt>
          <cx:pt idx="902">3.2000000000000002</cx:pt>
          <cx:pt idx="903">3.2000000000000002</cx:pt>
          <cx:pt idx="904">3.2000000000000002</cx:pt>
          <cx:pt idx="905">0</cx:pt>
          <cx:pt idx="906">0</cx:pt>
          <cx:pt idx="907">0</cx:pt>
          <cx:pt idx="908">0</cx:pt>
          <cx:pt idx="909">3.5</cx:pt>
          <cx:pt idx="910">3.2999999999999998</cx:pt>
          <cx:pt idx="911">3.3999999999999999</cx:pt>
          <cx:pt idx="912">3.5</cx:pt>
          <cx:pt idx="913">0</cx:pt>
          <cx:pt idx="914">0</cx:pt>
          <cx:pt idx="915">0</cx:pt>
          <cx:pt idx="916">0</cx:pt>
          <cx:pt idx="917">0</cx:pt>
          <cx:pt idx="918">3.3999999999999999</cx:pt>
          <cx:pt idx="919">0</cx:pt>
          <cx:pt idx="920">0</cx:pt>
          <cx:pt idx="921">0</cx:pt>
          <cx:pt idx="922">0</cx:pt>
          <cx:pt idx="923">0</cx:pt>
          <cx:pt idx="924">0</cx:pt>
          <cx:pt idx="925">0</cx:pt>
          <cx:pt idx="926">3.5</cx:pt>
          <cx:pt idx="927">0</cx:pt>
          <cx:pt idx="928">0</cx:pt>
          <cx:pt idx="929">0</cx:pt>
          <cx:pt idx="930">0</cx:pt>
          <cx:pt idx="931">0</cx:pt>
          <cx:pt idx="932">0</cx:pt>
          <cx:pt idx="933">0</cx:pt>
          <cx:pt idx="934">0</cx:pt>
          <cx:pt idx="935">0</cx:pt>
          <cx:pt idx="936">3.7000000000000002</cx:pt>
          <cx:pt idx="937">3.2999999999999998</cx:pt>
          <cx:pt idx="938">0</cx:pt>
          <cx:pt idx="939">0</cx:pt>
          <cx:pt idx="940">0</cx:pt>
          <cx:pt idx="941">0</cx:pt>
          <cx:pt idx="942">0</cx:pt>
          <cx:pt idx="943">0</cx:pt>
          <cx:pt idx="944">0</cx:pt>
          <cx:pt idx="945">0</cx:pt>
          <cx:pt idx="946">0</cx:pt>
          <cx:pt idx="947">0</cx:pt>
          <cx:pt idx="948">0</cx:pt>
          <cx:pt idx="949">0</cx:pt>
          <cx:pt idx="950">0</cx:pt>
          <cx:pt idx="951">0</cx:pt>
          <cx:pt idx="952">0</cx:pt>
          <cx:pt idx="953">0</cx:pt>
          <cx:pt idx="954">0</cx:pt>
          <cx:pt idx="955">0</cx:pt>
          <cx:pt idx="956">0</cx:pt>
          <cx:pt idx="957">0</cx:pt>
          <cx:pt idx="958">0</cx:pt>
          <cx:pt idx="959">0</cx:pt>
          <cx:pt idx="960">4.7999999999999998</cx:pt>
          <cx:pt idx="961">4.5</cx:pt>
          <cx:pt idx="962">4.2000000000000002</cx:pt>
          <cx:pt idx="963">4.5999999999999996</cx:pt>
          <cx:pt idx="964">4.4000000000000004</cx:pt>
          <cx:pt idx="965">4.0999999999999996</cx:pt>
          <cx:pt idx="966">4.2999999999999998</cx:pt>
          <cx:pt idx="967">4.5</cx:pt>
          <cx:pt idx="968">4.7000000000000002</cx:pt>
          <cx:pt idx="969">4.2999999999999998</cx:pt>
          <cx:pt idx="970">4.0999999999999996</cx:pt>
          <cx:pt idx="971">3.8999999999999999</cx:pt>
          <cx:pt idx="972">3.3999999999999999</cx:pt>
          <cx:pt idx="973">4.4000000000000004</cx:pt>
          <cx:pt idx="974">4</cx:pt>
          <cx:pt idx="975">4</cx:pt>
          <cx:pt idx="976">4.2000000000000002</cx:pt>
          <cx:pt idx="977">4.2000000000000002</cx:pt>
          <cx:pt idx="978">4</cx:pt>
          <cx:pt idx="979">3.7999999999999998</cx:pt>
          <cx:pt idx="980">4</cx:pt>
          <cx:pt idx="981">4.2000000000000002</cx:pt>
          <cx:pt idx="982">3.8999999999999999</cx:pt>
          <cx:pt idx="983">3.3999999999999999</cx:pt>
          <cx:pt idx="984">4</cx:pt>
          <cx:pt idx="985">4</cx:pt>
          <cx:pt idx="986">3.3999999999999999</cx:pt>
          <cx:pt idx="987">4.0999999999999996</cx:pt>
          <cx:pt idx="988">3.8999999999999999</cx:pt>
          <cx:pt idx="989">3.7999999999999998</cx:pt>
          <cx:pt idx="990">3.7000000000000002</cx:pt>
          <cx:pt idx="991">2.7000000000000002</cx:pt>
          <cx:pt idx="992">4.2000000000000002</cx:pt>
          <cx:pt idx="993">4</cx:pt>
          <cx:pt idx="994">3.7000000000000002</cx:pt>
          <cx:pt idx="995">3.5</cx:pt>
          <cx:pt idx="996">3.2000000000000002</cx:pt>
          <cx:pt idx="997">3.7999999999999998</cx:pt>
          <cx:pt idx="998">4.7000000000000002</cx:pt>
          <cx:pt idx="999">4</cx:pt>
          <cx:pt idx="1000">3.3999999999999999</cx:pt>
          <cx:pt idx="1001">3.7000000000000002</cx:pt>
          <cx:pt idx="1002">3.7999999999999998</cx:pt>
          <cx:pt idx="1003">3.2000000000000002</cx:pt>
          <cx:pt idx="1004">3.7999999999999998</cx:pt>
          <cx:pt idx="1005">3.8999999999999999</cx:pt>
          <cx:pt idx="1006">4</cx:pt>
          <cx:pt idx="1007">3.8999999999999999</cx:pt>
          <cx:pt idx="1008">3.6000000000000001</cx:pt>
          <cx:pt idx="1009">3.7999999999999998</cx:pt>
          <cx:pt idx="1010">2.7999999999999998</cx:pt>
          <cx:pt idx="1011">4</cx:pt>
          <cx:pt idx="1012">3.7999999999999998</cx:pt>
          <cx:pt idx="1013">3.7999999999999998</cx:pt>
          <cx:pt idx="1014">3.8999999999999999</cx:pt>
          <cx:pt idx="1015">3.7999999999999998</cx:pt>
          <cx:pt idx="1016">3.6000000000000001</cx:pt>
          <cx:pt idx="1017">3.5</cx:pt>
          <cx:pt idx="1018">3.8999999999999999</cx:pt>
          <cx:pt idx="1019">3.5</cx:pt>
          <cx:pt idx="1020">3.2999999999999998</cx:pt>
          <cx:pt idx="1021">3.7999999999999998</cx:pt>
          <cx:pt idx="1022">3.6000000000000001</cx:pt>
          <cx:pt idx="1023">3.2000000000000002</cx:pt>
          <cx:pt idx="1024">2.8999999999999999</cx:pt>
          <cx:pt idx="1025">3.2000000000000002</cx:pt>
          <cx:pt idx="1026">3.1000000000000001</cx:pt>
          <cx:pt idx="1027">3</cx:pt>
          <cx:pt idx="1028">2.7999999999999998</cx:pt>
          <cx:pt idx="1029">3</cx:pt>
          <cx:pt idx="1030">4</cx:pt>
          <cx:pt idx="1031">3.8999999999999999</cx:pt>
          <cx:pt idx="1032">3.3999999999999999</cx:pt>
          <cx:pt idx="1033">3.2000000000000002</cx:pt>
          <cx:pt idx="1034">3.2000000000000002</cx:pt>
          <cx:pt idx="1035">0</cx:pt>
          <cx:pt idx="1036">0</cx:pt>
          <cx:pt idx="1037">0</cx:pt>
          <cx:pt idx="1038">0</cx:pt>
          <cx:pt idx="1039">0</cx:pt>
          <cx:pt idx="1040">3.8999999999999999</cx:pt>
          <cx:pt idx="1041">3.7000000000000002</cx:pt>
          <cx:pt idx="1042">3.6000000000000001</cx:pt>
          <cx:pt idx="1043">2.8999999999999999</cx:pt>
          <cx:pt idx="1044">0</cx:pt>
          <cx:pt idx="1045">3.1000000000000001</cx:pt>
          <cx:pt idx="1046">3.7999999999999998</cx:pt>
          <cx:pt idx="1047">3.5</cx:pt>
          <cx:pt idx="1048">3.3999999999999999</cx:pt>
          <cx:pt idx="1049">3.6000000000000001</cx:pt>
          <cx:pt idx="1050">3.2999999999999998</cx:pt>
          <cx:pt idx="1051">3.1000000000000001</cx:pt>
          <cx:pt idx="1052">3.1000000000000001</cx:pt>
          <cx:pt idx="1053">3.1000000000000001</cx:pt>
          <cx:pt idx="1054">0</cx:pt>
          <cx:pt idx="1055">0</cx:pt>
          <cx:pt idx="1056">0</cx:pt>
          <cx:pt idx="1057">0</cx:pt>
          <cx:pt idx="1058">0</cx:pt>
          <cx:pt idx="1059">0</cx:pt>
          <cx:pt idx="1060">0</cx:pt>
          <cx:pt idx="1061">2.8999999999999999</cx:pt>
          <cx:pt idx="1062">3.7000000000000002</cx:pt>
          <cx:pt idx="1063">3.3999999999999999</cx:pt>
          <cx:pt idx="1064">3.2000000000000002</cx:pt>
          <cx:pt idx="1065">0</cx:pt>
          <cx:pt idx="1066">3.2000000000000002</cx:pt>
          <cx:pt idx="1067">3</cx:pt>
          <cx:pt idx="1068">0</cx:pt>
          <cx:pt idx="1069">0</cx:pt>
          <cx:pt idx="1070">0</cx:pt>
          <cx:pt idx="1071">0</cx:pt>
          <cx:pt idx="1072">3</cx:pt>
          <cx:pt idx="1073">2.7999999999999998</cx:pt>
          <cx:pt idx="1074">3.8999999999999999</cx:pt>
          <cx:pt idx="1075">3.7999999999999998</cx:pt>
          <cx:pt idx="1076">3.7999999999999998</cx:pt>
          <cx:pt idx="1077">3.5</cx:pt>
          <cx:pt idx="1078">3.6000000000000001</cx:pt>
          <cx:pt idx="1079">3.3999999999999999</cx:pt>
          <cx:pt idx="1080">3.2000000000000002</cx:pt>
          <cx:pt idx="1081">3.3999999999999999</cx:pt>
          <cx:pt idx="1082">3.1000000000000001</cx:pt>
          <cx:pt idx="1083">3.2999999999999998</cx:pt>
          <cx:pt idx="1084">3.2999999999999998</cx:pt>
          <cx:pt idx="1085">3</cx:pt>
          <cx:pt idx="1086">3.3999999999999999</cx:pt>
          <cx:pt idx="1087">4</cx:pt>
          <cx:pt idx="1088">4</cx:pt>
          <cx:pt idx="1089">3.8999999999999999</cx:pt>
          <cx:pt idx="1090">2.6000000000000001</cx:pt>
          <cx:pt idx="1091">2.6000000000000001</cx:pt>
          <cx:pt idx="1092">2.6000000000000001</cx:pt>
          <cx:pt idx="1093">2.7000000000000002</cx:pt>
          <cx:pt idx="1094">2.7000000000000002</cx:pt>
          <cx:pt idx="1095">2.7999999999999998</cx:pt>
          <cx:pt idx="1096">2.7999999999999998</cx:pt>
          <cx:pt idx="1097">2.7999999999999998</cx:pt>
          <cx:pt idx="1098">2.7999999999999998</cx:pt>
          <cx:pt idx="1099">2.7999999999999998</cx:pt>
          <cx:pt idx="1100">2.7999999999999998</cx:pt>
          <cx:pt idx="1101">2.7999999999999998</cx:pt>
          <cx:pt idx="1102">2.7999999999999998</cx:pt>
          <cx:pt idx="1103">2.7999999999999998</cx:pt>
          <cx:pt idx="1104">2.8999999999999999</cx:pt>
          <cx:pt idx="1105">2.8999999999999999</cx:pt>
          <cx:pt idx="1106">2.8999999999999999</cx:pt>
          <cx:pt idx="1107">2.8999999999999999</cx:pt>
          <cx:pt idx="1108">2.8999999999999999</cx:pt>
          <cx:pt idx="1109">2.8999999999999999</cx:pt>
          <cx:pt idx="1110">2.8999999999999999</cx:pt>
          <cx:pt idx="1111">2.8999999999999999</cx:pt>
          <cx:pt idx="1112">2.8999999999999999</cx:pt>
          <cx:pt idx="1113">2.8999999999999999</cx:pt>
          <cx:pt idx="1114">2.8999999999999999</cx:pt>
          <cx:pt idx="1115">2.8999999999999999</cx:pt>
          <cx:pt idx="1116">3</cx:pt>
          <cx:pt idx="1117">3</cx:pt>
          <cx:pt idx="1118">3</cx:pt>
          <cx:pt idx="1119">3</cx:pt>
          <cx:pt idx="1120">3</cx:pt>
          <cx:pt idx="1121">3</cx:pt>
          <cx:pt idx="1122">3</cx:pt>
          <cx:pt idx="1123">3</cx:pt>
          <cx:pt idx="1124">3</cx:pt>
          <cx:pt idx="1125">3</cx:pt>
          <cx:pt idx="1126">3</cx:pt>
          <cx:pt idx="1127">3</cx:pt>
          <cx:pt idx="1128">3</cx:pt>
          <cx:pt idx="1129">3</cx:pt>
          <cx:pt idx="1130">3</cx:pt>
          <cx:pt idx="1131">3</cx:pt>
          <cx:pt idx="1132">3.1000000000000001</cx:pt>
          <cx:pt idx="1133">3.1000000000000001</cx:pt>
          <cx:pt idx="1134">3.1000000000000001</cx:pt>
          <cx:pt idx="1135">3.1000000000000001</cx:pt>
          <cx:pt idx="1136">3.6000000000000001</cx:pt>
          <cx:pt idx="1137">3.7999999999999998</cx:pt>
          <cx:pt idx="1138">3.7999999999999998</cx:pt>
          <cx:pt idx="1139">3.6000000000000001</cx:pt>
          <cx:pt idx="1140">3.6000000000000001</cx:pt>
          <cx:pt idx="1141">3.5</cx:pt>
          <cx:pt idx="1142">3.7000000000000002</cx:pt>
          <cx:pt idx="1143">3.7999999999999998</cx:pt>
          <cx:pt idx="1144">3.3999999999999999</cx:pt>
          <cx:pt idx="1145">3.6000000000000001</cx:pt>
          <cx:pt idx="1146">3.6000000000000001</cx:pt>
          <cx:pt idx="1147">3.6000000000000001</cx:pt>
          <cx:pt idx="1148">3.3999999999999999</cx:pt>
          <cx:pt idx="1149">3.6000000000000001</cx:pt>
          <cx:pt idx="1150">3.7999999999999998</cx:pt>
          <cx:pt idx="1151">3.5</cx:pt>
          <cx:pt idx="1152">3.7000000000000002</cx:pt>
          <cx:pt idx="1153">3.3999999999999999</cx:pt>
          <cx:pt idx="1154">3.3999999999999999</cx:pt>
          <cx:pt idx="1155">3.6000000000000001</cx:pt>
          <cx:pt idx="1156">3.6000000000000001</cx:pt>
          <cx:pt idx="1157">3.5</cx:pt>
          <cx:pt idx="1158">3.5</cx:pt>
          <cx:pt idx="1159">3.2999999999999998</cx:pt>
          <cx:pt idx="1160">3.2999999999999998</cx:pt>
          <cx:pt idx="1161">3.6000000000000001</cx:pt>
          <cx:pt idx="1162">3.7000000000000002</cx:pt>
          <cx:pt idx="1163">3.6000000000000001</cx:pt>
          <cx:pt idx="1164">3.6000000000000001</cx:pt>
          <cx:pt idx="1165">3.6000000000000001</cx:pt>
          <cx:pt idx="1166">3.7000000000000002</cx:pt>
          <cx:pt idx="1167">3.5</cx:pt>
          <cx:pt idx="1168">3.2000000000000002</cx:pt>
          <cx:pt idx="1169">3.5</cx:pt>
          <cx:pt idx="1170">3.2000000000000002</cx:pt>
          <cx:pt idx="1171">3.3999999999999999</cx:pt>
          <cx:pt idx="1172">3.6000000000000001</cx:pt>
          <cx:pt idx="1173">3.6000000000000001</cx:pt>
          <cx:pt idx="1174">3.3999999999999999</cx:pt>
          <cx:pt idx="1175">3.2999999999999998</cx:pt>
          <cx:pt idx="1176">3.3999999999999999</cx:pt>
          <cx:pt idx="1177">3.7000000000000002</cx:pt>
          <cx:pt idx="1178">3.6000000000000001</cx:pt>
          <cx:pt idx="1179">3.5</cx:pt>
          <cx:pt idx="1180">3.6000000000000001</cx:pt>
          <cx:pt idx="1181">3.6000000000000001</cx:pt>
          <cx:pt idx="1182">3.3999999999999999</cx:pt>
          <cx:pt idx="1183">3.3999999999999999</cx:pt>
          <cx:pt idx="1184">3.1000000000000001</cx:pt>
          <cx:pt idx="1185">0</cx:pt>
          <cx:pt idx="1186">0</cx:pt>
          <cx:pt idx="1187">0</cx:pt>
          <cx:pt idx="1188">0</cx:pt>
          <cx:pt idx="1189">3.5</cx:pt>
          <cx:pt idx="1190">0</cx:pt>
          <cx:pt idx="1191">3.6000000000000001</cx:pt>
          <cx:pt idx="1192">3.6000000000000001</cx:pt>
          <cx:pt idx="1193">3.6000000000000001</cx:pt>
          <cx:pt idx="1194">3.7000000000000002</cx:pt>
          <cx:pt idx="1195">3.3999999999999999</cx:pt>
          <cx:pt idx="1196">3.3999999999999999</cx:pt>
          <cx:pt idx="1197">3.1000000000000001</cx:pt>
          <cx:pt idx="1198">3.1000000000000001</cx:pt>
          <cx:pt idx="1199">0</cx:pt>
          <cx:pt idx="1200">0</cx:pt>
          <cx:pt idx="1201">0</cx:pt>
          <cx:pt idx="1202">0</cx:pt>
          <cx:pt idx="1203">0</cx:pt>
          <cx:pt idx="1204">3.1000000000000001</cx:pt>
          <cx:pt idx="1205">0</cx:pt>
          <cx:pt idx="1206">0</cx:pt>
          <cx:pt idx="1207">3.1000000000000001</cx:pt>
          <cx:pt idx="1208">3.6000000000000001</cx:pt>
          <cx:pt idx="1209">3.5</cx:pt>
          <cx:pt idx="1210">3.2999999999999998</cx:pt>
          <cx:pt idx="1211">0</cx:pt>
          <cx:pt idx="1212">0</cx:pt>
          <cx:pt idx="1213">0</cx:pt>
          <cx:pt idx="1214">0</cx:pt>
          <cx:pt idx="1215">0</cx:pt>
          <cx:pt idx="1216">0</cx:pt>
          <cx:pt idx="1217">0</cx:pt>
          <cx:pt idx="1218">0</cx:pt>
          <cx:pt idx="1219">0</cx:pt>
          <cx:pt idx="1220">4.5</cx:pt>
          <cx:pt idx="1221">4.5999999999999996</cx:pt>
          <cx:pt idx="1222">4.4000000000000004</cx:pt>
          <cx:pt idx="1223">4.2000000000000002</cx:pt>
          <cx:pt idx="1224">3.6000000000000001</cx:pt>
          <cx:pt idx="1225">4.2000000000000002</cx:pt>
          <cx:pt idx="1226">4.9000000000000004</cx:pt>
          <cx:pt idx="1227">3.7999999999999998</cx:pt>
          <cx:pt idx="1228">3.6000000000000001</cx:pt>
          <cx:pt idx="1229">4</cx:pt>
          <cx:pt idx="1230">4.2000000000000002</cx:pt>
          <cx:pt idx="1231">3.8999999999999999</cx:pt>
          <cx:pt idx="1232">3.7000000000000002</cx:pt>
          <cx:pt idx="1233">3.8999999999999999</cx:pt>
          <cx:pt idx="1234">4</cx:pt>
          <cx:pt idx="1235">3.3999999999999999</cx:pt>
          <cx:pt idx="1236">3.7000000000000002</cx:pt>
          <cx:pt idx="1237">3.7000000000000002</cx:pt>
          <cx:pt idx="1238">4</cx:pt>
          <cx:pt idx="1239">3.7000000000000002</cx:pt>
          <cx:pt idx="1240">4.0999999999999996</cx:pt>
          <cx:pt idx="1241">3.7999999999999998</cx:pt>
          <cx:pt idx="1242">3.8999999999999999</cx:pt>
          <cx:pt idx="1243">3.8999999999999999</cx:pt>
          <cx:pt idx="1244">0</cx:pt>
          <cx:pt idx="1245">3.7999999999999998</cx:pt>
          <cx:pt idx="1246">3.5</cx:pt>
          <cx:pt idx="1247">3.6000000000000001</cx:pt>
          <cx:pt idx="1248">3.5</cx:pt>
          <cx:pt idx="1249">3</cx:pt>
          <cx:pt idx="1250">3.7999999999999998</cx:pt>
          <cx:pt idx="1251">3.6000000000000001</cx:pt>
          <cx:pt idx="1252">3.6000000000000001</cx:pt>
          <cx:pt idx="1253">3.6000000000000001</cx:pt>
          <cx:pt idx="1254">3.7999999999999998</cx:pt>
          <cx:pt idx="1255">3.8999999999999999</cx:pt>
          <cx:pt idx="1256">3.8999999999999999</cx:pt>
          <cx:pt idx="1257">3.2999999999999998</cx:pt>
          <cx:pt idx="1258">4</cx:pt>
          <cx:pt idx="1259">3.3999999999999999</cx:pt>
          <cx:pt idx="1260">3.2999999999999998</cx:pt>
          <cx:pt idx="1261">3.2999999999999998</cx:pt>
          <cx:pt idx="1262">3.2999999999999998</cx:pt>
          <cx:pt idx="1263">3</cx:pt>
          <cx:pt idx="1264">3.3999999999999999</cx:pt>
          <cx:pt idx="1265">0</cx:pt>
          <cx:pt idx="1266">3.7000000000000002</cx:pt>
          <cx:pt idx="1267">0</cx:pt>
          <cx:pt idx="1268">0</cx:pt>
          <cx:pt idx="1269">3.2999999999999998</cx:pt>
          <cx:pt idx="1270">3.7999999999999998</cx:pt>
          <cx:pt idx="1271">3.5</cx:pt>
          <cx:pt idx="1272">0</cx:pt>
          <cx:pt idx="1273">0</cx:pt>
          <cx:pt idx="1274">0</cx:pt>
          <cx:pt idx="1275">3</cx:pt>
          <cx:pt idx="1276">0</cx:pt>
          <cx:pt idx="1277">0</cx:pt>
          <cx:pt idx="1278">0</cx:pt>
          <cx:pt idx="1279">0</cx:pt>
          <cx:pt idx="1280">3</cx:pt>
          <cx:pt idx="1281">0</cx:pt>
          <cx:pt idx="1282">3</cx:pt>
          <cx:pt idx="1283">3.1000000000000001</cx:pt>
          <cx:pt idx="1284">0</cx:pt>
          <cx:pt idx="1285">0</cx:pt>
          <cx:pt idx="1286">2.8999999999999999</cx:pt>
          <cx:pt idx="1287">2.7999999999999998</cx:pt>
          <cx:pt idx="1288">3.6000000000000001</cx:pt>
          <cx:pt idx="1289">2.7999999999999998</cx:pt>
          <cx:pt idx="1290">2.8999999999999999</cx:pt>
          <cx:pt idx="1291">3.2999999999999998</cx:pt>
          <cx:pt idx="1292">3.1000000000000001</cx:pt>
          <cx:pt idx="1293">3.3999999999999999</cx:pt>
          <cx:pt idx="1294">0</cx:pt>
          <cx:pt idx="1295">2.7000000000000002</cx:pt>
          <cx:pt idx="1296">3.2000000000000002</cx:pt>
          <cx:pt idx="1297">3.1000000000000001</cx:pt>
          <cx:pt idx="1298">0</cx:pt>
          <cx:pt idx="1299">3.7999999999999998</cx:pt>
          <cx:pt idx="1300">0</cx:pt>
          <cx:pt idx="1301">0</cx:pt>
          <cx:pt idx="1302">3.2999999999999998</cx:pt>
          <cx:pt idx="1303">2.8999999999999999</cx:pt>
          <cx:pt idx="1304">3.2000000000000002</cx:pt>
          <cx:pt idx="1305">0</cx:pt>
          <cx:pt idx="1306">3.2000000000000002</cx:pt>
          <cx:pt idx="1307">3.2000000000000002</cx:pt>
          <cx:pt idx="1308">2.5</cx:pt>
          <cx:pt idx="1309">0</cx:pt>
          <cx:pt idx="1310">0</cx:pt>
          <cx:pt idx="1311">0</cx:pt>
          <cx:pt idx="1312">0</cx:pt>
          <cx:pt idx="1313">0</cx:pt>
          <cx:pt idx="1314">0</cx:pt>
          <cx:pt idx="1315">0</cx:pt>
          <cx:pt idx="1316">3.3999999999999999</cx:pt>
          <cx:pt idx="1317">2.8999999999999999</cx:pt>
          <cx:pt idx="1318">3.5</cx:pt>
          <cx:pt idx="1319">2.3999999999999999</cx:pt>
          <cx:pt idx="1320">2.8999999999999999</cx:pt>
          <cx:pt idx="1321">3</cx:pt>
          <cx:pt idx="1322">3</cx:pt>
          <cx:pt idx="1323">3.2000000000000002</cx:pt>
          <cx:pt idx="1324">3.2999999999999998</cx:pt>
          <cx:pt idx="1325">0</cx:pt>
          <cx:pt idx="1326">0</cx:pt>
          <cx:pt idx="1327">0</cx:pt>
          <cx:pt idx="1328">0</cx:pt>
          <cx:pt idx="1329">0</cx:pt>
          <cx:pt idx="1330">0</cx:pt>
          <cx:pt idx="1331">0</cx:pt>
          <cx:pt idx="1332">0</cx:pt>
          <cx:pt idx="1333">0</cx:pt>
          <cx:pt idx="1334">0</cx:pt>
          <cx:pt idx="1335">0</cx:pt>
          <cx:pt idx="1336">0</cx:pt>
          <cx:pt idx="1337">0</cx:pt>
          <cx:pt idx="1338">0</cx:pt>
          <cx:pt idx="1339">0</cx:pt>
          <cx:pt idx="1340">0</cx:pt>
          <cx:pt idx="1341">0</cx:pt>
          <cx:pt idx="1342">0</cx:pt>
          <cx:pt idx="1343">0</cx:pt>
          <cx:pt idx="1344">0</cx:pt>
          <cx:pt idx="1345">0</cx:pt>
          <cx:pt idx="1346">0</cx:pt>
          <cx:pt idx="1347">0</cx:pt>
          <cx:pt idx="1348">0</cx:pt>
          <cx:pt idx="1349">0</cx:pt>
          <cx:pt idx="1350">0</cx:pt>
          <cx:pt idx="1351">0</cx:pt>
          <cx:pt idx="1352">0</cx:pt>
          <cx:pt idx="1353">0</cx:pt>
          <cx:pt idx="1354">0</cx:pt>
          <cx:pt idx="1355">0</cx:pt>
          <cx:pt idx="1356">0</cx:pt>
          <cx:pt idx="1357">0</cx:pt>
          <cx:pt idx="1358">4.5999999999999996</cx:pt>
          <cx:pt idx="1359">4.4000000000000004</cx:pt>
          <cx:pt idx="1360">4.2999999999999998</cx:pt>
          <cx:pt idx="1361">4.4000000000000004</cx:pt>
          <cx:pt idx="1362">4.4000000000000004</cx:pt>
          <cx:pt idx="1363">4.2000000000000002</cx:pt>
          <cx:pt idx="1364">4.0999999999999996</cx:pt>
          <cx:pt idx="1365">4.5</cx:pt>
          <cx:pt idx="1366">3.8999999999999999</cx:pt>
          <cx:pt idx="1367">4.2999999999999998</cx:pt>
          <cx:pt idx="1368">3.7999999999999998</cx:pt>
          <cx:pt idx="1369">4.2999999999999998</cx:pt>
          <cx:pt idx="1370">4</cx:pt>
          <cx:pt idx="1371">4.5999999999999996</cx:pt>
          <cx:pt idx="1372">4.2999999999999998</cx:pt>
          <cx:pt idx="1373">4</cx:pt>
          <cx:pt idx="1374">4.7999999999999998</cx:pt>
          <cx:pt idx="1375">3.8999999999999999</cx:pt>
          <cx:pt idx="1376">4.5</cx:pt>
          <cx:pt idx="1377">3.7999999999999998</cx:pt>
          <cx:pt idx="1378">4.0999999999999996</cx:pt>
          <cx:pt idx="1379">3.8999999999999999</cx:pt>
          <cx:pt idx="1380">4</cx:pt>
          <cx:pt idx="1381">4.0999999999999996</cx:pt>
          <cx:pt idx="1382">4</cx:pt>
          <cx:pt idx="1383">4</cx:pt>
          <cx:pt idx="1384">4</cx:pt>
          <cx:pt idx="1385">4.0999999999999996</cx:pt>
          <cx:pt idx="1386">4</cx:pt>
          <cx:pt idx="1387">3.7999999999999998</cx:pt>
          <cx:pt idx="1388">4</cx:pt>
          <cx:pt idx="1389">4</cx:pt>
          <cx:pt idx="1390">3.7000000000000002</cx:pt>
          <cx:pt idx="1391">3.8999999999999999</cx:pt>
          <cx:pt idx="1392">4</cx:pt>
          <cx:pt idx="1393">4.2000000000000002</cx:pt>
          <cx:pt idx="1394">3.8999999999999999</cx:pt>
          <cx:pt idx="1395">3.8999999999999999</cx:pt>
          <cx:pt idx="1396">3.7999999999999998</cx:pt>
          <cx:pt idx="1397">3.8999999999999999</cx:pt>
          <cx:pt idx="1398">4.2000000000000002</cx:pt>
          <cx:pt idx="1399">3.7000000000000002</cx:pt>
          <cx:pt idx="1400">4.0999999999999996</cx:pt>
          <cx:pt idx="1401">3.7999999999999998</cx:pt>
          <cx:pt idx="1402">3.8999999999999999</cx:pt>
          <cx:pt idx="1403">4</cx:pt>
          <cx:pt idx="1404">4.2999999999999998</cx:pt>
          <cx:pt idx="1405">4</cx:pt>
          <cx:pt idx="1406">4</cx:pt>
          <cx:pt idx="1407">3.5</cx:pt>
          <cx:pt idx="1408">4.2000000000000002</cx:pt>
          <cx:pt idx="1409">4</cx:pt>
          <cx:pt idx="1410">4.0999999999999996</cx:pt>
          <cx:pt idx="1411">3.6000000000000001</cx:pt>
          <cx:pt idx="1412">3.7000000000000002</cx:pt>
          <cx:pt idx="1413">3.8999999999999999</cx:pt>
          <cx:pt idx="1414">4.2000000000000002</cx:pt>
          <cx:pt idx="1415">3</cx:pt>
          <cx:pt idx="1416">4.2000000000000002</cx:pt>
          <cx:pt idx="1417">4</cx:pt>
          <cx:pt idx="1418">3.2999999999999998</cx:pt>
          <cx:pt idx="1419">3.2999999999999998</cx:pt>
          <cx:pt idx="1420">0</cx:pt>
          <cx:pt idx="1421">4</cx:pt>
          <cx:pt idx="1422">3.7000000000000002</cx:pt>
          <cx:pt idx="1423">3.1000000000000001</cx:pt>
          <cx:pt idx="1424">3.2000000000000002</cx:pt>
          <cx:pt idx="1425">4.2999999999999998</cx:pt>
          <cx:pt idx="1426">3.2999999999999998</cx:pt>
          <cx:pt idx="1427">3.3999999999999999</cx:pt>
          <cx:pt idx="1428">3.7000000000000002</cx:pt>
          <cx:pt idx="1429">3.7000000000000002</cx:pt>
          <cx:pt idx="1430">3.5</cx:pt>
          <cx:pt idx="1431">3.2999999999999998</cx:pt>
          <cx:pt idx="1432">3.3999999999999999</cx:pt>
          <cx:pt idx="1433">3.2000000000000002</cx:pt>
          <cx:pt idx="1434">2.8999999999999999</cx:pt>
          <cx:pt idx="1435">0</cx:pt>
          <cx:pt idx="1436">0</cx:pt>
          <cx:pt idx="1437">0</cx:pt>
          <cx:pt idx="1438">4.2000000000000002</cx:pt>
          <cx:pt idx="1439">3.2000000000000002</cx:pt>
          <cx:pt idx="1440">4.0999999999999996</cx:pt>
          <cx:pt idx="1441">3.7000000000000002</cx:pt>
          <cx:pt idx="1442">3.8999999999999999</cx:pt>
          <cx:pt idx="1443">3.3999999999999999</cx:pt>
          <cx:pt idx="1444">3.7999999999999998</cx:pt>
          <cx:pt idx="1445">3.3999999999999999</cx:pt>
          <cx:pt idx="1446">3.2999999999999998</cx:pt>
          <cx:pt idx="1447">3.2999999999999998</cx:pt>
          <cx:pt idx="1448">3.2000000000000002</cx:pt>
          <cx:pt idx="1449">3.2000000000000002</cx:pt>
          <cx:pt idx="1450">3.2000000000000002</cx:pt>
          <cx:pt idx="1451">3.1000000000000001</cx:pt>
          <cx:pt idx="1452">3</cx:pt>
          <cx:pt idx="1453">2.8999999999999999</cx:pt>
          <cx:pt idx="1454">2.7000000000000002</cx:pt>
          <cx:pt idx="1455">2.8999999999999999</cx:pt>
          <cx:pt idx="1456">0</cx:pt>
          <cx:pt idx="1457">0</cx:pt>
          <cx:pt idx="1458">0</cx:pt>
          <cx:pt idx="1459">0</cx:pt>
          <cx:pt idx="1460">3.7999999999999998</cx:pt>
          <cx:pt idx="1461">3.6000000000000001</cx:pt>
          <cx:pt idx="1462">3.3999999999999999</cx:pt>
          <cx:pt idx="1463">3.3999999999999999</cx:pt>
          <cx:pt idx="1464">3.3999999999999999</cx:pt>
          <cx:pt idx="1465">0</cx:pt>
          <cx:pt idx="1466">3.1000000000000001</cx:pt>
          <cx:pt idx="1467">3.7999999999999998</cx:pt>
          <cx:pt idx="1468">3.8999999999999999</cx:pt>
          <cx:pt idx="1469">3.7999999999999998</cx:pt>
          <cx:pt idx="1470">3.2999999999999998</cx:pt>
          <cx:pt idx="1471">2.7999999999999998</cx:pt>
          <cx:pt idx="1472">3.2999999999999998</cx:pt>
          <cx:pt idx="1473">2.2999999999999998</cx:pt>
          <cx:pt idx="1474">2.5</cx:pt>
          <cx:pt idx="1475">3.3999999999999999</cx:pt>
          <cx:pt idx="1476">3.2000000000000002</cx:pt>
          <cx:pt idx="1477">3.2999999999999998</cx:pt>
          <cx:pt idx="1478">3.2000000000000002</cx:pt>
          <cx:pt idx="1479">3</cx:pt>
          <cx:pt idx="1480">0</cx:pt>
          <cx:pt idx="1481">3</cx:pt>
          <cx:pt idx="1482">3.7000000000000002</cx:pt>
          <cx:pt idx="1483">3.6000000000000001</cx:pt>
          <cx:pt idx="1484">3.5</cx:pt>
          <cx:pt idx="1485">3.2999999999999998</cx:pt>
          <cx:pt idx="1486">3.2999999999999998</cx:pt>
          <cx:pt idx="1487">2.8999999999999999</cx:pt>
          <cx:pt idx="1488">0</cx:pt>
          <cx:pt idx="1489">0</cx:pt>
          <cx:pt idx="1490">0</cx:pt>
          <cx:pt idx="1491">0</cx:pt>
          <cx:pt idx="1492">3.8999999999999999</cx:pt>
          <cx:pt idx="1493">3.6000000000000001</cx:pt>
          <cx:pt idx="1494">3.7000000000000002</cx:pt>
          <cx:pt idx="1495">3.5</cx:pt>
          <cx:pt idx="1496">3.3999999999999999</cx:pt>
          <cx:pt idx="1497">3.3999999999999999</cx:pt>
          <cx:pt idx="1498">3.2999999999999998</cx:pt>
          <cx:pt idx="1499">3.2999999999999998</cx:pt>
          <cx:pt idx="1500">3.2000000000000002</cx:pt>
          <cx:pt idx="1501">3.3999999999999999</cx:pt>
          <cx:pt idx="1502">4.4000000000000004</cx:pt>
          <cx:pt idx="1503">4.2999999999999998</cx:pt>
          <cx:pt idx="1504">4.0999999999999996</cx:pt>
          <cx:pt idx="1505">4</cx:pt>
          <cx:pt idx="1506">4</cx:pt>
          <cx:pt idx="1507">4</cx:pt>
          <cx:pt idx="1508">2.5</cx:pt>
          <cx:pt idx="1509">2.6000000000000001</cx:pt>
          <cx:pt idx="1510">2.6000000000000001</cx:pt>
          <cx:pt idx="1511">2.6000000000000001</cx:pt>
          <cx:pt idx="1512">2.6000000000000001</cx:pt>
          <cx:pt idx="1513">2.7000000000000002</cx:pt>
          <cx:pt idx="1514">2.7000000000000002</cx:pt>
          <cx:pt idx="1515">2.7000000000000002</cx:pt>
          <cx:pt idx="1516">2.7000000000000002</cx:pt>
          <cx:pt idx="1517">2.7000000000000002</cx:pt>
          <cx:pt idx="1518">2.7999999999999998</cx:pt>
          <cx:pt idx="1519">2.7999999999999998</cx:pt>
          <cx:pt idx="1520">2.7999999999999998</cx:pt>
          <cx:pt idx="1521">2.7999999999999998</cx:pt>
          <cx:pt idx="1522">2.7999999999999998</cx:pt>
          <cx:pt idx="1523">2.7999999999999998</cx:pt>
          <cx:pt idx="1524">2.7999999999999998</cx:pt>
          <cx:pt idx="1525">2.7999999999999998</cx:pt>
          <cx:pt idx="1526">2.7999999999999998</cx:pt>
          <cx:pt idx="1527">2.8999999999999999</cx:pt>
          <cx:pt idx="1528">2.8999999999999999</cx:pt>
          <cx:pt idx="1529">2.8999999999999999</cx:pt>
          <cx:pt idx="1530">2.8999999999999999</cx:pt>
          <cx:pt idx="1531">2.8999999999999999</cx:pt>
          <cx:pt idx="1532">2.8999999999999999</cx:pt>
          <cx:pt idx="1533">2.8999999999999999</cx:pt>
          <cx:pt idx="1534">2.8999999999999999</cx:pt>
          <cx:pt idx="1535">2.8999999999999999</cx:pt>
          <cx:pt idx="1536">2.8999999999999999</cx:pt>
          <cx:pt idx="1537">2.8999999999999999</cx:pt>
          <cx:pt idx="1538">2.8999999999999999</cx:pt>
          <cx:pt idx="1539">2.8999999999999999</cx:pt>
          <cx:pt idx="1540">2.8999999999999999</cx:pt>
          <cx:pt idx="1541">2.8999999999999999</cx:pt>
          <cx:pt idx="1542">2.8999999999999999</cx:pt>
          <cx:pt idx="1543">3</cx:pt>
          <cx:pt idx="1544">3</cx:pt>
          <cx:pt idx="1545">3</cx:pt>
          <cx:pt idx="1546">3</cx:pt>
          <cx:pt idx="1547">3</cx:pt>
          <cx:pt idx="1548">3.8999999999999999</cx:pt>
          <cx:pt idx="1549">3.8999999999999999</cx:pt>
          <cx:pt idx="1550">3.5</cx:pt>
          <cx:pt idx="1551">3.7999999999999998</cx:pt>
          <cx:pt idx="1552">3.7999999999999998</cx:pt>
          <cx:pt idx="1553">3.7000000000000002</cx:pt>
          <cx:pt idx="1554">3.7999999999999998</cx:pt>
          <cx:pt idx="1555">3.7999999999999998</cx:pt>
          <cx:pt idx="1556">3.7999999999999998</cx:pt>
          <cx:pt idx="1557">3.7999999999999998</cx:pt>
          <cx:pt idx="1558">3.7000000000000002</cx:pt>
          <cx:pt idx="1559">3.8999999999999999</cx:pt>
          <cx:pt idx="1560">3.7999999999999998</cx:pt>
          <cx:pt idx="1561">3.7000000000000002</cx:pt>
          <cx:pt idx="1562">3.2999999999999998</cx:pt>
          <cx:pt idx="1563">3.7000000000000002</cx:pt>
          <cx:pt idx="1564">3.7000000000000002</cx:pt>
          <cx:pt idx="1565">3.8999999999999999</cx:pt>
          <cx:pt idx="1566">3.3999999999999999</cx:pt>
          <cx:pt idx="1567">3.5</cx:pt>
          <cx:pt idx="1568">3.2000000000000002</cx:pt>
          <cx:pt idx="1569">3.5</cx:pt>
          <cx:pt idx="1570">3.2999999999999998</cx:pt>
          <cx:pt idx="1571">3.5</cx:pt>
          <cx:pt idx="1572">3.6000000000000001</cx:pt>
          <cx:pt idx="1573">3.5</cx:pt>
          <cx:pt idx="1574">3.5</cx:pt>
          <cx:pt idx="1575">3.7000000000000002</cx:pt>
          <cx:pt idx="1576">3.6000000000000001</cx:pt>
          <cx:pt idx="1577">3.1000000000000001</cx:pt>
          <cx:pt idx="1578">3.5</cx:pt>
          <cx:pt idx="1579">3.2000000000000002</cx:pt>
          <cx:pt idx="1580">3.2999999999999998</cx:pt>
          <cx:pt idx="1581">3.3999999999999999</cx:pt>
          <cx:pt idx="1582">3.3999999999999999</cx:pt>
          <cx:pt idx="1583">3.5</cx:pt>
          <cx:pt idx="1584">3.1000000000000001</cx:pt>
          <cx:pt idx="1585">3.3999999999999999</cx:pt>
          <cx:pt idx="1586">3.1000000000000001</cx:pt>
          <cx:pt idx="1587">3.5</cx:pt>
          <cx:pt idx="1588">3.5</cx:pt>
          <cx:pt idx="1589">3.2999999999999998</cx:pt>
          <cx:pt idx="1590">3.2999999999999998</cx:pt>
          <cx:pt idx="1591">3.7999999999999998</cx:pt>
          <cx:pt idx="1592">3.7999999999999998</cx:pt>
          <cx:pt idx="1593">3.7999999999999998</cx:pt>
          <cx:pt idx="1594">3.7000000000000002</cx:pt>
          <cx:pt idx="1595">3.7000000000000002</cx:pt>
          <cx:pt idx="1596">3.7000000000000002</cx:pt>
          <cx:pt idx="1597">3.6000000000000001</cx:pt>
          <cx:pt idx="1598">3.7000000000000002</cx:pt>
          <cx:pt idx="1599">3.7000000000000002</cx:pt>
          <cx:pt idx="1600">3.7000000000000002</cx:pt>
          <cx:pt idx="1601">3.2000000000000002</cx:pt>
          <cx:pt idx="1602">3.1000000000000001</cx:pt>
          <cx:pt idx="1603">0</cx:pt>
          <cx:pt idx="1604">0</cx:pt>
          <cx:pt idx="1605">0</cx:pt>
          <cx:pt idx="1606">0</cx:pt>
          <cx:pt idx="1607">0</cx:pt>
          <cx:pt idx="1608">3.7000000000000002</cx:pt>
          <cx:pt idx="1609">3.5</cx:pt>
          <cx:pt idx="1610">3.3999999999999999</cx:pt>
          <cx:pt idx="1611">3.6000000000000001</cx:pt>
          <cx:pt idx="1612">3.6000000000000001</cx:pt>
          <cx:pt idx="1613">3.8999999999999999</cx:pt>
          <cx:pt idx="1614">0</cx:pt>
          <cx:pt idx="1615">3.7999999999999998</cx:pt>
          <cx:pt idx="1616">3.8999999999999999</cx:pt>
          <cx:pt idx="1617">3.7000000000000002</cx:pt>
          <cx:pt idx="1618">3.5</cx:pt>
          <cx:pt idx="1619">3.3999999999999999</cx:pt>
          <cx:pt idx="1620">3.6000000000000001</cx:pt>
          <cx:pt idx="1621">3.1000000000000001</cx:pt>
          <cx:pt idx="1622">3.1000000000000001</cx:pt>
          <cx:pt idx="1623">0</cx:pt>
          <cx:pt idx="1624">3</cx:pt>
          <cx:pt idx="1625">0</cx:pt>
          <cx:pt idx="1626">0</cx:pt>
          <cx:pt idx="1627">0</cx:pt>
          <cx:pt idx="1628">0</cx:pt>
          <cx:pt idx="1629">3.3999999999999999</cx:pt>
          <cx:pt idx="1630">0</cx:pt>
          <cx:pt idx="1631">0</cx:pt>
          <cx:pt idx="1632">0</cx:pt>
          <cx:pt idx="1633">0</cx:pt>
          <cx:pt idx="1634">0</cx:pt>
          <cx:pt idx="1635">3.3999999999999999</cx:pt>
          <cx:pt idx="1636">3.6000000000000001</cx:pt>
          <cx:pt idx="1637">3.2000000000000002</cx:pt>
          <cx:pt idx="1638">3.1000000000000001</cx:pt>
          <cx:pt idx="1639">0</cx:pt>
          <cx:pt idx="1640">3.3999999999999999</cx:pt>
          <cx:pt idx="1641">3.5</cx:pt>
          <cx:pt idx="1642">3.2999999999999998</cx:pt>
          <cx:pt idx="1643">0</cx:pt>
          <cx:pt idx="1644">3.2999999999999998</cx:pt>
          <cx:pt idx="1645">3</cx:pt>
          <cx:pt idx="1646">0</cx:pt>
          <cx:pt idx="1647">3.1000000000000001</cx:pt>
          <cx:pt idx="1648">3.1000000000000001</cx:pt>
          <cx:pt idx="1649">0</cx:pt>
          <cx:pt idx="1650">0</cx:pt>
          <cx:pt idx="1651">0</cx:pt>
          <cx:pt idx="1652">0</cx:pt>
          <cx:pt idx="1653">0</cx:pt>
          <cx:pt idx="1654">0</cx:pt>
          <cx:pt idx="1655">0</cx:pt>
          <cx:pt idx="1656">3.6000000000000001</cx:pt>
          <cx:pt idx="1657">3.6000000000000001</cx:pt>
          <cx:pt idx="1658">4.4000000000000004</cx:pt>
          <cx:pt idx="1659">4.9000000000000004</cx:pt>
          <cx:pt idx="1660">4.2999999999999998</cx:pt>
          <cx:pt idx="1661">4.5999999999999996</cx:pt>
          <cx:pt idx="1662">4.2000000000000002</cx:pt>
          <cx:pt idx="1663">4.7000000000000002</cx:pt>
          <cx:pt idx="1664">4.5</cx:pt>
          <cx:pt idx="1665">4.0999999999999996</cx:pt>
          <cx:pt idx="1666">4.0999999999999996</cx:pt>
          <cx:pt idx="1667">4.5</cx:pt>
          <cx:pt idx="1668">4.2999999999999998</cx:pt>
          <cx:pt idx="1669">4.2000000000000002</cx:pt>
          <cx:pt idx="1670">4</cx:pt>
          <cx:pt idx="1671">4.2999999999999998</cx:pt>
          <cx:pt idx="1672">4.0999999999999996</cx:pt>
          <cx:pt idx="1673">4.7999999999999998</cx:pt>
          <cx:pt idx="1674">4.4000000000000004</cx:pt>
          <cx:pt idx="1675">4.0999999999999996</cx:pt>
          <cx:pt idx="1676">4.5999999999999996</cx:pt>
          <cx:pt idx="1677">4.2999999999999998</cx:pt>
          <cx:pt idx="1678">3.8999999999999999</cx:pt>
          <cx:pt idx="1679">4.0999999999999996</cx:pt>
          <cx:pt idx="1680">4.2000000000000002</cx:pt>
          <cx:pt idx="1681">4</cx:pt>
          <cx:pt idx="1682">4.2000000000000002</cx:pt>
          <cx:pt idx="1683">4.2000000000000002</cx:pt>
          <cx:pt idx="1684">4</cx:pt>
          <cx:pt idx="1685">4.4000000000000004</cx:pt>
          <cx:pt idx="1686">4</cx:pt>
          <cx:pt idx="1687">4</cx:pt>
          <cx:pt idx="1688">3.7000000000000002</cx:pt>
          <cx:pt idx="1689">3.8999999999999999</cx:pt>
          <cx:pt idx="1690">4.0999999999999996</cx:pt>
          <cx:pt idx="1691">3.7999999999999998</cx:pt>
          <cx:pt idx="1692">4.2000000000000002</cx:pt>
          <cx:pt idx="1693">4</cx:pt>
          <cx:pt idx="1694">4.2999999999999998</cx:pt>
          <cx:pt idx="1695">4.2000000000000002</cx:pt>
          <cx:pt idx="1696">3.7999999999999998</cx:pt>
          <cx:pt idx="1697">4</cx:pt>
          <cx:pt idx="1698">3.5</cx:pt>
          <cx:pt idx="1699">4.0999999999999996</cx:pt>
          <cx:pt idx="1700">4</cx:pt>
          <cx:pt idx="1701">4.2999999999999998</cx:pt>
          <cx:pt idx="1702">4.0999999999999996</cx:pt>
          <cx:pt idx="1703">4.2000000000000002</cx:pt>
          <cx:pt idx="1704">4</cx:pt>
          <cx:pt idx="1705">4.0999999999999996</cx:pt>
          <cx:pt idx="1706">3.8999999999999999</cx:pt>
          <cx:pt idx="1707">3.8999999999999999</cx:pt>
          <cx:pt idx="1708">4.0999999999999996</cx:pt>
          <cx:pt idx="1709">3.7999999999999998</cx:pt>
          <cx:pt idx="1710">4.2999999999999998</cx:pt>
          <cx:pt idx="1711">4</cx:pt>
          <cx:pt idx="1712">3.7999999999999998</cx:pt>
          <cx:pt idx="1713">3.8999999999999999</cx:pt>
          <cx:pt idx="1714">3.7000000000000002</cx:pt>
          <cx:pt idx="1715">4</cx:pt>
          <cx:pt idx="1716">3.3999999999999999</cx:pt>
          <cx:pt idx="1717">3.5</cx:pt>
          <cx:pt idx="1718">4.0999999999999996</cx:pt>
          <cx:pt idx="1719">3.7999999999999998</cx:pt>
          <cx:pt idx="1720">3.8999999999999999</cx:pt>
          <cx:pt idx="1721">3.3999999999999999</cx:pt>
          <cx:pt idx="1722">3.2000000000000002</cx:pt>
          <cx:pt idx="1723">0</cx:pt>
          <cx:pt idx="1724">2.7000000000000002</cx:pt>
          <cx:pt idx="1725">3.2000000000000002</cx:pt>
          <cx:pt idx="1726">4</cx:pt>
          <cx:pt idx="1727">2.5</cx:pt>
          <cx:pt idx="1728">3.7999999999999998</cx:pt>
          <cx:pt idx="1729">3.5</cx:pt>
          <cx:pt idx="1730">3.3999999999999999</cx:pt>
          <cx:pt idx="1731">0</cx:pt>
          <cx:pt idx="1732">0</cx:pt>
          <cx:pt idx="1733">4</cx:pt>
          <cx:pt idx="1734">3.7999999999999998</cx:pt>
          <cx:pt idx="1735">3.8999999999999999</cx:pt>
          <cx:pt idx="1736">3.8999999999999999</cx:pt>
          <cx:pt idx="1737">3.6000000000000001</cx:pt>
          <cx:pt idx="1738">3.5</cx:pt>
          <cx:pt idx="1739">3.3999999999999999</cx:pt>
          <cx:pt idx="1740">0</cx:pt>
          <cx:pt idx="1741">3</cx:pt>
          <cx:pt idx="1742">0</cx:pt>
          <cx:pt idx="1743">0</cx:pt>
          <cx:pt idx="1744">4</cx:pt>
          <cx:pt idx="1745">4</cx:pt>
          <cx:pt idx="1746">3.7000000000000002</cx:pt>
          <cx:pt idx="1747">4</cx:pt>
          <cx:pt idx="1748">4</cx:pt>
          <cx:pt idx="1749">3.7000000000000002</cx:pt>
          <cx:pt idx="1750">3.7000000000000002</cx:pt>
          <cx:pt idx="1751">3.7000000000000002</cx:pt>
          <cx:pt idx="1752">3.8999999999999999</cx:pt>
          <cx:pt idx="1753">3.6000000000000001</cx:pt>
          <cx:pt idx="1754">3.5</cx:pt>
          <cx:pt idx="1755">3.6000000000000001</cx:pt>
          <cx:pt idx="1756">3.6000000000000001</cx:pt>
          <cx:pt idx="1757">3.5</cx:pt>
          <cx:pt idx="1758">3.7000000000000002</cx:pt>
          <cx:pt idx="1759">3.6000000000000001</cx:pt>
          <cx:pt idx="1760">3.3999999999999999</cx:pt>
          <cx:pt idx="1761">3.3999999999999999</cx:pt>
          <cx:pt idx="1762">3.2000000000000002</cx:pt>
          <cx:pt idx="1763">3.5</cx:pt>
          <cx:pt idx="1764">3.6000000000000001</cx:pt>
          <cx:pt idx="1765">3</cx:pt>
          <cx:pt idx="1766">3.2000000000000002</cx:pt>
          <cx:pt idx="1767">3.2000000000000002</cx:pt>
          <cx:pt idx="1768">2.8999999999999999</cx:pt>
          <cx:pt idx="1769">3.1000000000000001</cx:pt>
          <cx:pt idx="1770">3.1000000000000001</cx:pt>
          <cx:pt idx="1771">3</cx:pt>
          <cx:pt idx="1772">0</cx:pt>
          <cx:pt idx="1773">0</cx:pt>
          <cx:pt idx="1774">0</cx:pt>
          <cx:pt idx="1775">4.0999999999999996</cx:pt>
          <cx:pt idx="1776">3.7000000000000002</cx:pt>
          <cx:pt idx="1777">3.5</cx:pt>
          <cx:pt idx="1778">3.6000000000000001</cx:pt>
          <cx:pt idx="1779">3.3999999999999999</cx:pt>
          <cx:pt idx="1780">3.2999999999999998</cx:pt>
          <cx:pt idx="1781">3.2999999999999998</cx:pt>
          <cx:pt idx="1782">3.1000000000000001</cx:pt>
          <cx:pt idx="1783">3.2000000000000002</cx:pt>
          <cx:pt idx="1784">3.2999999999999998</cx:pt>
          <cx:pt idx="1785">2.7000000000000002</cx:pt>
          <cx:pt idx="1786">3.3999999999999999</cx:pt>
          <cx:pt idx="1787">2.7999999999999998</cx:pt>
          <cx:pt idx="1788">3.2000000000000002</cx:pt>
          <cx:pt idx="1789">3.1000000000000001</cx:pt>
          <cx:pt idx="1790">0</cx:pt>
          <cx:pt idx="1791">0</cx:pt>
          <cx:pt idx="1792">0</cx:pt>
          <cx:pt idx="1793">3.1000000000000001</cx:pt>
          <cx:pt idx="1794">4.0999999999999996</cx:pt>
          <cx:pt idx="1795">4</cx:pt>
          <cx:pt idx="1796">4</cx:pt>
          <cx:pt idx="1797">4</cx:pt>
          <cx:pt idx="1798">4</cx:pt>
          <cx:pt idx="1799">4</cx:pt>
          <cx:pt idx="1800">4</cx:pt>
          <cx:pt idx="1801">4</cx:pt>
          <cx:pt idx="1802">4</cx:pt>
          <cx:pt idx="1803">4</cx:pt>
          <cx:pt idx="1804">4</cx:pt>
          <cx:pt idx="1805">2.2999999999999998</cx:pt>
          <cx:pt idx="1806">2.3999999999999999</cx:pt>
          <cx:pt idx="1807">2.6000000000000001</cx:pt>
          <cx:pt idx="1808">2.6000000000000001</cx:pt>
          <cx:pt idx="1809">2.7000000000000002</cx:pt>
          <cx:pt idx="1810">2.7000000000000002</cx:pt>
          <cx:pt idx="1811">2.7000000000000002</cx:pt>
          <cx:pt idx="1812">2.7000000000000002</cx:pt>
          <cx:pt idx="1813">2.7000000000000002</cx:pt>
          <cx:pt idx="1814">2.7000000000000002</cx:pt>
          <cx:pt idx="1815">2.7000000000000002</cx:pt>
          <cx:pt idx="1816">2.7000000000000002</cx:pt>
          <cx:pt idx="1817">2.7999999999999998</cx:pt>
          <cx:pt idx="1818">2.7999999999999998</cx:pt>
          <cx:pt idx="1819">2.7999999999999998</cx:pt>
          <cx:pt idx="1820">2.7999999999999998</cx:pt>
          <cx:pt idx="1821">2.7999999999999998</cx:pt>
          <cx:pt idx="1822">2.7999999999999998</cx:pt>
          <cx:pt idx="1823">2.8999999999999999</cx:pt>
          <cx:pt idx="1824">2.8999999999999999</cx:pt>
          <cx:pt idx="1825">2.8999999999999999</cx:pt>
          <cx:pt idx="1826">2.8999999999999999</cx:pt>
          <cx:pt idx="1827">2.8999999999999999</cx:pt>
          <cx:pt idx="1828">2.8999999999999999</cx:pt>
          <cx:pt idx="1829">2.8999999999999999</cx:pt>
          <cx:pt idx="1830">2.8999999999999999</cx:pt>
          <cx:pt idx="1831">2.8999999999999999</cx:pt>
          <cx:pt idx="1832">2.8999999999999999</cx:pt>
          <cx:pt idx="1833">2.8999999999999999</cx:pt>
          <cx:pt idx="1834">2.8999999999999999</cx:pt>
          <cx:pt idx="1835">2.8999999999999999</cx:pt>
          <cx:pt idx="1836">2.8999999999999999</cx:pt>
          <cx:pt idx="1837">2.8999999999999999</cx:pt>
          <cx:pt idx="1838">2.8999999999999999</cx:pt>
          <cx:pt idx="1839">3</cx:pt>
          <cx:pt idx="1840">3</cx:pt>
          <cx:pt idx="1841">3</cx:pt>
          <cx:pt idx="1842">3</cx:pt>
          <cx:pt idx="1843">3</cx:pt>
          <cx:pt idx="1844">3</cx:pt>
          <cx:pt idx="1845">3.6000000000000001</cx:pt>
          <cx:pt idx="1846">3.8999999999999999</cx:pt>
          <cx:pt idx="1847">3.2000000000000002</cx:pt>
          <cx:pt idx="1848">3.7000000000000002</cx:pt>
          <cx:pt idx="1849">3.8999999999999999</cx:pt>
          <cx:pt idx="1850">3.7000000000000002</cx:pt>
          <cx:pt idx="1851">3.7999999999999998</cx:pt>
          <cx:pt idx="1852">3.8999999999999999</cx:pt>
          <cx:pt idx="1853">3.7000000000000002</cx:pt>
          <cx:pt idx="1854">3.7999999999999998</cx:pt>
          <cx:pt idx="1855">3.1000000000000001</cx:pt>
          <cx:pt idx="1856">3.6000000000000001</cx:pt>
          <cx:pt idx="1857">3.6000000000000001</cx:pt>
          <cx:pt idx="1858">3.6000000000000001</cx:pt>
          <cx:pt idx="1859">3.7000000000000002</cx:pt>
          <cx:pt idx="1860">3.8999999999999999</cx:pt>
          <cx:pt idx="1861">3.7999999999999998</cx:pt>
          <cx:pt idx="1862">3.6000000000000001</cx:pt>
          <cx:pt idx="1863">3.8999999999999999</cx:pt>
          <cx:pt idx="1864">3.7000000000000002</cx:pt>
          <cx:pt idx="1865">3.7000000000000002</cx:pt>
          <cx:pt idx="1866">3.3999999999999999</cx:pt>
          <cx:pt idx="1867">3.8999999999999999</cx:pt>
          <cx:pt idx="1868">3.2999999999999998</cx:pt>
          <cx:pt idx="1869">3.2999999999999998</cx:pt>
          <cx:pt idx="1870">3.6000000000000001</cx:pt>
          <cx:pt idx="1871">3.6000000000000001</cx:pt>
          <cx:pt idx="1872">3.7999999999999998</cx:pt>
          <cx:pt idx="1873">0</cx:pt>
          <cx:pt idx="1874">0</cx:pt>
          <cx:pt idx="1875">0</cx:pt>
          <cx:pt idx="1876">0</cx:pt>
          <cx:pt idx="1877">0</cx:pt>
          <cx:pt idx="1878">3.6000000000000001</cx:pt>
          <cx:pt idx="1879">3.5</cx:pt>
          <cx:pt idx="1880">3.8999999999999999</cx:pt>
          <cx:pt idx="1881">3.7999999999999998</cx:pt>
          <cx:pt idx="1882">3.7999999999999998</cx:pt>
          <cx:pt idx="1883">3.6000000000000001</cx:pt>
          <cx:pt idx="1884">3.6000000000000001</cx:pt>
          <cx:pt idx="1885">3.2000000000000002</cx:pt>
          <cx:pt idx="1886">3.7000000000000002</cx:pt>
          <cx:pt idx="1887">3.7000000000000002</cx:pt>
          <cx:pt idx="1888">3.7000000000000002</cx:pt>
          <cx:pt idx="1889">3.5</cx:pt>
          <cx:pt idx="1890">3.6000000000000001</cx:pt>
          <cx:pt idx="1891">3.6000000000000001</cx:pt>
          <cx:pt idx="1892">3.2999999999999998</cx:pt>
          <cx:pt idx="1893">3.1000000000000001</cx:pt>
          <cx:pt idx="1894">0</cx:pt>
          <cx:pt idx="1895">3.3999999999999999</cx:pt>
          <cx:pt idx="1896">3.2000000000000002</cx:pt>
          <cx:pt idx="1897">3</cx:pt>
          <cx:pt idx="1898">0</cx:pt>
          <cx:pt idx="1899">0</cx:pt>
          <cx:pt idx="1900">3.2999999999999998</cx:pt>
          <cx:pt idx="1901">0</cx:pt>
          <cx:pt idx="1902">0</cx:pt>
          <cx:pt idx="1903">0</cx:pt>
          <cx:pt idx="1904">0</cx:pt>
          <cx:pt idx="1905">0</cx:pt>
          <cx:pt idx="1906">3.8999999999999999</cx:pt>
          <cx:pt idx="1907">3.6000000000000001</cx:pt>
          <cx:pt idx="1908">3.2999999999999998</cx:pt>
          <cx:pt idx="1909">3.3999999999999999</cx:pt>
          <cx:pt idx="1910">3.5</cx:pt>
          <cx:pt idx="1911">3.2000000000000002</cx:pt>
          <cx:pt idx="1912">3.3999999999999999</cx:pt>
          <cx:pt idx="1913">3.3999999999999999</cx:pt>
          <cx:pt idx="1914">3.3999999999999999</cx:pt>
          <cx:pt idx="1915">3.3999999999999999</cx:pt>
          <cx:pt idx="1916">3.2999999999999998</cx:pt>
          <cx:pt idx="1917">0</cx:pt>
          <cx:pt idx="1918">3.2000000000000002</cx:pt>
          <cx:pt idx="1919">3.3999999999999999</cx:pt>
          <cx:pt idx="1920">3.2999999999999998</cx:pt>
          <cx:pt idx="1921">4.9000000000000004</cx:pt>
          <cx:pt idx="1922">4.7000000000000002</cx:pt>
          <cx:pt idx="1923">4.5999999999999996</cx:pt>
          <cx:pt idx="1924">4.7999999999999998</cx:pt>
          <cx:pt idx="1925">4.4000000000000004</cx:pt>
          <cx:pt idx="1926">4.9000000000000004</cx:pt>
          <cx:pt idx="1927">4.5999999999999996</cx:pt>
          <cx:pt idx="1928">4.9000000000000004</cx:pt>
          <cx:pt idx="1929">4.5</cx:pt>
          <cx:pt idx="1930">4.2999999999999998</cx:pt>
          <cx:pt idx="1931">4.9000000000000004</cx:pt>
          <cx:pt idx="1932">4.5</cx:pt>
          <cx:pt idx="1933">4.4000000000000004</cx:pt>
          <cx:pt idx="1934">4.7999999999999998</cx:pt>
          <cx:pt idx="1935">4.5</cx:pt>
          <cx:pt idx="1936">4.5</cx:pt>
          <cx:pt idx="1937">4.5</cx:pt>
          <cx:pt idx="1938">4.2000000000000002</cx:pt>
          <cx:pt idx="1939">4.4000000000000004</cx:pt>
          <cx:pt idx="1940">4.5</cx:pt>
          <cx:pt idx="1941">4.2999999999999998</cx:pt>
          <cx:pt idx="1942">4.4000000000000004</cx:pt>
          <cx:pt idx="1943">4.2999999999999998</cx:pt>
          <cx:pt idx="1944">4</cx:pt>
          <cx:pt idx="1945">4.2000000000000002</cx:pt>
          <cx:pt idx="1946">4.5999999999999996</cx:pt>
          <cx:pt idx="1947">4.0999999999999996</cx:pt>
          <cx:pt idx="1948">4.7000000000000002</cx:pt>
          <cx:pt idx="1949">4.5</cx:pt>
          <cx:pt idx="1950">4.5</cx:pt>
          <cx:pt idx="1951">4.2999999999999998</cx:pt>
          <cx:pt idx="1952">4.2999999999999998</cx:pt>
          <cx:pt idx="1953">4.5</cx:pt>
          <cx:pt idx="1954">4</cx:pt>
          <cx:pt idx="1955">4.5</cx:pt>
          <cx:pt idx="1956">4.7999999999999998</cx:pt>
          <cx:pt idx="1957">4.7999999999999998</cx:pt>
          <cx:pt idx="1958">4.5999999999999996</cx:pt>
          <cx:pt idx="1959">4.2999999999999998</cx:pt>
          <cx:pt idx="1960">4.5</cx:pt>
          <cx:pt idx="1961">4.7000000000000002</cx:pt>
          <cx:pt idx="1962">4.5</cx:pt>
          <cx:pt idx="1963">4.7000000000000002</cx:pt>
          <cx:pt idx="1964">4.7000000000000002</cx:pt>
          <cx:pt idx="1965">4.0999999999999996</cx:pt>
          <cx:pt idx="1966">4.5</cx:pt>
          <cx:pt idx="1967">4.5999999999999996</cx:pt>
          <cx:pt idx="1968">4.2999999999999998</cx:pt>
          <cx:pt idx="1969">4.4000000000000004</cx:pt>
          <cx:pt idx="1970">4.5</cx:pt>
          <cx:pt idx="1971">4.2999999999999998</cx:pt>
          <cx:pt idx="1972">4.2999999999999998</cx:pt>
          <cx:pt idx="1973">4.5</cx:pt>
          <cx:pt idx="1974">3.8999999999999999</cx:pt>
          <cx:pt idx="1975">4.7000000000000002</cx:pt>
          <cx:pt idx="1976">4.4000000000000004</cx:pt>
          <cx:pt idx="1977">4.5999999999999996</cx:pt>
          <cx:pt idx="1978">4.5999999999999996</cx:pt>
          <cx:pt idx="1979">4.7000000000000002</cx:pt>
          <cx:pt idx="1980">4.5999999999999996</cx:pt>
          <cx:pt idx="1981">4.4000000000000004</cx:pt>
          <cx:pt idx="1982">4.4000000000000004</cx:pt>
          <cx:pt idx="1983">4.0999999999999996</cx:pt>
          <cx:pt idx="1984">4.4000000000000004</cx:pt>
          <cx:pt idx="1985">4.5</cx:pt>
          <cx:pt idx="1986">4.4000000000000004</cx:pt>
          <cx:pt idx="1987">4.2000000000000002</cx:pt>
          <cx:pt idx="1988">3.7999999999999998</cx:pt>
          <cx:pt idx="1989">4.2999999999999998</cx:pt>
          <cx:pt idx="1990">4.2999999999999998</cx:pt>
          <cx:pt idx="1991">4.0999999999999996</cx:pt>
          <cx:pt idx="1992">4.2000000000000002</cx:pt>
          <cx:pt idx="1993">4.4000000000000004</cx:pt>
          <cx:pt idx="1994">4.0999999999999996</cx:pt>
          <cx:pt idx="1995">4</cx:pt>
          <cx:pt idx="1996">4.2000000000000002</cx:pt>
          <cx:pt idx="1997">4.2999999999999998</cx:pt>
          <cx:pt idx="1998">4.0999999999999996</cx:pt>
          <cx:pt idx="1999">3.8999999999999999</cx:pt>
          <cx:pt idx="2000">4.2999999999999998</cx:pt>
          <cx:pt idx="2001">4.2999999999999998</cx:pt>
          <cx:pt idx="2002">4.2999999999999998</cx:pt>
          <cx:pt idx="2003">4.4000000000000004</cx:pt>
          <cx:pt idx="2004">4.2000000000000002</cx:pt>
          <cx:pt idx="2005">3.7999999999999998</cx:pt>
          <cx:pt idx="2006">4</cx:pt>
          <cx:pt idx="2007">4.0999999999999996</cx:pt>
          <cx:pt idx="2008">4</cx:pt>
          <cx:pt idx="2009">4</cx:pt>
          <cx:pt idx="2010">4.0999999999999996</cx:pt>
          <cx:pt idx="2011">4.0999999999999996</cx:pt>
          <cx:pt idx="2012">4.2000000000000002</cx:pt>
          <cx:pt idx="2013">4.2000000000000002</cx:pt>
          <cx:pt idx="2014">4.4000000000000004</cx:pt>
          <cx:pt idx="2015">3.7999999999999998</cx:pt>
          <cx:pt idx="2016">3.8999999999999999</cx:pt>
          <cx:pt idx="2017">3.5</cx:pt>
          <cx:pt idx="2018">4.5999999999999996</cx:pt>
          <cx:pt idx="2019">4.2000000000000002</cx:pt>
          <cx:pt idx="2020">4.5</cx:pt>
          <cx:pt idx="2021">4.2999999999999998</cx:pt>
          <cx:pt idx="2022">4.5999999999999996</cx:pt>
          <cx:pt idx="2023">4.4000000000000004</cx:pt>
          <cx:pt idx="2024">4.0999999999999996</cx:pt>
          <cx:pt idx="2025">4.2000000000000002</cx:pt>
          <cx:pt idx="2026">4.0999999999999996</cx:pt>
          <cx:pt idx="2027">4</cx:pt>
          <cx:pt idx="2028">4.0999999999999996</cx:pt>
          <cx:pt idx="2029">4</cx:pt>
          <cx:pt idx="2030">3.7999999999999998</cx:pt>
          <cx:pt idx="2031">4.0999999999999996</cx:pt>
          <cx:pt idx="2032">3.8999999999999999</cx:pt>
          <cx:pt idx="2033">3.7000000000000002</cx:pt>
          <cx:pt idx="2034">4.9000000000000004</cx:pt>
          <cx:pt idx="2035">4.9000000000000004</cx:pt>
          <cx:pt idx="2036">4.7999999999999998</cx:pt>
          <cx:pt idx="2037">4.7999999999999998</cx:pt>
          <cx:pt idx="2038">4.7999999999999998</cx:pt>
          <cx:pt idx="2039">4.7999999999999998</cx:pt>
          <cx:pt idx="2040">4.7999999999999998</cx:pt>
          <cx:pt idx="2041">4.7000000000000002</cx:pt>
          <cx:pt idx="2042">4.7000000000000002</cx:pt>
          <cx:pt idx="2043">4.7000000000000002</cx:pt>
          <cx:pt idx="2044">4.7000000000000002</cx:pt>
          <cx:pt idx="2045">4.7000000000000002</cx:pt>
          <cx:pt idx="2046">4.7000000000000002</cx:pt>
          <cx:pt idx="2047">4.5999999999999996</cx:pt>
          <cx:pt idx="2048">4.5999999999999996</cx:pt>
          <cx:pt idx="2049">4.5999999999999996</cx:pt>
          <cx:pt idx="2050">4.5999999999999996</cx:pt>
          <cx:pt idx="2051">4.5999999999999996</cx:pt>
          <cx:pt idx="2052">4.5999999999999996</cx:pt>
          <cx:pt idx="2053">4.5999999999999996</cx:pt>
          <cx:pt idx="2054">4.5999999999999996</cx:pt>
          <cx:pt idx="2055">4.5999999999999996</cx:pt>
          <cx:pt idx="2056">1.8</cx:pt>
          <cx:pt idx="2057">2</cx:pt>
          <cx:pt idx="2058">2.1000000000000001</cx:pt>
          <cx:pt idx="2059">2.1000000000000001</cx:pt>
          <cx:pt idx="2060">2.2000000000000002</cx:pt>
          <cx:pt idx="2061">2.2000000000000002</cx:pt>
          <cx:pt idx="2062">2.2000000000000002</cx:pt>
          <cx:pt idx="2063">2.2999999999999998</cx:pt>
          <cx:pt idx="2064">2.2999999999999998</cx:pt>
          <cx:pt idx="2065">2.2999999999999998</cx:pt>
          <cx:pt idx="2066">2.2999999999999998</cx:pt>
          <cx:pt idx="2067">2.2999999999999998</cx:pt>
          <cx:pt idx="2068">2.2999999999999998</cx:pt>
          <cx:pt idx="2069">2.2999999999999998</cx:pt>
          <cx:pt idx="2070">2.2999999999999998</cx:pt>
          <cx:pt idx="2071">2.2999999999999998</cx:pt>
          <cx:pt idx="2072">2.3999999999999999</cx:pt>
          <cx:pt idx="2073">2.3999999999999999</cx:pt>
          <cx:pt idx="2074">2.3999999999999999</cx:pt>
          <cx:pt idx="2075">2.3999999999999999</cx:pt>
          <cx:pt idx="2076">2.3999999999999999</cx:pt>
          <cx:pt idx="2077">2.3999999999999999</cx:pt>
          <cx:pt idx="2078">2.3999999999999999</cx:pt>
          <cx:pt idx="2079">2.3999999999999999</cx:pt>
          <cx:pt idx="2080">2.3999999999999999</cx:pt>
          <cx:pt idx="2081">2.3999999999999999</cx:pt>
          <cx:pt idx="2082">2.3999999999999999</cx:pt>
          <cx:pt idx="2083">2.5</cx:pt>
          <cx:pt idx="2084">2.5</cx:pt>
          <cx:pt idx="2085">2.5</cx:pt>
          <cx:pt idx="2086">2.5</cx:pt>
          <cx:pt idx="2087">2.5</cx:pt>
          <cx:pt idx="2088">2.5</cx:pt>
          <cx:pt idx="2089">2.5</cx:pt>
          <cx:pt idx="2090">2.5</cx:pt>
          <cx:pt idx="2091">2.5</cx:pt>
          <cx:pt idx="2092">2.5</cx:pt>
          <cx:pt idx="2093">2.5</cx:pt>
          <cx:pt idx="2094">2.5</cx:pt>
          <cx:pt idx="2095">2.5</cx:pt>
          <cx:pt idx="2096">2.5</cx:pt>
          <cx:pt idx="2097">2.5</cx:pt>
          <cx:pt idx="2098">2.5</cx:pt>
          <cx:pt idx="2099">2.5</cx:pt>
          <cx:pt idx="2100">2.5</cx:pt>
          <cx:pt idx="2101">2.5</cx:pt>
          <cx:pt idx="2102">2.5</cx:pt>
          <cx:pt idx="2103">2.5</cx:pt>
          <cx:pt idx="2104">2.5</cx:pt>
          <cx:pt idx="2105">2.5</cx:pt>
          <cx:pt idx="2106">2.5</cx:pt>
          <cx:pt idx="2107">2.5</cx:pt>
          <cx:pt idx="2108">2.5</cx:pt>
          <cx:pt idx="2109">2.5</cx:pt>
          <cx:pt idx="2110">2.6000000000000001</cx:pt>
          <cx:pt idx="2111">2.6000000000000001</cx:pt>
          <cx:pt idx="2112">2.6000000000000001</cx:pt>
          <cx:pt idx="2113">2.6000000000000001</cx:pt>
          <cx:pt idx="2114">4</cx:pt>
          <cx:pt idx="2115">4.0999999999999996</cx:pt>
          <cx:pt idx="2116">3.6000000000000001</cx:pt>
          <cx:pt idx="2117">4.4000000000000004</cx:pt>
          <cx:pt idx="2118">4</cx:pt>
          <cx:pt idx="2119">4.5</cx:pt>
          <cx:pt idx="2120">4.2999999999999998</cx:pt>
          <cx:pt idx="2121">4.2000000000000002</cx:pt>
          <cx:pt idx="2122">4.4000000000000004</cx:pt>
          <cx:pt idx="2123">4</cx:pt>
          <cx:pt idx="2124">4.5</cx:pt>
          <cx:pt idx="2125">4.0999999999999996</cx:pt>
          <cx:pt idx="2126">4.5</cx:pt>
          <cx:pt idx="2127">4.0999999999999996</cx:pt>
          <cx:pt idx="2128">4.2000000000000002</cx:pt>
          <cx:pt idx="2129">4.4000000000000004</cx:pt>
          <cx:pt idx="2130">4.2999999999999998</cx:pt>
          <cx:pt idx="2131">3.8999999999999999</cx:pt>
          <cx:pt idx="2132">4.0999999999999996</cx:pt>
          <cx:pt idx="2133">3.8999999999999999</cx:pt>
          <cx:pt idx="2134">4.2000000000000002</cx:pt>
          <cx:pt idx="2135">4.0999999999999996</cx:pt>
          <cx:pt idx="2136">4</cx:pt>
          <cx:pt idx="2137">4</cx:pt>
          <cx:pt idx="2138">3.8999999999999999</cx:pt>
          <cx:pt idx="2139">3.7000000000000002</cx:pt>
          <cx:pt idx="2140">4.0999999999999996</cx:pt>
          <cx:pt idx="2141">4.2000000000000002</cx:pt>
          <cx:pt idx="2142">3.7999999999999998</cx:pt>
          <cx:pt idx="2143">4.2999999999999998</cx:pt>
          <cx:pt idx="2144">4.4000000000000004</cx:pt>
          <cx:pt idx="2145">4</cx:pt>
          <cx:pt idx="2146">3.7999999999999998</cx:pt>
          <cx:pt idx="2147">3.7000000000000002</cx:pt>
          <cx:pt idx="2148">4.0999999999999996</cx:pt>
          <cx:pt idx="2149">4.0999999999999996</cx:pt>
          <cx:pt idx="2150">4.4000000000000004</cx:pt>
          <cx:pt idx="2151">3.7000000000000002</cx:pt>
          <cx:pt idx="2152">4.2999999999999998</cx:pt>
          <cx:pt idx="2153">4.0999999999999996</cx:pt>
          <cx:pt idx="2154">4.0999999999999996</cx:pt>
          <cx:pt idx="2155">4.2000000000000002</cx:pt>
          <cx:pt idx="2156">3.8999999999999999</cx:pt>
          <cx:pt idx="2157">4.0999999999999996</cx:pt>
          <cx:pt idx="2158">3.7999999999999998</cx:pt>
          <cx:pt idx="2159">3.7999999999999998</cx:pt>
          <cx:pt idx="2160">4.2000000000000002</cx:pt>
          <cx:pt idx="2161">4.0999999999999996</cx:pt>
          <cx:pt idx="2162">3.8999999999999999</cx:pt>
          <cx:pt idx="2163">4</cx:pt>
          <cx:pt idx="2164">4</cx:pt>
          <cx:pt idx="2165">4.0999999999999996</cx:pt>
          <cx:pt idx="2166">4.0999999999999996</cx:pt>
          <cx:pt idx="2167">4</cx:pt>
          <cx:pt idx="2168">4</cx:pt>
          <cx:pt idx="2169">4.0999999999999996</cx:pt>
          <cx:pt idx="2170">3.2999999999999998</cx:pt>
          <cx:pt idx="2171">4.0999999999999996</cx:pt>
          <cx:pt idx="2172">3.8999999999999999</cx:pt>
          <cx:pt idx="2173">4</cx:pt>
          <cx:pt idx="2174">4</cx:pt>
          <cx:pt idx="2175">3.7999999999999998</cx:pt>
          <cx:pt idx="2176">4.4000000000000004</cx:pt>
          <cx:pt idx="2177">4</cx:pt>
          <cx:pt idx="2178">4.0999999999999996</cx:pt>
          <cx:pt idx="2179">4</cx:pt>
          <cx:pt idx="2180">4.2999999999999998</cx:pt>
          <cx:pt idx="2181">3.8999999999999999</cx:pt>
          <cx:pt idx="2182">4</cx:pt>
          <cx:pt idx="2183">4.4000000000000004</cx:pt>
          <cx:pt idx="2184">3.8999999999999999</cx:pt>
          <cx:pt idx="2185">3.6000000000000001</cx:pt>
          <cx:pt idx="2186">4.2000000000000002</cx:pt>
          <cx:pt idx="2187">4.4000000000000004</cx:pt>
          <cx:pt idx="2188">4.2999999999999998</cx:pt>
          <cx:pt idx="2189">4.4000000000000004</cx:pt>
          <cx:pt idx="2190">4.0999999999999996</cx:pt>
          <cx:pt idx="2191">4.2999999999999998</cx:pt>
          <cx:pt idx="2192">4.2999999999999998</cx:pt>
          <cx:pt idx="2193">4</cx:pt>
          <cx:pt idx="2194">4.0999999999999996</cx:pt>
          <cx:pt idx="2195">4.2999999999999998</cx:pt>
          <cx:pt idx="2196">4.4000000000000004</cx:pt>
          <cx:pt idx="2197">4.5</cx:pt>
          <cx:pt idx="2198">4.4000000000000004</cx:pt>
          <cx:pt idx="2199">3.8999999999999999</cx:pt>
          <cx:pt idx="2200">4.4000000000000004</cx:pt>
          <cx:pt idx="2201">4.2000000000000002</cx:pt>
          <cx:pt idx="2202">4.4000000000000004</cx:pt>
          <cx:pt idx="2203">4.4000000000000004</cx:pt>
          <cx:pt idx="2204">4.2999999999999998</cx:pt>
          <cx:pt idx="2205">4.0999999999999996</cx:pt>
          <cx:pt idx="2206">4.4000000000000004</cx:pt>
          <cx:pt idx="2207">4.5</cx:pt>
          <cx:pt idx="2208">4.0999999999999996</cx:pt>
          <cx:pt idx="2209">4.2999999999999998</cx:pt>
          <cx:pt idx="2210">4.0999999999999996</cx:pt>
          <cx:pt idx="2211">3.8999999999999999</cx:pt>
          <cx:pt idx="2212">4.2999999999999998</cx:pt>
          <cx:pt idx="2213">4.2000000000000002</cx:pt>
          <cx:pt idx="2214">3.7999999999999998</cx:pt>
          <cx:pt idx="2215">4.0999999999999996</cx:pt>
          <cx:pt idx="2216">4.0999999999999996</cx:pt>
          <cx:pt idx="2217">4</cx:pt>
          <cx:pt idx="2218">4.0999999999999996</cx:pt>
          <cx:pt idx="2219">4.2000000000000002</cx:pt>
          <cx:pt idx="2220">4.4000000000000004</cx:pt>
          <cx:pt idx="2221">4.4000000000000004</cx:pt>
          <cx:pt idx="2222">4.2000000000000002</cx:pt>
          <cx:pt idx="2223">4</cx:pt>
          <cx:pt idx="2224">3.8999999999999999</cx:pt>
          <cx:pt idx="2225">4.0999999999999996</cx:pt>
          <cx:pt idx="2226">4.0999999999999996</cx:pt>
          <cx:pt idx="2227">3.8999999999999999</cx:pt>
          <cx:pt idx="2228">3.7999999999999998</cx:pt>
          <cx:pt idx="2229">3.7000000000000002</cx:pt>
          <cx:pt idx="2230">4</cx:pt>
          <cx:pt idx="2231">4.4000000000000004</cx:pt>
          <cx:pt idx="2232">4</cx:pt>
          <cx:pt idx="2233">4.2000000000000002</cx:pt>
          <cx:pt idx="2234">4.2999999999999998</cx:pt>
          <cx:pt idx="2235">4.0999999999999996</cx:pt>
          <cx:pt idx="2236">4</cx:pt>
          <cx:pt idx="2237">4.0999999999999996</cx:pt>
          <cx:pt idx="2238">4</cx:pt>
          <cx:pt idx="2239">3.5</cx:pt>
          <cx:pt idx="2240">3.7000000000000002</cx:pt>
          <cx:pt idx="2241">4</cx:pt>
          <cx:pt idx="2242">3.7999999999999998</cx:pt>
          <cx:pt idx="2243">3.7000000000000002</cx:pt>
          <cx:pt idx="2244">3.8999999999999999</cx:pt>
          <cx:pt idx="2245">3.3999999999999999</cx:pt>
          <cx:pt idx="2246">3.7000000000000002</cx:pt>
          <cx:pt idx="2247">3.8999999999999999</cx:pt>
          <cx:pt idx="2248">3.7000000000000002</cx:pt>
          <cx:pt idx="2249">3.6000000000000001</cx:pt>
          <cx:pt idx="2250">2.8999999999999999</cx:pt>
          <cx:pt idx="2251">3.5</cx:pt>
          <cx:pt idx="2252">3.7999999999999998</cx:pt>
          <cx:pt idx="2253">3.6000000000000001</cx:pt>
          <cx:pt idx="2254">3.6000000000000001</cx:pt>
          <cx:pt idx="2255">3.1000000000000001</cx:pt>
          <cx:pt idx="2256">3.2000000000000002</cx:pt>
          <cx:pt idx="2257">3.7000000000000002</cx:pt>
          <cx:pt idx="2258">4.2999999999999998</cx:pt>
          <cx:pt idx="2259">4.2000000000000002</cx:pt>
          <cx:pt idx="2260">4</cx:pt>
          <cx:pt idx="2261">4.0999999999999996</cx:pt>
          <cx:pt idx="2262">0</cx:pt>
          <cx:pt idx="2263">0</cx:pt>
          <cx:pt idx="2264">0</cx:pt>
          <cx:pt idx="2265">3.7000000000000002</cx:pt>
          <cx:pt idx="2266">3.8999999999999999</cx:pt>
          <cx:pt idx="2267">3.8999999999999999</cx:pt>
          <cx:pt idx="2268">3.8999999999999999</cx:pt>
          <cx:pt idx="2269">4</cx:pt>
          <cx:pt idx="2270">3.7000000000000002</cx:pt>
          <cx:pt idx="2271">3.8999999999999999</cx:pt>
          <cx:pt idx="2272">3.6000000000000001</cx:pt>
          <cx:pt idx="2273">3.7000000000000002</cx:pt>
          <cx:pt idx="2274">3.8999999999999999</cx:pt>
          <cx:pt idx="2275">3.8999999999999999</cx:pt>
          <cx:pt idx="2276">3.1000000000000001</cx:pt>
          <cx:pt idx="2277">3.1000000000000001</cx:pt>
          <cx:pt idx="2278">3.7000000000000002</cx:pt>
          <cx:pt idx="2279">3.7999999999999998</cx:pt>
          <cx:pt idx="2280">3.6000000000000001</cx:pt>
          <cx:pt idx="2281">3.6000000000000001</cx:pt>
          <cx:pt idx="2282">3.7000000000000002</cx:pt>
          <cx:pt idx="2283">2.6000000000000001</cx:pt>
          <cx:pt idx="2284">2.6000000000000001</cx:pt>
          <cx:pt idx="2285">2.7000000000000002</cx:pt>
          <cx:pt idx="2286">3.7999999999999998</cx:pt>
          <cx:pt idx="2287">4.2999999999999998</cx:pt>
          <cx:pt idx="2288">4.2000000000000002</cx:pt>
          <cx:pt idx="2289">4.5</cx:pt>
          <cx:pt idx="2290">4.5</cx:pt>
          <cx:pt idx="2291">4.0999999999999996</cx:pt>
          <cx:pt idx="2292">4.2000000000000002</cx:pt>
          <cx:pt idx="2293">4.4000000000000004</cx:pt>
          <cx:pt idx="2294">4.2000000000000002</cx:pt>
          <cx:pt idx="2295">4.5</cx:pt>
          <cx:pt idx="2296">4.2999999999999998</cx:pt>
          <cx:pt idx="2297">4.2999999999999998</cx:pt>
          <cx:pt idx="2298">4.5</cx:pt>
          <cx:pt idx="2299">4.2000000000000002</cx:pt>
          <cx:pt idx="2300">4.2999999999999998</cx:pt>
          <cx:pt idx="2301">4.2999999999999998</cx:pt>
          <cx:pt idx="2302">4</cx:pt>
          <cx:pt idx="2303">4.2999999999999998</cx:pt>
          <cx:pt idx="2304">4.0999999999999996</cx:pt>
          <cx:pt idx="2305">4.2999999999999998</cx:pt>
          <cx:pt idx="2306">4.0999999999999996</cx:pt>
          <cx:pt idx="2307">4.2999999999999998</cx:pt>
          <cx:pt idx="2308">4.2000000000000002</cx:pt>
          <cx:pt idx="2309">4.2000000000000002</cx:pt>
          <cx:pt idx="2310">3.8999999999999999</cx:pt>
          <cx:pt idx="2311">4</cx:pt>
          <cx:pt idx="2312">4.2999999999999998</cx:pt>
          <cx:pt idx="2313">3.8999999999999999</cx:pt>
          <cx:pt idx="2314">4.2000000000000002</cx:pt>
          <cx:pt idx="2315">3.8999999999999999</cx:pt>
          <cx:pt idx="2316">3.7999999999999998</cx:pt>
          <cx:pt idx="2317">3.8999999999999999</cx:pt>
          <cx:pt idx="2318">3.8999999999999999</cx:pt>
          <cx:pt idx="2319">4.2000000000000002</cx:pt>
          <cx:pt idx="2320">4.2000000000000002</cx:pt>
          <cx:pt idx="2321">4.0999999999999996</cx:pt>
          <cx:pt idx="2322">4.0999999999999996</cx:pt>
          <cx:pt idx="2323">4.0999999999999996</cx:pt>
          <cx:pt idx="2324">2.6000000000000001</cx:pt>
          <cx:pt idx="2325">3.8999999999999999</cx:pt>
          <cx:pt idx="2326">4.2999999999999998</cx:pt>
          <cx:pt idx="2327">3.8999999999999999</cx:pt>
          <cx:pt idx="2328">3.5</cx:pt>
          <cx:pt idx="2329">3.7000000000000002</cx:pt>
          <cx:pt idx="2330">4</cx:pt>
          <cx:pt idx="2331">4.0999999999999996</cx:pt>
          <cx:pt idx="2332">4.0999999999999996</cx:pt>
          <cx:pt idx="2333">4.5</cx:pt>
          <cx:pt idx="2334">4.2000000000000002</cx:pt>
          <cx:pt idx="2335">4</cx:pt>
          <cx:pt idx="2336">4</cx:pt>
          <cx:pt idx="2337">4.2999999999999998</cx:pt>
          <cx:pt idx="2338">3.7000000000000002</cx:pt>
          <cx:pt idx="2339">4</cx:pt>
          <cx:pt idx="2340">4</cx:pt>
          <cx:pt idx="2341">3.8999999999999999</cx:pt>
          <cx:pt idx="2342">3.7000000000000002</cx:pt>
          <cx:pt idx="2343">3.5</cx:pt>
          <cx:pt idx="2344">3</cx:pt>
          <cx:pt idx="2345">3.6000000000000001</cx:pt>
          <cx:pt idx="2346">4</cx:pt>
          <cx:pt idx="2347">3.2999999999999998</cx:pt>
          <cx:pt idx="2348">3.2999999999999998</cx:pt>
          <cx:pt idx="2349">3.7000000000000002</cx:pt>
          <cx:pt idx="2350">3.7000000000000002</cx:pt>
          <cx:pt idx="2351">3.2999999999999998</cx:pt>
          <cx:pt idx="2352">3.7000000000000002</cx:pt>
          <cx:pt idx="2353">2.7999999999999998</cx:pt>
          <cx:pt idx="2354">3.3999999999999999</cx:pt>
          <cx:pt idx="2355">3.5</cx:pt>
          <cx:pt idx="2356">3.2000000000000002</cx:pt>
          <cx:pt idx="2357">3.2999999999999998</cx:pt>
          <cx:pt idx="2358">0</cx:pt>
          <cx:pt idx="2359">0</cx:pt>
          <cx:pt idx="2360">0</cx:pt>
          <cx:pt idx="2361">4.4000000000000004</cx:pt>
          <cx:pt idx="2362">4.2999999999999998</cx:pt>
          <cx:pt idx="2363">4.2000000000000002</cx:pt>
          <cx:pt idx="2364">4.0999999999999996</cx:pt>
          <cx:pt idx="2365">2.7999999999999998</cx:pt>
          <cx:pt idx="2366">4.2999999999999998</cx:pt>
          <cx:pt idx="2367">4.2999999999999998</cx:pt>
          <cx:pt idx="2368">4.0999999999999996</cx:pt>
          <cx:pt idx="2369">3.8999999999999999</cx:pt>
          <cx:pt idx="2370">3</cx:pt>
          <cx:pt idx="2371">3.8999999999999999</cx:pt>
          <cx:pt idx="2372">3.3999999999999999</cx:pt>
          <cx:pt idx="2373">3.7000000000000002</cx:pt>
          <cx:pt idx="2374">3.7999999999999998</cx:pt>
          <cx:pt idx="2375">3.7000000000000002</cx:pt>
          <cx:pt idx="2376">0</cx:pt>
          <cx:pt idx="2377">3.5</cx:pt>
          <cx:pt idx="2378">3.5</cx:pt>
          <cx:pt idx="2379">3.3999999999999999</cx:pt>
          <cx:pt idx="2380">3.2000000000000002</cx:pt>
          <cx:pt idx="2381">3.2000000000000002</cx:pt>
          <cx:pt idx="2382">0</cx:pt>
          <cx:pt idx="2383">3.2999999999999998</cx:pt>
          <cx:pt idx="2384">0</cx:pt>
          <cx:pt idx="2385">0</cx:pt>
          <cx:pt idx="2386">0</cx:pt>
          <cx:pt idx="2387">0</cx:pt>
          <cx:pt idx="2388">0</cx:pt>
          <cx:pt idx="2389">0</cx:pt>
          <cx:pt idx="2390">0</cx:pt>
          <cx:pt idx="2391">3.7000000000000002</cx:pt>
          <cx:pt idx="2392">4.0999999999999996</cx:pt>
          <cx:pt idx="2393">3.6000000000000001</cx:pt>
          <cx:pt idx="2394">3.7000000000000002</cx:pt>
          <cx:pt idx="2395">3.6000000000000001</cx:pt>
          <cx:pt idx="2396">3.7999999999999998</cx:pt>
          <cx:pt idx="2397">3.7999999999999998</cx:pt>
          <cx:pt idx="2398">3.7000000000000002</cx:pt>
          <cx:pt idx="2399">3.7000000000000002</cx:pt>
          <cx:pt idx="2400">3.5</cx:pt>
          <cx:pt idx="2401">3.3999999999999999</cx:pt>
          <cx:pt idx="2402">3.3999999999999999</cx:pt>
          <cx:pt idx="2403">0</cx:pt>
          <cx:pt idx="2404">3.2999999999999998</cx:pt>
          <cx:pt idx="2405">0</cx:pt>
          <cx:pt idx="2406">3.6000000000000001</cx:pt>
          <cx:pt idx="2407">0</cx:pt>
          <cx:pt idx="2408">4.0999999999999996</cx:pt>
          <cx:pt idx="2409">4.2999999999999998</cx:pt>
          <cx:pt idx="2410">4.4000000000000004</cx:pt>
          <cx:pt idx="2411">3.8999999999999999</cx:pt>
          <cx:pt idx="2412">4.2000000000000002</cx:pt>
          <cx:pt idx="2413">4.0999999999999996</cx:pt>
          <cx:pt idx="2414">4.2000000000000002</cx:pt>
          <cx:pt idx="2415">4.2000000000000002</cx:pt>
          <cx:pt idx="2416">4</cx:pt>
          <cx:pt idx="2417">4.2000000000000002</cx:pt>
          <cx:pt idx="2418">3.8999999999999999</cx:pt>
          <cx:pt idx="2419">4.0999999999999996</cx:pt>
          <cx:pt idx="2420">3.8999999999999999</cx:pt>
          <cx:pt idx="2421">4.2999999999999998</cx:pt>
          <cx:pt idx="2422">3.8999999999999999</cx:pt>
          <cx:pt idx="2423">4.0999999999999996</cx:pt>
          <cx:pt idx="2424">3.8999999999999999</cx:pt>
          <cx:pt idx="2425">4</cx:pt>
          <cx:pt idx="2426">4</cx:pt>
          <cx:pt idx="2427">3</cx:pt>
          <cx:pt idx="2428">4.2000000000000002</cx:pt>
          <cx:pt idx="2429">4</cx:pt>
          <cx:pt idx="2430">3.7000000000000002</cx:pt>
          <cx:pt idx="2431">3.6000000000000001</cx:pt>
          <cx:pt idx="2432">3.8999999999999999</cx:pt>
          <cx:pt idx="2433">3.7000000000000002</cx:pt>
          <cx:pt idx="2434">3.7999999999999998</cx:pt>
          <cx:pt idx="2435">4.4000000000000004</cx:pt>
          <cx:pt idx="2436">4.0999999999999996</cx:pt>
          <cx:pt idx="2437">4.5</cx:pt>
          <cx:pt idx="2438">4.0999999999999996</cx:pt>
          <cx:pt idx="2439">4</cx:pt>
          <cx:pt idx="2440">3.6000000000000001</cx:pt>
          <cx:pt idx="2441">4</cx:pt>
          <cx:pt idx="2442">4</cx:pt>
          <cx:pt idx="2443">3.7999999999999998</cx:pt>
          <cx:pt idx="2444">4</cx:pt>
          <cx:pt idx="2445">4.2000000000000002</cx:pt>
          <cx:pt idx="2446">4</cx:pt>
          <cx:pt idx="2447">3.7999999999999998</cx:pt>
          <cx:pt idx="2448">4</cx:pt>
          <cx:pt idx="2449">4</cx:pt>
          <cx:pt idx="2450">3.2000000000000002</cx:pt>
          <cx:pt idx="2451">4.2999999999999998</cx:pt>
          <cx:pt idx="2452">4.2999999999999998</cx:pt>
          <cx:pt idx="2453">4.4000000000000004</cx:pt>
          <cx:pt idx="2454">4.5</cx:pt>
          <cx:pt idx="2455">4.5</cx:pt>
          <cx:pt idx="2456">4.4000000000000004</cx:pt>
          <cx:pt idx="2457">4.2000000000000002</cx:pt>
          <cx:pt idx="2458">4.5</cx:pt>
          <cx:pt idx="2459">4.5</cx:pt>
          <cx:pt idx="2460">4.2999999999999998</cx:pt>
          <cx:pt idx="2461">4</cx:pt>
          <cx:pt idx="2462">4</cx:pt>
          <cx:pt idx="2463">4.2000000000000002</cx:pt>
          <cx:pt idx="2464">4</cx:pt>
          <cx:pt idx="2465">3.7999999999999998</cx:pt>
          <cx:pt idx="2466">3.8999999999999999</cx:pt>
          <cx:pt idx="2467">4.0999999999999996</cx:pt>
          <cx:pt idx="2468">4</cx:pt>
          <cx:pt idx="2469">4.4000000000000004</cx:pt>
          <cx:pt idx="2470">4.2000000000000002</cx:pt>
          <cx:pt idx="2471">4.2999999999999998</cx:pt>
          <cx:pt idx="2472">3.8999999999999999</cx:pt>
          <cx:pt idx="2473">4</cx:pt>
          <cx:pt idx="2474">4.0999999999999996</cx:pt>
          <cx:pt idx="2475">4.0999999999999996</cx:pt>
          <cx:pt idx="2476">4.0999999999999996</cx:pt>
          <cx:pt idx="2477">4</cx:pt>
          <cx:pt idx="2478">3.7999999999999998</cx:pt>
          <cx:pt idx="2479">3.7999999999999998</cx:pt>
          <cx:pt idx="2480">4.2999999999999998</cx:pt>
          <cx:pt idx="2481">4.4000000000000004</cx:pt>
          <cx:pt idx="2482">4.2000000000000002</cx:pt>
          <cx:pt idx="2483">4.2000000000000002</cx:pt>
          <cx:pt idx="2484">4.2999999999999998</cx:pt>
          <cx:pt idx="2485">4.2000000000000002</cx:pt>
          <cx:pt idx="2486">4.0999999999999996</cx:pt>
          <cx:pt idx="2487">4.0999999999999996</cx:pt>
          <cx:pt idx="2488">4.0999999999999996</cx:pt>
          <cx:pt idx="2489">4.4000000000000004</cx:pt>
          <cx:pt idx="2490">4.0999999999999996</cx:pt>
          <cx:pt idx="2491">4.4000000000000004</cx:pt>
          <cx:pt idx="2492">4.2999999999999998</cx:pt>
          <cx:pt idx="2493">4.0999999999999996</cx:pt>
          <cx:pt idx="2494">4.4000000000000004</cx:pt>
          <cx:pt idx="2495">3.8999999999999999</cx:pt>
          <cx:pt idx="2496">4.2999999999999998</cx:pt>
          <cx:pt idx="2497">3.8999999999999999</cx:pt>
          <cx:pt idx="2498">3.7999999999999998</cx:pt>
          <cx:pt idx="2499">4.0999999999999996</cx:pt>
          <cx:pt idx="2500">4.2000000000000002</cx:pt>
          <cx:pt idx="2501">3.7999999999999998</cx:pt>
          <cx:pt idx="2502">3.8999999999999999</cx:pt>
          <cx:pt idx="2503">4.2000000000000002</cx:pt>
          <cx:pt idx="2504">4.4000000000000004</cx:pt>
          <cx:pt idx="2505">4.2999999999999998</cx:pt>
          <cx:pt idx="2506">4.2000000000000002</cx:pt>
          <cx:pt idx="2507">4.0999999999999996</cx:pt>
          <cx:pt idx="2508">4.2000000000000002</cx:pt>
          <cx:pt idx="2509">4.0999999999999996</cx:pt>
          <cx:pt idx="2510">3.8999999999999999</cx:pt>
          <cx:pt idx="2511">4.2000000000000002</cx:pt>
          <cx:pt idx="2512">4.2000000000000002</cx:pt>
          <cx:pt idx="2513">4.0999999999999996</cx:pt>
          <cx:pt idx="2514">3.7000000000000002</cx:pt>
          <cx:pt idx="2515">3.7000000000000002</cx:pt>
          <cx:pt idx="2516">4.0999999999999996</cx:pt>
          <cx:pt idx="2517">4</cx:pt>
          <cx:pt idx="2518">3.7999999999999998</cx:pt>
          <cx:pt idx="2519">4</cx:pt>
          <cx:pt idx="2520">4</cx:pt>
          <cx:pt idx="2521">3.7999999999999998</cx:pt>
          <cx:pt idx="2522">3.8999999999999999</cx:pt>
          <cx:pt idx="2523">4</cx:pt>
          <cx:pt idx="2524">3.7999999999999998</cx:pt>
          <cx:pt idx="2525">4.2999999999999998</cx:pt>
          <cx:pt idx="2526">4.4000000000000004</cx:pt>
          <cx:pt idx="2527">3.8999999999999999</cx:pt>
          <cx:pt idx="2528">4.0999999999999996</cx:pt>
          <cx:pt idx="2529">3.8999999999999999</cx:pt>
          <cx:pt idx="2530">3.7999999999999998</cx:pt>
          <cx:pt idx="2531">4.2000000000000002</cx:pt>
          <cx:pt idx="2532">4.2000000000000002</cx:pt>
          <cx:pt idx="2533">4.2000000000000002</cx:pt>
          <cx:pt idx="2534">4.4000000000000004</cx:pt>
          <cx:pt idx="2535">4.2999999999999998</cx:pt>
          <cx:pt idx="2536">4.0999999999999996</cx:pt>
          <cx:pt idx="2537">4.2999999999999998</cx:pt>
          <cx:pt idx="2538">3.7999999999999998</cx:pt>
          <cx:pt idx="2539">4.2999999999999998</cx:pt>
          <cx:pt idx="2540">4</cx:pt>
          <cx:pt idx="2541">4.2999999999999998</cx:pt>
          <cx:pt idx="2542">4.0999999999999996</cx:pt>
          <cx:pt idx="2543">4.2000000000000002</cx:pt>
          <cx:pt idx="2544">4.2000000000000002</cx:pt>
          <cx:pt idx="2545">4.2000000000000002</cx:pt>
          <cx:pt idx="2546">4</cx:pt>
          <cx:pt idx="2547">4.0999999999999996</cx:pt>
          <cx:pt idx="2548">4.4000000000000004</cx:pt>
          <cx:pt idx="2549">3.7999999999999998</cx:pt>
          <cx:pt idx="2550">3.7000000000000002</cx:pt>
          <cx:pt idx="2551">3.8999999999999999</cx:pt>
          <cx:pt idx="2552">4.2999999999999998</cx:pt>
          <cx:pt idx="2553">4.4000000000000004</cx:pt>
          <cx:pt idx="2554">4</cx:pt>
          <cx:pt idx="2555">4.4000000000000004</cx:pt>
          <cx:pt idx="2556">4.5</cx:pt>
          <cx:pt idx="2557">4.2999999999999998</cx:pt>
          <cx:pt idx="2558">4.2000000000000002</cx:pt>
          <cx:pt idx="2559">4.0999999999999996</cx:pt>
          <cx:pt idx="2560">4.2000000000000002</cx:pt>
          <cx:pt idx="2561">4.2000000000000002</cx:pt>
          <cx:pt idx="2562">4.2999999999999998</cx:pt>
          <cx:pt idx="2563">4.0999999999999996</cx:pt>
          <cx:pt idx="2564">4.0999999999999996</cx:pt>
          <cx:pt idx="2565">4</cx:pt>
          <cx:pt idx="2566">4</cx:pt>
          <cx:pt idx="2567">4.0999999999999996</cx:pt>
          <cx:pt idx="2568">4.2999999999999998</cx:pt>
          <cx:pt idx="2569">4.2000000000000002</cx:pt>
          <cx:pt idx="2570">4</cx:pt>
          <cx:pt idx="2571">4</cx:pt>
          <cx:pt idx="2572">3.7999999999999998</cx:pt>
          <cx:pt idx="2573">3.6000000000000001</cx:pt>
          <cx:pt idx="2574">4.2999999999999998</cx:pt>
          <cx:pt idx="2575">4.2000000000000002</cx:pt>
          <cx:pt idx="2576">4.2000000000000002</cx:pt>
          <cx:pt idx="2577">3.5</cx:pt>
          <cx:pt idx="2578">0</cx:pt>
          <cx:pt idx="2579">0</cx:pt>
          <cx:pt idx="2580">4.2999999999999998</cx:pt>
          <cx:pt idx="2581">4.2000000000000002</cx:pt>
          <cx:pt idx="2582">4.4000000000000004</cx:pt>
          <cx:pt idx="2583">3.8999999999999999</cx:pt>
          <cx:pt idx="2584">4.0999999999999996</cx:pt>
          <cx:pt idx="2585">3.8999999999999999</cx:pt>
          <cx:pt idx="2586">4.0999999999999996</cx:pt>
          <cx:pt idx="2587">4.0999999999999996</cx:pt>
          <cx:pt idx="2588">4.0999999999999996</cx:pt>
          <cx:pt idx="2589">4</cx:pt>
          <cx:pt idx="2590">3.7000000000000002</cx:pt>
          <cx:pt idx="2591">3.8999999999999999</cx:pt>
          <cx:pt idx="2592">3.8999999999999999</cx:pt>
          <cx:pt idx="2593">4</cx:pt>
          <cx:pt idx="2594">4.5</cx:pt>
          <cx:pt idx="2595">4.0999999999999996</cx:pt>
          <cx:pt idx="2596">4.0999999999999996</cx:pt>
          <cx:pt idx="2597">4.4000000000000004</cx:pt>
          <cx:pt idx="2598">3.8999999999999999</cx:pt>
          <cx:pt idx="2599">3.7999999999999998</cx:pt>
          <cx:pt idx="2600">4</cx:pt>
          <cx:pt idx="2601">4.0999999999999996</cx:pt>
          <cx:pt idx="2602">4.5</cx:pt>
          <cx:pt idx="2603">4</cx:pt>
          <cx:pt idx="2604">4.0999999999999996</cx:pt>
          <cx:pt idx="2605">3.6000000000000001</cx:pt>
          <cx:pt idx="2606">3.8999999999999999</cx:pt>
          <cx:pt idx="2607">3.6000000000000001</cx:pt>
          <cx:pt idx="2608">4.5</cx:pt>
          <cx:pt idx="2609">0</cx:pt>
          <cx:pt idx="2610">3.7000000000000002</cx:pt>
          <cx:pt idx="2611">4</cx:pt>
          <cx:pt idx="2612">4</cx:pt>
          <cx:pt idx="2613">4.0999999999999996</cx:pt>
          <cx:pt idx="2614">4.0999999999999996</cx:pt>
          <cx:pt idx="2615">4.2000000000000002</cx:pt>
          <cx:pt idx="2616">4</cx:pt>
          <cx:pt idx="2617">4.2999999999999998</cx:pt>
          <cx:pt idx="2618">3.7999999999999998</cx:pt>
          <cx:pt idx="2619">4</cx:pt>
          <cx:pt idx="2620">3.7999999999999998</cx:pt>
          <cx:pt idx="2621">4.2000000000000002</cx:pt>
          <cx:pt idx="2622">4</cx:pt>
          <cx:pt idx="2623">4.2000000000000002</cx:pt>
          <cx:pt idx="2624">4.2000000000000002</cx:pt>
          <cx:pt idx="2625">4.2999999999999998</cx:pt>
          <cx:pt idx="2626">4.2999999999999998</cx:pt>
          <cx:pt idx="2627">4.0999999999999996</cx:pt>
          <cx:pt idx="2628">4.0999999999999996</cx:pt>
          <cx:pt idx="2629">4.2999999999999998</cx:pt>
          <cx:pt idx="2630">4.0999999999999996</cx:pt>
          <cx:pt idx="2631">4.5</cx:pt>
          <cx:pt idx="2632">3</cx:pt>
          <cx:pt idx="2633">3.8999999999999999</cx:pt>
          <cx:pt idx="2634">3.7999999999999998</cx:pt>
          <cx:pt idx="2635">3.7999999999999998</cx:pt>
          <cx:pt idx="2636">3.7999999999999998</cx:pt>
          <cx:pt idx="2637">4.0999999999999996</cx:pt>
          <cx:pt idx="2638">4</cx:pt>
          <cx:pt idx="2639">4.2000000000000002</cx:pt>
          <cx:pt idx="2640">3.7000000000000002</cx:pt>
          <cx:pt idx="2641">3.7999999999999998</cx:pt>
          <cx:pt idx="2642">3.8999999999999999</cx:pt>
          <cx:pt idx="2643">4.7999999999999998</cx:pt>
          <cx:pt idx="2644">4.2999999999999998</cx:pt>
          <cx:pt idx="2645">4.5999999999999996</cx:pt>
          <cx:pt idx="2646">4.4000000000000004</cx:pt>
          <cx:pt idx="2647">4.5</cx:pt>
          <cx:pt idx="2648">4.2000000000000002</cx:pt>
          <cx:pt idx="2649">4.2999999999999998</cx:pt>
          <cx:pt idx="2650">3.8999999999999999</cx:pt>
          <cx:pt idx="2651">4.0999999999999996</cx:pt>
          <cx:pt idx="2652">4.0999999999999996</cx:pt>
          <cx:pt idx="2653">4</cx:pt>
          <cx:pt idx="2654">4.2000000000000002</cx:pt>
          <cx:pt idx="2655">4.5999999999999996</cx:pt>
          <cx:pt idx="2656">4.2000000000000002</cx:pt>
          <cx:pt idx="2657">4.0999999999999996</cx:pt>
          <cx:pt idx="2658">4.2000000000000002</cx:pt>
          <cx:pt idx="2659">4.2999999999999998</cx:pt>
          <cx:pt idx="2660">4.2000000000000002</cx:pt>
          <cx:pt idx="2661">3.7999999999999998</cx:pt>
          <cx:pt idx="2662">4</cx:pt>
          <cx:pt idx="2663">4.7000000000000002</cx:pt>
          <cx:pt idx="2664">4</cx:pt>
          <cx:pt idx="2665">4</cx:pt>
          <cx:pt idx="2666">3.8999999999999999</cx:pt>
          <cx:pt idx="2667">4.2000000000000002</cx:pt>
          <cx:pt idx="2668">4.0999999999999996</cx:pt>
          <cx:pt idx="2669">4</cx:pt>
          <cx:pt idx="2670">4.0999999999999996</cx:pt>
          <cx:pt idx="2671">3.8999999999999999</cx:pt>
          <cx:pt idx="2672">4.2000000000000002</cx:pt>
          <cx:pt idx="2673">3.7000000000000002</cx:pt>
          <cx:pt idx="2674">4.2000000000000002</cx:pt>
          <cx:pt idx="2675">4.2999999999999998</cx:pt>
          <cx:pt idx="2676">4.5999999999999996</cx:pt>
          <cx:pt idx="2677">3.7999999999999998</cx:pt>
          <cx:pt idx="2678">3.7000000000000002</cx:pt>
          <cx:pt idx="2679">3.8999999999999999</cx:pt>
          <cx:pt idx="2680">4.9000000000000004</cx:pt>
          <cx:pt idx="2681">4.0999999999999996</cx:pt>
          <cx:pt idx="2682">3.7999999999999998</cx:pt>
          <cx:pt idx="2683">3.8999999999999999</cx:pt>
          <cx:pt idx="2684">3.8999999999999999</cx:pt>
          <cx:pt idx="2685">3.7000000000000002</cx:pt>
          <cx:pt idx="2686">3.5</cx:pt>
          <cx:pt idx="2687">3.8999999999999999</cx:pt>
          <cx:pt idx="2688">3.8999999999999999</cx:pt>
          <cx:pt idx="2689">4.0999999999999996</cx:pt>
          <cx:pt idx="2690">3.6000000000000001</cx:pt>
          <cx:pt idx="2691">3.8999999999999999</cx:pt>
          <cx:pt idx="2692">4</cx:pt>
          <cx:pt idx="2693">4</cx:pt>
          <cx:pt idx="2694">4</cx:pt>
          <cx:pt idx="2695">3.7000000000000002</cx:pt>
          <cx:pt idx="2696">4</cx:pt>
          <cx:pt idx="2697">4.2000000000000002</cx:pt>
          <cx:pt idx="2698">4.5</cx:pt>
          <cx:pt idx="2699">4.4000000000000004</cx:pt>
          <cx:pt idx="2700">3.8999999999999999</cx:pt>
          <cx:pt idx="2701">3.5</cx:pt>
          <cx:pt idx="2702">3.8999999999999999</cx:pt>
          <cx:pt idx="2703">3.8999999999999999</cx:pt>
          <cx:pt idx="2704">3.8999999999999999</cx:pt>
          <cx:pt idx="2705">4.0999999999999996</cx:pt>
          <cx:pt idx="2706">4.5</cx:pt>
          <cx:pt idx="2707">3.5</cx:pt>
          <cx:pt idx="2708">4.4000000000000004</cx:pt>
          <cx:pt idx="2709">4.0999999999999996</cx:pt>
          <cx:pt idx="2710">4.2000000000000002</cx:pt>
          <cx:pt idx="2711">4</cx:pt>
          <cx:pt idx="2712">4.4000000000000004</cx:pt>
          <cx:pt idx="2713">4.2999999999999998</cx:pt>
          <cx:pt idx="2714">3.5</cx:pt>
          <cx:pt idx="2715">3.6000000000000001</cx:pt>
          <cx:pt idx="2716">3.5</cx:pt>
          <cx:pt idx="2717">3.3999999999999999</cx:pt>
          <cx:pt idx="2718">0</cx:pt>
          <cx:pt idx="2719">3.8999999999999999</cx:pt>
          <cx:pt idx="2720">3.6000000000000001</cx:pt>
          <cx:pt idx="2721">3.3999999999999999</cx:pt>
          <cx:pt idx="2722">3.5</cx:pt>
          <cx:pt idx="2723">3.2999999999999998</cx:pt>
          <cx:pt idx="2724">3.3999999999999999</cx:pt>
          <cx:pt idx="2725">3.1000000000000001</cx:pt>
          <cx:pt idx="2726">2.7999999999999998</cx:pt>
          <cx:pt idx="2727">3</cx:pt>
          <cx:pt idx="2728">0</cx:pt>
          <cx:pt idx="2729">3</cx:pt>
          <cx:pt idx="2730">0</cx:pt>
          <cx:pt idx="2731">0</cx:pt>
          <cx:pt idx="2732">2.6000000000000001</cx:pt>
          <cx:pt idx="2733">3</cx:pt>
          <cx:pt idx="2734">3</cx:pt>
          <cx:pt idx="2735">2.8999999999999999</cx:pt>
          <cx:pt idx="2736">3.1000000000000001</cx:pt>
          <cx:pt idx="2737">3</cx:pt>
          <cx:pt idx="2738">0</cx:pt>
          <cx:pt idx="2739">0</cx:pt>
          <cx:pt idx="2740">0</cx:pt>
          <cx:pt idx="2741">0</cx:pt>
          <cx:pt idx="2742">3.5</cx:pt>
          <cx:pt idx="2743">3.2000000000000002</cx:pt>
          <cx:pt idx="2744">0</cx:pt>
          <cx:pt idx="2745">0</cx:pt>
          <cx:pt idx="2746">0</cx:pt>
          <cx:pt idx="2747">4.4000000000000004</cx:pt>
          <cx:pt idx="2748">3.8999999999999999</cx:pt>
          <cx:pt idx="2749">3.8999999999999999</cx:pt>
          <cx:pt idx="2750">4.2000000000000002</cx:pt>
          <cx:pt idx="2751">3.3999999999999999</cx:pt>
          <cx:pt idx="2752">3.7999999999999998</cx:pt>
          <cx:pt idx="2753">3.7999999999999998</cx:pt>
          <cx:pt idx="2754">3.7999999999999998</cx:pt>
          <cx:pt idx="2755">3.6000000000000001</cx:pt>
          <cx:pt idx="2756">3.7999999999999998</cx:pt>
          <cx:pt idx="2757">3.6000000000000001</cx:pt>
          <cx:pt idx="2758">3.5</cx:pt>
          <cx:pt idx="2759">3.2999999999999998</cx:pt>
          <cx:pt idx="2760">3.5</cx:pt>
          <cx:pt idx="2761">3.5</cx:pt>
          <cx:pt idx="2762">3.5</cx:pt>
          <cx:pt idx="2763">3.2000000000000002</cx:pt>
          <cx:pt idx="2764">3.3999999999999999</cx:pt>
          <cx:pt idx="2765">3.3999999999999999</cx:pt>
          <cx:pt idx="2766">2.7000000000000002</cx:pt>
          <cx:pt idx="2767">3.7999999999999998</cx:pt>
          <cx:pt idx="2768">2.8999999999999999</cx:pt>
          <cx:pt idx="2769">3.3999999999999999</cx:pt>
          <cx:pt idx="2770">3.3999999999999999</cx:pt>
          <cx:pt idx="2771">3.3999999999999999</cx:pt>
          <cx:pt idx="2772">2.7000000000000002</cx:pt>
          <cx:pt idx="2773">2.6000000000000001</cx:pt>
          <cx:pt idx="2774">3.6000000000000001</cx:pt>
          <cx:pt idx="2775">3.6000000000000001</cx:pt>
          <cx:pt idx="2776">3.1000000000000001</cx:pt>
          <cx:pt idx="2777">0</cx:pt>
          <cx:pt idx="2778">0</cx:pt>
          <cx:pt idx="2779">0</cx:pt>
          <cx:pt idx="2780">0</cx:pt>
          <cx:pt idx="2781">0</cx:pt>
          <cx:pt idx="2782">3.6000000000000001</cx:pt>
          <cx:pt idx="2783">4.0999999999999996</cx:pt>
          <cx:pt idx="2784">3.5</cx:pt>
          <cx:pt idx="2785">3.8999999999999999</cx:pt>
          <cx:pt idx="2786">3.6000000000000001</cx:pt>
          <cx:pt idx="2787">3.2000000000000002</cx:pt>
          <cx:pt idx="2788">3.6000000000000001</cx:pt>
          <cx:pt idx="2789">3.3999999999999999</cx:pt>
          <cx:pt idx="2790">3.2000000000000002</cx:pt>
          <cx:pt idx="2791">4.4000000000000004</cx:pt>
          <cx:pt idx="2792">4.2999999999999998</cx:pt>
          <cx:pt idx="2793">4.2000000000000002</cx:pt>
          <cx:pt idx="2794">4.2000000000000002</cx:pt>
          <cx:pt idx="2795">4.2000000000000002</cx:pt>
          <cx:pt idx="2796">4.0999999999999996</cx:pt>
          <cx:pt idx="2797">4.0999999999999996</cx:pt>
          <cx:pt idx="2798">4.0999999999999996</cx:pt>
          <cx:pt idx="2799">2.2999999999999998</cx:pt>
          <cx:pt idx="2800">2.2999999999999998</cx:pt>
          <cx:pt idx="2801">2.3999999999999999</cx:pt>
          <cx:pt idx="2802">2.3999999999999999</cx:pt>
          <cx:pt idx="2803">2.3999999999999999</cx:pt>
          <cx:pt idx="2804">2.3999999999999999</cx:pt>
          <cx:pt idx="2805">2.3999999999999999</cx:pt>
          <cx:pt idx="2806">2.5</cx:pt>
          <cx:pt idx="2807">2.5</cx:pt>
          <cx:pt idx="2808">2.5</cx:pt>
          <cx:pt idx="2809">2.5</cx:pt>
          <cx:pt idx="2810">2.5</cx:pt>
          <cx:pt idx="2811">2.6000000000000001</cx:pt>
          <cx:pt idx="2812">2.6000000000000001</cx:pt>
          <cx:pt idx="2813">2.6000000000000001</cx:pt>
          <cx:pt idx="2814">2.6000000000000001</cx:pt>
          <cx:pt idx="2815">2.7000000000000002</cx:pt>
          <cx:pt idx="2816">2.7000000000000002</cx:pt>
          <cx:pt idx="2817">2.7000000000000002</cx:pt>
          <cx:pt idx="2818">2.7000000000000002</cx:pt>
          <cx:pt idx="2819">2.7000000000000002</cx:pt>
          <cx:pt idx="2820">2.7000000000000002</cx:pt>
          <cx:pt idx="2821">2.7000000000000002</cx:pt>
          <cx:pt idx="2822">2.7000000000000002</cx:pt>
          <cx:pt idx="2823">2.7000000000000002</cx:pt>
          <cx:pt idx="2824">2.7000000000000002</cx:pt>
          <cx:pt idx="2825">2.7000000000000002</cx:pt>
          <cx:pt idx="2826">2.7000000000000002</cx:pt>
          <cx:pt idx="2827">2.7000000000000002</cx:pt>
          <cx:pt idx="2828">2.7000000000000002</cx:pt>
          <cx:pt idx="2829">2.7000000000000002</cx:pt>
          <cx:pt idx="2830">2.7999999999999998</cx:pt>
          <cx:pt idx="2831">2.7999999999999998</cx:pt>
          <cx:pt idx="2832">2.7999999999999998</cx:pt>
          <cx:pt idx="2833">2.7999999999999998</cx:pt>
          <cx:pt idx="2834">2.7999999999999998</cx:pt>
          <cx:pt idx="2835">2.7999999999999998</cx:pt>
          <cx:pt idx="2836">2.7999999999999998</cx:pt>
          <cx:pt idx="2837">2.7999999999999998</cx:pt>
          <cx:pt idx="2838">2.7999999999999998</cx:pt>
          <cx:pt idx="2839">2.7999999999999998</cx:pt>
          <cx:pt idx="2840">2.7999999999999998</cx:pt>
          <cx:pt idx="2841">2.7999999999999998</cx:pt>
          <cx:pt idx="2842">2.7999999999999998</cx:pt>
          <cx:pt idx="2843">2.7999999999999998</cx:pt>
          <cx:pt idx="2844">2.7999999999999998</cx:pt>
          <cx:pt idx="2845">2.7999999999999998</cx:pt>
          <cx:pt idx="2846">2.7999999999999998</cx:pt>
          <cx:pt idx="2847">2.7999999999999998</cx:pt>
          <cx:pt idx="2848">2.7999999999999998</cx:pt>
          <cx:pt idx="2849">2.7999999999999998</cx:pt>
          <cx:pt idx="2850">2.7999999999999998</cx:pt>
          <cx:pt idx="2851">2.7999999999999998</cx:pt>
          <cx:pt idx="2852">2.7999999999999998</cx:pt>
          <cx:pt idx="2853">2.7999999999999998</cx:pt>
          <cx:pt idx="2854">2.7999999999999998</cx:pt>
          <cx:pt idx="2855">2.7999999999999998</cx:pt>
          <cx:pt idx="2856">2.8999999999999999</cx:pt>
          <cx:pt idx="2857">2.8999999999999999</cx:pt>
          <cx:pt idx="2858">2.8999999999999999</cx:pt>
          <cx:pt idx="2859">4</cx:pt>
          <cx:pt idx="2860">3.7999999999999998</cx:pt>
          <cx:pt idx="2861">4</cx:pt>
          <cx:pt idx="2862">3.7999999999999998</cx:pt>
          <cx:pt idx="2863">3.3999999999999999</cx:pt>
          <cx:pt idx="2864">3.7999999999999998</cx:pt>
          <cx:pt idx="2865">3.5</cx:pt>
          <cx:pt idx="2866">3.7999999999999998</cx:pt>
          <cx:pt idx="2867">3.8999999999999999</cx:pt>
          <cx:pt idx="2868">3.8999999999999999</cx:pt>
          <cx:pt idx="2869">3.8999999999999999</cx:pt>
          <cx:pt idx="2870">3</cx:pt>
          <cx:pt idx="2871">3.7999999999999998</cx:pt>
          <cx:pt idx="2872">3.8999999999999999</cx:pt>
          <cx:pt idx="2873">3.6000000000000001</cx:pt>
          <cx:pt idx="2874">3.6000000000000001</cx:pt>
          <cx:pt idx="2875">3.7999999999999998</cx:pt>
          <cx:pt idx="2876">3.3999999999999999</cx:pt>
          <cx:pt idx="2877">4.0999999999999996</cx:pt>
          <cx:pt idx="2878">3.7999999999999998</cx:pt>
          <cx:pt idx="2879">3.7000000000000002</cx:pt>
          <cx:pt idx="2880">3.7999999999999998</cx:pt>
          <cx:pt idx="2881">3.7999999999999998</cx:pt>
          <cx:pt idx="2882">3.7999999999999998</cx:pt>
          <cx:pt idx="2883">4</cx:pt>
          <cx:pt idx="2884">3.6000000000000001</cx:pt>
          <cx:pt idx="2885">3.5</cx:pt>
          <cx:pt idx="2886">3.7999999999999998</cx:pt>
          <cx:pt idx="2887">3.5</cx:pt>
          <cx:pt idx="2888">3.7999999999999998</cx:pt>
          <cx:pt idx="2889">3.7999999999999998</cx:pt>
          <cx:pt idx="2890">3.8999999999999999</cx:pt>
          <cx:pt idx="2891">3.8999999999999999</cx:pt>
          <cx:pt idx="2892">4.0999999999999996</cx:pt>
          <cx:pt idx="2893">3.7000000000000002</cx:pt>
          <cx:pt idx="2894">3.7999999999999998</cx:pt>
          <cx:pt idx="2895">3.7000000000000002</cx:pt>
          <cx:pt idx="2896">4</cx:pt>
          <cx:pt idx="2897">4</cx:pt>
          <cx:pt idx="2898">4</cx:pt>
          <cx:pt idx="2899">3.8999999999999999</cx:pt>
          <cx:pt idx="2900">3.8999999999999999</cx:pt>
          <cx:pt idx="2901">3.7999999999999998</cx:pt>
          <cx:pt idx="2902">3.3999999999999999</cx:pt>
          <cx:pt idx="2903">4.0999999999999996</cx:pt>
          <cx:pt idx="2904">3.6000000000000001</cx:pt>
          <cx:pt idx="2905">3.7000000000000002</cx:pt>
          <cx:pt idx="2906">3.7000000000000002</cx:pt>
          <cx:pt idx="2907">3.1000000000000001</cx:pt>
          <cx:pt idx="2908">3.2000000000000002</cx:pt>
          <cx:pt idx="2909">3.5</cx:pt>
          <cx:pt idx="2910">3.5</cx:pt>
          <cx:pt idx="2911">3.7000000000000002</cx:pt>
          <cx:pt idx="2912">3.8999999999999999</cx:pt>
          <cx:pt idx="2913">3.3999999999999999</cx:pt>
          <cx:pt idx="2914">3.6000000000000001</cx:pt>
          <cx:pt idx="2915">3.5</cx:pt>
          <cx:pt idx="2916">3.2999999999999998</cx:pt>
          <cx:pt idx="2917">2.8999999999999999</cx:pt>
          <cx:pt idx="2918">0</cx:pt>
          <cx:pt idx="2919">0</cx:pt>
          <cx:pt idx="2920">3.6000000000000001</cx:pt>
          <cx:pt idx="2921">3.8999999999999999</cx:pt>
          <cx:pt idx="2922">3.2000000000000002</cx:pt>
          <cx:pt idx="2923">3.2000000000000002</cx:pt>
          <cx:pt idx="2924">0</cx:pt>
          <cx:pt idx="2925">3.2000000000000002</cx:pt>
          <cx:pt idx="2926">4.0999999999999996</cx:pt>
          <cx:pt idx="2927">3.7999999999999998</cx:pt>
          <cx:pt idx="2928">3.7000000000000002</cx:pt>
          <cx:pt idx="2929">3.3999999999999999</cx:pt>
          <cx:pt idx="2930">3.3999999999999999</cx:pt>
          <cx:pt idx="2931">3.1000000000000001</cx:pt>
          <cx:pt idx="2932">3.2000000000000002</cx:pt>
          <cx:pt idx="2933">3.2000000000000002</cx:pt>
          <cx:pt idx="2934">0</cx:pt>
          <cx:pt idx="2935">2.8999999999999999</cx:pt>
          <cx:pt idx="2936">2.8999999999999999</cx:pt>
          <cx:pt idx="2937">2.8999999999999999</cx:pt>
          <cx:pt idx="2938">0</cx:pt>
          <cx:pt idx="2939">0</cx:pt>
          <cx:pt idx="2940">0</cx:pt>
          <cx:pt idx="2941">0</cx:pt>
          <cx:pt idx="2942">0</cx:pt>
          <cx:pt idx="2943">3.7999999999999998</cx:pt>
          <cx:pt idx="2944">4.0999999999999996</cx:pt>
          <cx:pt idx="2945">3.3999999999999999</cx:pt>
          <cx:pt idx="2946">3.7999999999999998</cx:pt>
          <cx:pt idx="2947">3.3999999999999999</cx:pt>
          <cx:pt idx="2948">3.3999999999999999</cx:pt>
          <cx:pt idx="2949">0</cx:pt>
          <cx:pt idx="2950">3.8999999999999999</cx:pt>
          <cx:pt idx="2951">3.6000000000000001</cx:pt>
          <cx:pt idx="2952">3.2000000000000002</cx:pt>
          <cx:pt idx="2953">3.2999999999999998</cx:pt>
          <cx:pt idx="2954">3.2999999999999998</cx:pt>
          <cx:pt idx="2955">3.2999999999999998</cx:pt>
          <cx:pt idx="2956">3</cx:pt>
          <cx:pt idx="2957">0</cx:pt>
          <cx:pt idx="2958">3.7000000000000002</cx:pt>
          <cx:pt idx="2959">3.6000000000000001</cx:pt>
          <cx:pt idx="2960">3.7999999999999998</cx:pt>
          <cx:pt idx="2961">3.7000000000000002</cx:pt>
          <cx:pt idx="2962">3.7000000000000002</cx:pt>
          <cx:pt idx="2963">3.5</cx:pt>
          <cx:pt idx="2964">3.7000000000000002</cx:pt>
          <cx:pt idx="2965">3.7000000000000002</cx:pt>
          <cx:pt idx="2966">3.7000000000000002</cx:pt>
          <cx:pt idx="2967">3.7000000000000002</cx:pt>
          <cx:pt idx="2968">3.3999999999999999</cx:pt>
          <cx:pt idx="2969">3.3999999999999999</cx:pt>
          <cx:pt idx="2970">3.5</cx:pt>
          <cx:pt idx="2971">3.3999999999999999</cx:pt>
          <cx:pt idx="2972">3.1000000000000001</cx:pt>
          <cx:pt idx="2973">3.1000000000000001</cx:pt>
          <cx:pt idx="2974">3.2999999999999998</cx:pt>
          <cx:pt idx="2975">3.1000000000000001</cx:pt>
          <cx:pt idx="2976">2.8999999999999999</cx:pt>
          <cx:pt idx="2977">0</cx:pt>
          <cx:pt idx="2978">3.1000000000000001</cx:pt>
          <cx:pt idx="2979">0</cx:pt>
          <cx:pt idx="2980">0</cx:pt>
          <cx:pt idx="2981">0</cx:pt>
          <cx:pt idx="2982">0</cx:pt>
          <cx:pt idx="2983">0</cx:pt>
          <cx:pt idx="2984">0</cx:pt>
          <cx:pt idx="2985">4</cx:pt>
          <cx:pt idx="2986">3.7000000000000002</cx:pt>
          <cx:pt idx="2987">0</cx:pt>
          <cx:pt idx="2988">3.7999999999999998</cx:pt>
          <cx:pt idx="2989">3.7000000000000002</cx:pt>
          <cx:pt idx="2990">3.2000000000000002</cx:pt>
          <cx:pt idx="2991">4</cx:pt>
          <cx:pt idx="2992">3.7000000000000002</cx:pt>
          <cx:pt idx="2993">3.7000000000000002</cx:pt>
          <cx:pt idx="2994">3.7999999999999998</cx:pt>
          <cx:pt idx="2995">3.3999999999999999</cx:pt>
          <cx:pt idx="2996">3.6000000000000001</cx:pt>
          <cx:pt idx="2997">3.5</cx:pt>
          <cx:pt idx="2998">3.7000000000000002</cx:pt>
          <cx:pt idx="2999">3.5</cx:pt>
          <cx:pt idx="3000">3.2999999999999998</cx:pt>
          <cx:pt idx="3001">3.3999999999999999</cx:pt>
          <cx:pt idx="3002">3.5</cx:pt>
          <cx:pt idx="3003">3.5</cx:pt>
          <cx:pt idx="3004">3.2999999999999998</cx:pt>
          <cx:pt idx="3005">3.2999999999999998</cx:pt>
          <cx:pt idx="3006">3.2999999999999998</cx:pt>
          <cx:pt idx="3007">3.2000000000000002</cx:pt>
          <cx:pt idx="3008">3.5</cx:pt>
          <cx:pt idx="3009">4.0999999999999996</cx:pt>
          <cx:pt idx="3010">3.5</cx:pt>
          <cx:pt idx="3011">3.7000000000000002</cx:pt>
          <cx:pt idx="3012">3.6000000000000001</cx:pt>
          <cx:pt idx="3013">3.6000000000000001</cx:pt>
          <cx:pt idx="3014">3.7000000000000002</cx:pt>
          <cx:pt idx="3015">4.2000000000000002</cx:pt>
          <cx:pt idx="3016">4.4000000000000004</cx:pt>
          <cx:pt idx="3017">4.2999999999999998</cx:pt>
          <cx:pt idx="3018">4.9000000000000004</cx:pt>
          <cx:pt idx="3019">4.4000000000000004</cx:pt>
          <cx:pt idx="3020">4.2000000000000002</cx:pt>
          <cx:pt idx="3021">4.2999999999999998</cx:pt>
          <cx:pt idx="3022">2.8999999999999999</cx:pt>
          <cx:pt idx="3023">3.8999999999999999</cx:pt>
          <cx:pt idx="3024">4.0999999999999996</cx:pt>
          <cx:pt idx="3025">3.6000000000000001</cx:pt>
          <cx:pt idx="3026">3.7000000000000002</cx:pt>
          <cx:pt idx="3027">4.7000000000000002</cx:pt>
          <cx:pt idx="3028">4.5999999999999996</cx:pt>
          <cx:pt idx="3029">4.2000000000000002</cx:pt>
          <cx:pt idx="3030">4</cx:pt>
          <cx:pt idx="3031">3.7000000000000002</cx:pt>
          <cx:pt idx="3032">3.8999999999999999</cx:pt>
          <cx:pt idx="3033">3.7000000000000002</cx:pt>
          <cx:pt idx="3034">3</cx:pt>
          <cx:pt idx="3035">3.7999999999999998</cx:pt>
          <cx:pt idx="3036">3.7999999999999998</cx:pt>
          <cx:pt idx="3037">4.0999999999999996</cx:pt>
          <cx:pt idx="3038">4.2000000000000002</cx:pt>
          <cx:pt idx="3039">4.2999999999999998</cx:pt>
          <cx:pt idx="3040">4.2000000000000002</cx:pt>
          <cx:pt idx="3041">3.8999999999999999</cx:pt>
          <cx:pt idx="3042">4.0999999999999996</cx:pt>
          <cx:pt idx="3043">4.2000000000000002</cx:pt>
          <cx:pt idx="3044">4</cx:pt>
          <cx:pt idx="3045">3.8999999999999999</cx:pt>
          <cx:pt idx="3046">4.2000000000000002</cx:pt>
          <cx:pt idx="3047">4.4000000000000004</cx:pt>
          <cx:pt idx="3048">3.7999999999999998</cx:pt>
          <cx:pt idx="3049">4.2000000000000002</cx:pt>
          <cx:pt idx="3050">3.7999999999999998</cx:pt>
          <cx:pt idx="3051">3.7999999999999998</cx:pt>
          <cx:pt idx="3052">4.0999999999999996</cx:pt>
          <cx:pt idx="3053">4.0999999999999996</cx:pt>
          <cx:pt idx="3054">4.0999999999999996</cx:pt>
          <cx:pt idx="3055">3.7999999999999998</cx:pt>
          <cx:pt idx="3056">4.2000000000000002</cx:pt>
          <cx:pt idx="3057">4.0999999999999996</cx:pt>
          <cx:pt idx="3058">4.2999999999999998</cx:pt>
          <cx:pt idx="3059">4.0999999999999996</cx:pt>
          <cx:pt idx="3060">3.8999999999999999</cx:pt>
          <cx:pt idx="3061">3.7999999999999998</cx:pt>
          <cx:pt idx="3062">2.7999999999999998</cx:pt>
          <cx:pt idx="3063">3.7999999999999998</cx:pt>
          <cx:pt idx="3064">3.5</cx:pt>
          <cx:pt idx="3065">4.2000000000000002</cx:pt>
          <cx:pt idx="3066">4.0999999999999996</cx:pt>
          <cx:pt idx="3067">3.7000000000000002</cx:pt>
          <cx:pt idx="3068">4</cx:pt>
          <cx:pt idx="3069">3.7000000000000002</cx:pt>
          <cx:pt idx="3070">3.8999999999999999</cx:pt>
          <cx:pt idx="3071">4</cx:pt>
          <cx:pt idx="3072">3.6000000000000001</cx:pt>
          <cx:pt idx="3073">3.8999999999999999</cx:pt>
          <cx:pt idx="3074">3.5</cx:pt>
          <cx:pt idx="3075">2.8999999999999999</cx:pt>
          <cx:pt idx="3076">0</cx:pt>
          <cx:pt idx="3077">0</cx:pt>
          <cx:pt idx="3078">3.3999999999999999</cx:pt>
          <cx:pt idx="3079">4.0999999999999996</cx:pt>
          <cx:pt idx="3080">4</cx:pt>
          <cx:pt idx="3081">4</cx:pt>
          <cx:pt idx="3082">4</cx:pt>
          <cx:pt idx="3083">3.2999999999999998</cx:pt>
          <cx:pt idx="3084">3.8999999999999999</cx:pt>
          <cx:pt idx="3085">3</cx:pt>
          <cx:pt idx="3086">3.7999999999999998</cx:pt>
          <cx:pt idx="3087">3.6000000000000001</cx:pt>
          <cx:pt idx="3088">4.0999999999999996</cx:pt>
          <cx:pt idx="3089">3.7999999999999998</cx:pt>
          <cx:pt idx="3090">3</cx:pt>
          <cx:pt idx="3091">4.2999999999999998</cx:pt>
          <cx:pt idx="3092">4.4000000000000004</cx:pt>
          <cx:pt idx="3093">3.7999999999999998</cx:pt>
          <cx:pt idx="3094">3.8999999999999999</cx:pt>
          <cx:pt idx="3095">3.7000000000000002</cx:pt>
          <cx:pt idx="3096">3.3999999999999999</cx:pt>
          <cx:pt idx="3097">3.6000000000000001</cx:pt>
          <cx:pt idx="3098">3.3999999999999999</cx:pt>
          <cx:pt idx="3099">3.3999999999999999</cx:pt>
          <cx:pt idx="3100">2.8999999999999999</cx:pt>
          <cx:pt idx="3101">3.2000000000000002</cx:pt>
          <cx:pt idx="3102">3.1000000000000001</cx:pt>
          <cx:pt idx="3103">0</cx:pt>
          <cx:pt idx="3104">0</cx:pt>
          <cx:pt idx="3105">0</cx:pt>
          <cx:pt idx="3106">0</cx:pt>
          <cx:pt idx="3107">3.8999999999999999</cx:pt>
          <cx:pt idx="3108">3.8999999999999999</cx:pt>
          <cx:pt idx="3109">3.6000000000000001</cx:pt>
          <cx:pt idx="3110">3.7999999999999998</cx:pt>
          <cx:pt idx="3111">4.0999999999999996</cx:pt>
          <cx:pt idx="3112">3.7000000000000002</cx:pt>
          <cx:pt idx="3113">3.8999999999999999</cx:pt>
          <cx:pt idx="3114">4</cx:pt>
          <cx:pt idx="3115">3.8999999999999999</cx:pt>
          <cx:pt idx="3116">2.7000000000000002</cx:pt>
          <cx:pt idx="3117">3.6000000000000001</cx:pt>
          <cx:pt idx="3118">3.2999999999999998</cx:pt>
          <cx:pt idx="3119">3.6000000000000001</cx:pt>
          <cx:pt idx="3120">3.2999999999999998</cx:pt>
          <cx:pt idx="3121">3.1000000000000001</cx:pt>
          <cx:pt idx="3122">0</cx:pt>
          <cx:pt idx="3123">0</cx:pt>
          <cx:pt idx="3124">3</cx:pt>
          <cx:pt idx="3125">0</cx:pt>
          <cx:pt idx="3126">0</cx:pt>
          <cx:pt idx="3127">0</cx:pt>
          <cx:pt idx="3128">0</cx:pt>
          <cx:pt idx="3129">0</cx:pt>
          <cx:pt idx="3130">0</cx:pt>
          <cx:pt idx="3131">0</cx:pt>
          <cx:pt idx="3132">3.2999999999999998</cx:pt>
          <cx:pt idx="3133">4.2000000000000002</cx:pt>
          <cx:pt idx="3134">4.0999999999999996</cx:pt>
          <cx:pt idx="3135">4.0999999999999996</cx:pt>
          <cx:pt idx="3136">2.5</cx:pt>
          <cx:pt idx="3137">2.5</cx:pt>
          <cx:pt idx="3138">2.5</cx:pt>
          <cx:pt idx="3139">2.5</cx:pt>
          <cx:pt idx="3140">2.5</cx:pt>
          <cx:pt idx="3141">2.5</cx:pt>
          <cx:pt idx="3142">2.6000000000000001</cx:pt>
          <cx:pt idx="3143">2.6000000000000001</cx:pt>
          <cx:pt idx="3144">2.6000000000000001</cx:pt>
          <cx:pt idx="3145">2.6000000000000001</cx:pt>
          <cx:pt idx="3146">2.7000000000000002</cx:pt>
          <cx:pt idx="3147">2.7000000000000002</cx:pt>
          <cx:pt idx="3148">2.7000000000000002</cx:pt>
          <cx:pt idx="3149">2.7000000000000002</cx:pt>
          <cx:pt idx="3150">2.7000000000000002</cx:pt>
          <cx:pt idx="3151">2.7000000000000002</cx:pt>
          <cx:pt idx="3152">2.7000000000000002</cx:pt>
          <cx:pt idx="3153">2.7000000000000002</cx:pt>
          <cx:pt idx="3154">2.7000000000000002</cx:pt>
          <cx:pt idx="3155">2.7000000000000002</cx:pt>
          <cx:pt idx="3156">2.7000000000000002</cx:pt>
          <cx:pt idx="3157">2.7000000000000002</cx:pt>
          <cx:pt idx="3158">2.7999999999999998</cx:pt>
          <cx:pt idx="3159">2.7999999999999998</cx:pt>
          <cx:pt idx="3160">2.7999999999999998</cx:pt>
          <cx:pt idx="3161">2.7999999999999998</cx:pt>
          <cx:pt idx="3162">2.7999999999999998</cx:pt>
          <cx:pt idx="3163">2.7999999999999998</cx:pt>
          <cx:pt idx="3164">2.7999999999999998</cx:pt>
          <cx:pt idx="3165">2.7999999999999998</cx:pt>
          <cx:pt idx="3166">2.7999999999999998</cx:pt>
          <cx:pt idx="3167">2.7999999999999998</cx:pt>
          <cx:pt idx="3168">2.7999999999999998</cx:pt>
          <cx:pt idx="3169">2.7999999999999998</cx:pt>
          <cx:pt idx="3170">2.7999999999999998</cx:pt>
          <cx:pt idx="3171">2.8999999999999999</cx:pt>
          <cx:pt idx="3172">2.8999999999999999</cx:pt>
          <cx:pt idx="3173">2.8999999999999999</cx:pt>
          <cx:pt idx="3174">2.8999999999999999</cx:pt>
          <cx:pt idx="3175">2.8999999999999999</cx:pt>
          <cx:pt idx="3176">2.8999999999999999</cx:pt>
          <cx:pt idx="3177">2.8999999999999999</cx:pt>
          <cx:pt idx="3178">2.8999999999999999</cx:pt>
          <cx:pt idx="3179">2.8999999999999999</cx:pt>
          <cx:pt idx="3180">2.8999999999999999</cx:pt>
          <cx:pt idx="3181">2.8999999999999999</cx:pt>
          <cx:pt idx="3182">2.8999999999999999</cx:pt>
          <cx:pt idx="3183">2.8999999999999999</cx:pt>
          <cx:pt idx="3184">2.8999999999999999</cx:pt>
          <cx:pt idx="3185">2.8999999999999999</cx:pt>
          <cx:pt idx="3186">2.8999999999999999</cx:pt>
          <cx:pt idx="3187">4</cx:pt>
          <cx:pt idx="3188">3.6000000000000001</cx:pt>
          <cx:pt idx="3189">4</cx:pt>
          <cx:pt idx="3190">3.6000000000000001</cx:pt>
          <cx:pt idx="3191">4.0999999999999996</cx:pt>
          <cx:pt idx="3192">3.7999999999999998</cx:pt>
          <cx:pt idx="3193">3.7999999999999998</cx:pt>
          <cx:pt idx="3194">3.7999999999999998</cx:pt>
          <cx:pt idx="3195">3.7000000000000002</cx:pt>
          <cx:pt idx="3196">3.2999999999999998</cx:pt>
          <cx:pt idx="3197">0</cx:pt>
          <cx:pt idx="3198">3.7000000000000002</cx:pt>
          <cx:pt idx="3199">3.7999999999999998</cx:pt>
          <cx:pt idx="3200">3.8999999999999999</cx:pt>
          <cx:pt idx="3201">4</cx:pt>
          <cx:pt idx="3202">3.7999999999999998</cx:pt>
          <cx:pt idx="3203">4</cx:pt>
          <cx:pt idx="3204">3.8999999999999999</cx:pt>
          <cx:pt idx="3205">3.7000000000000002</cx:pt>
          <cx:pt idx="3206">3.7999999999999998</cx:pt>
          <cx:pt idx="3207">3.8999999999999999</cx:pt>
          <cx:pt idx="3208">3.8999999999999999</cx:pt>
          <cx:pt idx="3209">4</cx:pt>
          <cx:pt idx="3210">3.7999999999999998</cx:pt>
          <cx:pt idx="3211">3.7000000000000002</cx:pt>
          <cx:pt idx="3212">3.5</cx:pt>
          <cx:pt idx="3213">3.7000000000000002</cx:pt>
          <cx:pt idx="3214">3.7999999999999998</cx:pt>
          <cx:pt idx="3215">3.6000000000000001</cx:pt>
          <cx:pt idx="3216">3.3999999999999999</cx:pt>
          <cx:pt idx="3217">3.8999999999999999</cx:pt>
          <cx:pt idx="3218">4</cx:pt>
          <cx:pt idx="3219">3.7000000000000002</cx:pt>
          <cx:pt idx="3220">3.5</cx:pt>
          <cx:pt idx="3221">3.2999999999999998</cx:pt>
          <cx:pt idx="3222">3.2999999999999998</cx:pt>
          <cx:pt idx="3223">3.6000000000000001</cx:pt>
          <cx:pt idx="3224">3.2000000000000002</cx:pt>
          <cx:pt idx="3225">0</cx:pt>
          <cx:pt idx="3226">3</cx:pt>
          <cx:pt idx="3227">3</cx:pt>
          <cx:pt idx="3228">3</cx:pt>
          <cx:pt idx="3229">2.8999999999999999</cx:pt>
          <cx:pt idx="3230">3</cx:pt>
          <cx:pt idx="3231">3</cx:pt>
          <cx:pt idx="3232">3.2999999999999998</cx:pt>
          <cx:pt idx="3233">3.2000000000000002</cx:pt>
          <cx:pt idx="3234">3.2999999999999998</cx:pt>
          <cx:pt idx="3235">3.7999999999999998</cx:pt>
          <cx:pt idx="3236">3.8999999999999999</cx:pt>
          <cx:pt idx="3237">3.7999999999999998</cx:pt>
          <cx:pt idx="3238">3.7000000000000002</cx:pt>
          <cx:pt idx="3239">3.3999999999999999</cx:pt>
          <cx:pt idx="3240">3.7999999999999998</cx:pt>
          <cx:pt idx="3241">4</cx:pt>
          <cx:pt idx="3242">4.0999999999999996</cx:pt>
          <cx:pt idx="3243">3.6000000000000001</cx:pt>
          <cx:pt idx="3244">3</cx:pt>
          <cx:pt idx="3245">3.8999999999999999</cx:pt>
          <cx:pt idx="3246">4</cx:pt>
          <cx:pt idx="3247">3.7000000000000002</cx:pt>
          <cx:pt idx="3248">3.1000000000000001</cx:pt>
          <cx:pt idx="3249">3.6000000000000001</cx:pt>
          <cx:pt idx="3250">3.8999999999999999</cx:pt>
          <cx:pt idx="3251">3.8999999999999999</cx:pt>
          <cx:pt idx="3252">4</cx:pt>
          <cx:pt idx="3253">3.2999999999999998</cx:pt>
          <cx:pt idx="3254">0</cx:pt>
          <cx:pt idx="3255">3.6000000000000001</cx:pt>
          <cx:pt idx="3256">3.3999999999999999</cx:pt>
          <cx:pt idx="3257">2.8999999999999999</cx:pt>
          <cx:pt idx="3258">3.2999999999999998</cx:pt>
          <cx:pt idx="3259">3.2000000000000002</cx:pt>
          <cx:pt idx="3260">3</cx:pt>
          <cx:pt idx="3261">0</cx:pt>
          <cx:pt idx="3262">0</cx:pt>
          <cx:pt idx="3263">0</cx:pt>
          <cx:pt idx="3264">0</cx:pt>
          <cx:pt idx="3265">0</cx:pt>
          <cx:pt idx="3266">3.7000000000000002</cx:pt>
          <cx:pt idx="3267">3.3999999999999999</cx:pt>
          <cx:pt idx="3268">4</cx:pt>
          <cx:pt idx="3269">3.8999999999999999</cx:pt>
          <cx:pt idx="3270">3.7999999999999998</cx:pt>
          <cx:pt idx="3271">3.8999999999999999</cx:pt>
          <cx:pt idx="3272">3.8999999999999999</cx:pt>
          <cx:pt idx="3273">3.8999999999999999</cx:pt>
          <cx:pt idx="3274">3.7000000000000002</cx:pt>
          <cx:pt idx="3275">4</cx:pt>
          <cx:pt idx="3276">3.6000000000000001</cx:pt>
          <cx:pt idx="3277">3.6000000000000001</cx:pt>
          <cx:pt idx="3278">3.2999999999999998</cx:pt>
          <cx:pt idx="3279">3.3999999999999999</cx:pt>
          <cx:pt idx="3280">3.3999999999999999</cx:pt>
          <cx:pt idx="3281">3.5</cx:pt>
          <cx:pt idx="3282">3.5</cx:pt>
          <cx:pt idx="3283">3.7999999999999998</cx:pt>
          <cx:pt idx="3284">3.3999999999999999</cx:pt>
          <cx:pt idx="3285">3.3999999999999999</cx:pt>
          <cx:pt idx="3286">3.5</cx:pt>
          <cx:pt idx="3287">3.2999999999999998</cx:pt>
          <cx:pt idx="3288">3.3999999999999999</cx:pt>
          <cx:pt idx="3289">3.6000000000000001</cx:pt>
          <cx:pt idx="3290">3.6000000000000001</cx:pt>
          <cx:pt idx="3291">3.6000000000000001</cx:pt>
          <cx:pt idx="3292">3.8999999999999999</cx:pt>
          <cx:pt idx="3293">4.7000000000000002</cx:pt>
          <cx:pt idx="3294">3.8999999999999999</cx:pt>
          <cx:pt idx="3295">4.5999999999999996</cx:pt>
          <cx:pt idx="3296">4.2000000000000002</cx:pt>
          <cx:pt idx="3297">4.2000000000000002</cx:pt>
          <cx:pt idx="3298">4.5</cx:pt>
          <cx:pt idx="3299">4.0999999999999996</cx:pt>
          <cx:pt idx="3300">4</cx:pt>
          <cx:pt idx="3301">3.8999999999999999</cx:pt>
          <cx:pt idx="3302">4</cx:pt>
          <cx:pt idx="3303">3.8999999999999999</cx:pt>
          <cx:pt idx="3304">4</cx:pt>
          <cx:pt idx="3305">4.0999999999999996</cx:pt>
          <cx:pt idx="3306">3.7000000000000002</cx:pt>
          <cx:pt idx="3307">4.5</cx:pt>
          <cx:pt idx="3308">3.7000000000000002</cx:pt>
          <cx:pt idx="3309">4.5</cx:pt>
          <cx:pt idx="3310">4.4000000000000004</cx:pt>
          <cx:pt idx="3311">3.8999999999999999</cx:pt>
          <cx:pt idx="3312">3.8999999999999999</cx:pt>
          <cx:pt idx="3313">4</cx:pt>
          <cx:pt idx="3314">3.8999999999999999</cx:pt>
          <cx:pt idx="3315">4.5999999999999996</cx:pt>
          <cx:pt idx="3316">3.8999999999999999</cx:pt>
          <cx:pt idx="3317">4.2000000000000002</cx:pt>
          <cx:pt idx="3318">3.6000000000000001</cx:pt>
          <cx:pt idx="3319">3.7999999999999998</cx:pt>
          <cx:pt idx="3320">3.7999999999999998</cx:pt>
          <cx:pt idx="3321">4.0999999999999996</cx:pt>
          <cx:pt idx="3322">4.9000000000000004</cx:pt>
          <cx:pt idx="3323">3.8999999999999999</cx:pt>
          <cx:pt idx="3324">4</cx:pt>
          <cx:pt idx="3325">4.2999999999999998</cx:pt>
          <cx:pt idx="3326">3.8999999999999999</cx:pt>
          <cx:pt idx="3327">4.5999999999999996</cx:pt>
          <cx:pt idx="3328">3.7000000000000002</cx:pt>
          <cx:pt idx="3329">3.7999999999999998</cx:pt>
          <cx:pt idx="3330">4</cx:pt>
          <cx:pt idx="3331">4.7000000000000002</cx:pt>
          <cx:pt idx="3332">4.2999999999999998</cx:pt>
          <cx:pt idx="3333">4.4000000000000004</cx:pt>
          <cx:pt idx="3334">3.7999999999999998</cx:pt>
          <cx:pt idx="3335">3.7999999999999998</cx:pt>
          <cx:pt idx="3336">4</cx:pt>
          <cx:pt idx="3337">4.0999999999999996</cx:pt>
          <cx:pt idx="3338">4.5</cx:pt>
          <cx:pt idx="3339">4.0999999999999996</cx:pt>
          <cx:pt idx="3340">3.7999999999999998</cx:pt>
          <cx:pt idx="3341">4.5999999999999996</cx:pt>
          <cx:pt idx="3342">4</cx:pt>
          <cx:pt idx="3343">4</cx:pt>
          <cx:pt idx="3344">4.5</cx:pt>
          <cx:pt idx="3345">3.2999999999999998</cx:pt>
          <cx:pt idx="3346">3.6000000000000001</cx:pt>
          <cx:pt idx="3347">3.8999999999999999</cx:pt>
          <cx:pt idx="3348">3.8999999999999999</cx:pt>
          <cx:pt idx="3349">3.3999999999999999</cx:pt>
          <cx:pt idx="3350">3.2000000000000002</cx:pt>
          <cx:pt idx="3351">4</cx:pt>
          <cx:pt idx="3352">3.8999999999999999</cx:pt>
          <cx:pt idx="3353">3.7999999999999998</cx:pt>
          <cx:pt idx="3354">4</cx:pt>
          <cx:pt idx="3355">4.0999999999999996</cx:pt>
          <cx:pt idx="3356">3.6000000000000001</cx:pt>
          <cx:pt idx="3357">4.4000000000000004</cx:pt>
          <cx:pt idx="3358">4.2999999999999998</cx:pt>
          <cx:pt idx="3359">4.2000000000000002</cx:pt>
          <cx:pt idx="3360">4</cx:pt>
          <cx:pt idx="3361">4.0999999999999996</cx:pt>
          <cx:pt idx="3362">3.8999999999999999</cx:pt>
          <cx:pt idx="3363">3.2000000000000002</cx:pt>
          <cx:pt idx="3364">3.2999999999999998</cx:pt>
          <cx:pt idx="3365">3.3999999999999999</cx:pt>
          <cx:pt idx="3366">3.6000000000000001</cx:pt>
          <cx:pt idx="3367">3.6000000000000001</cx:pt>
          <cx:pt idx="3368">3.3999999999999999</cx:pt>
          <cx:pt idx="3369">3</cx:pt>
          <cx:pt idx="3370">3.3999999999999999</cx:pt>
          <cx:pt idx="3371">3.2999999999999998</cx:pt>
          <cx:pt idx="3372">3.1000000000000001</cx:pt>
          <cx:pt idx="3373">0</cx:pt>
          <cx:pt idx="3374">4</cx:pt>
          <cx:pt idx="3375">4</cx:pt>
          <cx:pt idx="3376">4.2000000000000002</cx:pt>
          <cx:pt idx="3377">4.0999999999999996</cx:pt>
          <cx:pt idx="3378">3.7999999999999998</cx:pt>
          <cx:pt idx="3379">4.0999999999999996</cx:pt>
          <cx:pt idx="3380">4.0999999999999996</cx:pt>
          <cx:pt idx="3381">4.0999999999999996</cx:pt>
          <cx:pt idx="3382">2.7999999999999998</cx:pt>
          <cx:pt idx="3383">4</cx:pt>
          <cx:pt idx="3384">3.5</cx:pt>
          <cx:pt idx="3385">3.1000000000000001</cx:pt>
          <cx:pt idx="3386">3.1000000000000001</cx:pt>
          <cx:pt idx="3387">4.0999999999999996</cx:pt>
          <cx:pt idx="3388">4.0999999999999996</cx:pt>
          <cx:pt idx="3389">4.2000000000000002</cx:pt>
          <cx:pt idx="3390">3.8999999999999999</cx:pt>
          <cx:pt idx="3391">4.0999999999999996</cx:pt>
          <cx:pt idx="3392">3.7999999999999998</cx:pt>
          <cx:pt idx="3393">4.2000000000000002</cx:pt>
          <cx:pt idx="3394">3.8999999999999999</cx:pt>
          <cx:pt idx="3395">4.0999999999999996</cx:pt>
          <cx:pt idx="3396">4</cx:pt>
          <cx:pt idx="3397">3.7999999999999998</cx:pt>
          <cx:pt idx="3398">3.8999999999999999</cx:pt>
          <cx:pt idx="3399">3.7999999999999998</cx:pt>
          <cx:pt idx="3400">3.5</cx:pt>
          <cx:pt idx="3401">3.5</cx:pt>
          <cx:pt idx="3402">3.3999999999999999</cx:pt>
          <cx:pt idx="3403">3</cx:pt>
          <cx:pt idx="3404">0</cx:pt>
          <cx:pt idx="3405">0</cx:pt>
          <cx:pt idx="3406">4.2999999999999998</cx:pt>
          <cx:pt idx="3407">4.2999999999999998</cx:pt>
          <cx:pt idx="3408">4.2000000000000002</cx:pt>
          <cx:pt idx="3409">4</cx:pt>
          <cx:pt idx="3410">4</cx:pt>
          <cx:pt idx="3411">4.2999999999999998</cx:pt>
          <cx:pt idx="3412">0</cx:pt>
          <cx:pt idx="3413">0</cx:pt>
          <cx:pt idx="3414">3.7000000000000002</cx:pt>
          <cx:pt idx="3415">3.7999999999999998</cx:pt>
          <cx:pt idx="3416">3.5</cx:pt>
          <cx:pt idx="3417">3.1000000000000001</cx:pt>
          <cx:pt idx="3418">3.7000000000000002</cx:pt>
          <cx:pt idx="3419">3.5</cx:pt>
          <cx:pt idx="3420">3.1000000000000001</cx:pt>
          <cx:pt idx="3421">3.2000000000000002</cx:pt>
          <cx:pt idx="3422">3.2000000000000002</cx:pt>
          <cx:pt idx="3423">3</cx:pt>
          <cx:pt idx="3424">2.8999999999999999</cx:pt>
          <cx:pt idx="3425">3.2000000000000002</cx:pt>
          <cx:pt idx="3426">2.8999999999999999</cx:pt>
          <cx:pt idx="3427">3.1000000000000001</cx:pt>
          <cx:pt idx="3428">2.8999999999999999</cx:pt>
          <cx:pt idx="3429">2.8999999999999999</cx:pt>
          <cx:pt idx="3430">0</cx:pt>
          <cx:pt idx="3431">0</cx:pt>
          <cx:pt idx="3432">0</cx:pt>
          <cx:pt idx="3433">2.8999999999999999</cx:pt>
          <cx:pt idx="3434">2.8999999999999999</cx:pt>
          <cx:pt idx="3435">0</cx:pt>
          <cx:pt idx="3436">4.7999999999999998</cx:pt>
          <cx:pt idx="3437">4.7000000000000002</cx:pt>
          <cx:pt idx="3438">4.5999999999999996</cx:pt>
          <cx:pt idx="3439">4.5999999999999996</cx:pt>
          <cx:pt idx="3440">4.5</cx:pt>
          <cx:pt idx="3441">4.5</cx:pt>
          <cx:pt idx="3442">4.4000000000000004</cx:pt>
          <cx:pt idx="3443">4.2999999999999998</cx:pt>
          <cx:pt idx="3444">4.2999999999999998</cx:pt>
          <cx:pt idx="3445">4.2999999999999998</cx:pt>
          <cx:pt idx="3446">4.2999999999999998</cx:pt>
          <cx:pt idx="3447">2.1000000000000001</cx:pt>
          <cx:pt idx="3448">2.2000000000000002</cx:pt>
          <cx:pt idx="3449">2.2000000000000002</cx:pt>
          <cx:pt idx="3450">2.2999999999999998</cx:pt>
          <cx:pt idx="3451">2.2999999999999998</cx:pt>
          <cx:pt idx="3452">2.2999999999999998</cx:pt>
          <cx:pt idx="3453">2.3999999999999999</cx:pt>
          <cx:pt idx="3454">2.3999999999999999</cx:pt>
          <cx:pt idx="3455">2.5</cx:pt>
          <cx:pt idx="3456">2.5</cx:pt>
          <cx:pt idx="3457">2.5</cx:pt>
          <cx:pt idx="3458">2.5</cx:pt>
          <cx:pt idx="3459">2.6000000000000001</cx:pt>
          <cx:pt idx="3460">2.6000000000000001</cx:pt>
          <cx:pt idx="3461">2.6000000000000001</cx:pt>
          <cx:pt idx="3462">2.6000000000000001</cx:pt>
          <cx:pt idx="3463">2.6000000000000001</cx:pt>
          <cx:pt idx="3464">2.6000000000000001</cx:pt>
          <cx:pt idx="3465">2.6000000000000001</cx:pt>
          <cx:pt idx="3466">2.6000000000000001</cx:pt>
          <cx:pt idx="3467">2.6000000000000001</cx:pt>
          <cx:pt idx="3468">2.6000000000000001</cx:pt>
          <cx:pt idx="3469">2.6000000000000001</cx:pt>
          <cx:pt idx="3470">2.6000000000000001</cx:pt>
          <cx:pt idx="3471">2.6000000000000001</cx:pt>
          <cx:pt idx="3472">2.6000000000000001</cx:pt>
          <cx:pt idx="3473">2.6000000000000001</cx:pt>
          <cx:pt idx="3474">2.6000000000000001</cx:pt>
          <cx:pt idx="3475">2.6000000000000001</cx:pt>
          <cx:pt idx="3476">2.6000000000000001</cx:pt>
          <cx:pt idx="3477">2.6000000000000001</cx:pt>
          <cx:pt idx="3478">2.7000000000000002</cx:pt>
          <cx:pt idx="3479">2.7000000000000002</cx:pt>
          <cx:pt idx="3480">2.7000000000000002</cx:pt>
          <cx:pt idx="3481">2.7000000000000002</cx:pt>
          <cx:pt idx="3482">2.7000000000000002</cx:pt>
          <cx:pt idx="3483">2.7000000000000002</cx:pt>
          <cx:pt idx="3484">2.7000000000000002</cx:pt>
          <cx:pt idx="3485">2.7000000000000002</cx:pt>
          <cx:pt idx="3486">2.7000000000000002</cx:pt>
          <cx:pt idx="3487">2.7000000000000002</cx:pt>
          <cx:pt idx="3488">2.7000000000000002</cx:pt>
          <cx:pt idx="3489">2.7000000000000002</cx:pt>
          <cx:pt idx="3490">2.7000000000000002</cx:pt>
          <cx:pt idx="3491">2.7000000000000002</cx:pt>
          <cx:pt idx="3492">2.7000000000000002</cx:pt>
          <cx:pt idx="3493">2.7000000000000002</cx:pt>
          <cx:pt idx="3494">2.7000000000000002</cx:pt>
          <cx:pt idx="3495">2.7000000000000002</cx:pt>
          <cx:pt idx="3496">2.7000000000000002</cx:pt>
          <cx:pt idx="3497">2.7000000000000002</cx:pt>
          <cx:pt idx="3498">2.7000000000000002</cx:pt>
          <cx:pt idx="3499">2.7000000000000002</cx:pt>
          <cx:pt idx="3500">2.7000000000000002</cx:pt>
          <cx:pt idx="3501">2.7000000000000002</cx:pt>
          <cx:pt idx="3502">2.7000000000000002</cx:pt>
          <cx:pt idx="3503">2.7000000000000002</cx:pt>
          <cx:pt idx="3504">2.7000000000000002</cx:pt>
          <cx:pt idx="3505">2.7000000000000002</cx:pt>
          <cx:pt idx="3506">2.7000000000000002</cx:pt>
          <cx:pt idx="3507">2.7000000000000002</cx:pt>
          <cx:pt idx="3508">2.7000000000000002</cx:pt>
          <cx:pt idx="3509">2.7000000000000002</cx:pt>
          <cx:pt idx="3510">2.7000000000000002</cx:pt>
          <cx:pt idx="3511">2.7000000000000002</cx:pt>
          <cx:pt idx="3512">2.7999999999999998</cx:pt>
          <cx:pt idx="3513">2.7999999999999998</cx:pt>
          <cx:pt idx="3514">2.7999999999999998</cx:pt>
          <cx:pt idx="3515">2.7999999999999998</cx:pt>
          <cx:pt idx="3516">2.7999999999999998</cx:pt>
          <cx:pt idx="3517">2.7999999999999998</cx:pt>
          <cx:pt idx="3518">2.7999999999999998</cx:pt>
          <cx:pt idx="3519">2.7999999999999998</cx:pt>
          <cx:pt idx="3520">3.8999999999999999</cx:pt>
          <cx:pt idx="3521">3.7999999999999998</cx:pt>
          <cx:pt idx="3522">4.2000000000000002</cx:pt>
          <cx:pt idx="3523">3.7999999999999998</cx:pt>
          <cx:pt idx="3524">3.2999999999999998</cx:pt>
          <cx:pt idx="3525">4</cx:pt>
          <cx:pt idx="3526">4</cx:pt>
          <cx:pt idx="3527">3.7000000000000002</cx:pt>
          <cx:pt idx="3528">4.2000000000000002</cx:pt>
          <cx:pt idx="3529">4</cx:pt>
          <cx:pt idx="3530">3.8999999999999999</cx:pt>
          <cx:pt idx="3531">4.0999999999999996</cx:pt>
          <cx:pt idx="3532">3.7999999999999998</cx:pt>
          <cx:pt idx="3533">4.0999999999999996</cx:pt>
          <cx:pt idx="3534">3.6000000000000001</cx:pt>
          <cx:pt idx="3535">4</cx:pt>
          <cx:pt idx="3536">3.7000000000000002</cx:pt>
          <cx:pt idx="3537">3.1000000000000001</cx:pt>
          <cx:pt idx="3538">3.8999999999999999</cx:pt>
          <cx:pt idx="3539">3.3999999999999999</cx:pt>
          <cx:pt idx="3540">3.2999999999999998</cx:pt>
          <cx:pt idx="3541">3.7999999999999998</cx:pt>
          <cx:pt idx="3542">3.6000000000000001</cx:pt>
          <cx:pt idx="3543">3.5</cx:pt>
          <cx:pt idx="3544">3.6000000000000001</cx:pt>
          <cx:pt idx="3545">3.7999999999999998</cx:pt>
          <cx:pt idx="3546">4.0999999999999996</cx:pt>
          <cx:pt idx="3547">4.0999999999999996</cx:pt>
          <cx:pt idx="3548">3.6000000000000001</cx:pt>
          <cx:pt idx="3549">4</cx:pt>
          <cx:pt idx="3550">3.8999999999999999</cx:pt>
          <cx:pt idx="3551">3.7999999999999998</cx:pt>
          <cx:pt idx="3552">4</cx:pt>
          <cx:pt idx="3553">4</cx:pt>
          <cx:pt idx="3554">4.0999999999999996</cx:pt>
          <cx:pt idx="3555">4</cx:pt>
          <cx:pt idx="3556">3.1000000000000001</cx:pt>
          <cx:pt idx="3557">4</cx:pt>
          <cx:pt idx="3558">4</cx:pt>
          <cx:pt idx="3559">4</cx:pt>
          <cx:pt idx="3560">3.8999999999999999</cx:pt>
          <cx:pt idx="3561">3.8999999999999999</cx:pt>
          <cx:pt idx="3562">3.7999999999999998</cx:pt>
          <cx:pt idx="3563">4</cx:pt>
          <cx:pt idx="3564">3</cx:pt>
          <cx:pt idx="3565">3.6000000000000001</cx:pt>
          <cx:pt idx="3566">4</cx:pt>
          <cx:pt idx="3567">3.5</cx:pt>
          <cx:pt idx="3568">3.8999999999999999</cx:pt>
          <cx:pt idx="3569">3.7999999999999998</cx:pt>
          <cx:pt idx="3570">3.1000000000000001</cx:pt>
          <cx:pt idx="3571">3.7999999999999998</cx:pt>
          <cx:pt idx="3572">3.1000000000000001</cx:pt>
          <cx:pt idx="3573">3.7000000000000002</cx:pt>
          <cx:pt idx="3574">3.3999999999999999</cx:pt>
          <cx:pt idx="3575">3.7000000000000002</cx:pt>
          <cx:pt idx="3576">3.7000000000000002</cx:pt>
          <cx:pt idx="3577">3.2000000000000002</cx:pt>
          <cx:pt idx="3578">3.7000000000000002</cx:pt>
          <cx:pt idx="3579">3.7999999999999998</cx:pt>
          <cx:pt idx="3580">4</cx:pt>
          <cx:pt idx="3581">3.7000000000000002</cx:pt>
          <cx:pt idx="3582">3.3999999999999999</cx:pt>
          <cx:pt idx="3583">3.7999999999999998</cx:pt>
          <cx:pt idx="3584">3.8999999999999999</cx:pt>
          <cx:pt idx="3585">3.7999999999999998</cx:pt>
          <cx:pt idx="3586">3.7999999999999998</cx:pt>
          <cx:pt idx="3587">3.7000000000000002</cx:pt>
          <cx:pt idx="3588">3.6000000000000001</cx:pt>
          <cx:pt idx="3589">3.6000000000000001</cx:pt>
          <cx:pt idx="3590">3.5</cx:pt>
          <cx:pt idx="3591">3.7999999999999998</cx:pt>
          <cx:pt idx="3592">3.6000000000000001</cx:pt>
          <cx:pt idx="3593">3.8999999999999999</cx:pt>
          <cx:pt idx="3594">3.6000000000000001</cx:pt>
          <cx:pt idx="3595">3.3999999999999999</cx:pt>
          <cx:pt idx="3596">3.7000000000000002</cx:pt>
          <cx:pt idx="3597">3.7000000000000002</cx:pt>
          <cx:pt idx="3598">3.5</cx:pt>
          <cx:pt idx="3599">3.7000000000000002</cx:pt>
          <cx:pt idx="3600">3.7000000000000002</cx:pt>
          <cx:pt idx="3601">3.8999999999999999</cx:pt>
          <cx:pt idx="3602">3.2000000000000002</cx:pt>
          <cx:pt idx="3603">3.2000000000000002</cx:pt>
          <cx:pt idx="3604">3.2000000000000002</cx:pt>
          <cx:pt idx="3605">3.6000000000000001</cx:pt>
          <cx:pt idx="3606">3.5</cx:pt>
          <cx:pt idx="3607">3.2999999999999998</cx:pt>
          <cx:pt idx="3608">3.3999999999999999</cx:pt>
          <cx:pt idx="3609">3.2999999999999998</cx:pt>
          <cx:pt idx="3610">3.5</cx:pt>
          <cx:pt idx="3611">3.3999999999999999</cx:pt>
          <cx:pt idx="3612">3.3999999999999999</cx:pt>
          <cx:pt idx="3613">3.2999999999999998</cx:pt>
          <cx:pt idx="3614">3.3999999999999999</cx:pt>
          <cx:pt idx="3615">3.1000000000000001</cx:pt>
          <cx:pt idx="3616">3.3999999999999999</cx:pt>
          <cx:pt idx="3617">3.6000000000000001</cx:pt>
          <cx:pt idx="3618">3.3999999999999999</cx:pt>
          <cx:pt idx="3619">3</cx:pt>
          <cx:pt idx="3620">3.2999999999999998</cx:pt>
          <cx:pt idx="3621">3.8999999999999999</cx:pt>
          <cx:pt idx="3622">4.0999999999999996</cx:pt>
          <cx:pt idx="3623">3.8999999999999999</cx:pt>
          <cx:pt idx="3624">3.8999999999999999</cx:pt>
          <cx:pt idx="3625">3.7999999999999998</cx:pt>
          <cx:pt idx="3626">4</cx:pt>
          <cx:pt idx="3627">3.8999999999999999</cx:pt>
          <cx:pt idx="3628">3.7000000000000002</cx:pt>
          <cx:pt idx="3629">3.5</cx:pt>
          <cx:pt idx="3630">4.2000000000000002</cx:pt>
          <cx:pt idx="3631">3.7999999999999998</cx:pt>
          <cx:pt idx="3632">3.7000000000000002</cx:pt>
          <cx:pt idx="3633">3.7999999999999998</cx:pt>
          <cx:pt idx="3634">3.1000000000000001</cx:pt>
          <cx:pt idx="3635">3.2000000000000002</cx:pt>
          <cx:pt idx="3636">3.1000000000000001</cx:pt>
          <cx:pt idx="3637">3.1000000000000001</cx:pt>
          <cx:pt idx="3638">3.8999999999999999</cx:pt>
          <cx:pt idx="3639">3.8999999999999999</cx:pt>
          <cx:pt idx="3640">3.6000000000000001</cx:pt>
          <cx:pt idx="3641">3.7999999999999998</cx:pt>
          <cx:pt idx="3642">4.0999999999999996</cx:pt>
          <cx:pt idx="3643">3.2000000000000002</cx:pt>
          <cx:pt idx="3644">3.7000000000000002</cx:pt>
          <cx:pt idx="3645">3.8999999999999999</cx:pt>
          <cx:pt idx="3646">3.8999999999999999</cx:pt>
          <cx:pt idx="3647">3.7000000000000002</cx:pt>
          <cx:pt idx="3648">3.6000000000000001</cx:pt>
          <cx:pt idx="3649">3.3999999999999999</cx:pt>
          <cx:pt idx="3650">3.7999999999999998</cx:pt>
          <cx:pt idx="3651">3.5</cx:pt>
          <cx:pt idx="3652">3.5</cx:pt>
          <cx:pt idx="3653">3.2999999999999998</cx:pt>
          <cx:pt idx="3654">3.5</cx:pt>
          <cx:pt idx="3655">3.7999999999999998</cx:pt>
          <cx:pt idx="3656">3.6000000000000001</cx:pt>
          <cx:pt idx="3657">3.7000000000000002</cx:pt>
          <cx:pt idx="3658">3.7000000000000002</cx:pt>
          <cx:pt idx="3659">3.6000000000000001</cx:pt>
          <cx:pt idx="3660">3.3999999999999999</cx:pt>
          <cx:pt idx="3661">3.5</cx:pt>
          <cx:pt idx="3662">3.5</cx:pt>
          <cx:pt idx="3663">2.8999999999999999</cx:pt>
          <cx:pt idx="3664">3.1000000000000001</cx:pt>
          <cx:pt idx="3665">3.2000000000000002</cx:pt>
          <cx:pt idx="3666">3.3999999999999999</cx:pt>
          <cx:pt idx="3667">3.2999999999999998</cx:pt>
          <cx:pt idx="3668">3.2000000000000002</cx:pt>
          <cx:pt idx="3669">3.1000000000000001</cx:pt>
          <cx:pt idx="3670">3.1000000000000001</cx:pt>
          <cx:pt idx="3671">0</cx:pt>
          <cx:pt idx="3672">0</cx:pt>
          <cx:pt idx="3673">0</cx:pt>
          <cx:pt idx="3674">0</cx:pt>
          <cx:pt idx="3675">4.0999999999999996</cx:pt>
          <cx:pt idx="3676">3.7999999999999998</cx:pt>
          <cx:pt idx="3677">3</cx:pt>
          <cx:pt idx="3678">3.6000000000000001</cx:pt>
          <cx:pt idx="3679">3.3999999999999999</cx:pt>
          <cx:pt idx="3680">3.7999999999999998</cx:pt>
          <cx:pt idx="3681">3.3999999999999999</cx:pt>
          <cx:pt idx="3682">3.5</cx:pt>
          <cx:pt idx="3683">3.2000000000000002</cx:pt>
          <cx:pt idx="3684">3.5</cx:pt>
          <cx:pt idx="3685">3.6000000000000001</cx:pt>
          <cx:pt idx="3686">3.5</cx:pt>
          <cx:pt idx="3687">3.2999999999999998</cx:pt>
          <cx:pt idx="3688">2.7999999999999998</cx:pt>
          <cx:pt idx="3689">2.8999999999999999</cx:pt>
          <cx:pt idx="3690">0</cx:pt>
          <cx:pt idx="3691">3.7999999999999998</cx:pt>
          <cx:pt idx="3692">3.2000000000000002</cx:pt>
          <cx:pt idx="3693">2.8999999999999999</cx:pt>
          <cx:pt idx="3694">3</cx:pt>
          <cx:pt idx="3695">4.0999999999999996</cx:pt>
          <cx:pt idx="3696">3.2999999999999998</cx:pt>
          <cx:pt idx="3697">3.7999999999999998</cx:pt>
          <cx:pt idx="3698">3.6000000000000001</cx:pt>
          <cx:pt idx="3699">3.6000000000000001</cx:pt>
          <cx:pt idx="3700">3.8999999999999999</cx:pt>
          <cx:pt idx="3701">3.3999999999999999</cx:pt>
          <cx:pt idx="3702">3.8999999999999999</cx:pt>
          <cx:pt idx="3703">3.6000000000000001</cx:pt>
          <cx:pt idx="3704">3.8999999999999999</cx:pt>
          <cx:pt idx="3705">3.2000000000000002</cx:pt>
          <cx:pt idx="3706">3.5</cx:pt>
          <cx:pt idx="3707">3.7999999999999998</cx:pt>
          <cx:pt idx="3708">3.2999999999999998</cx:pt>
          <cx:pt idx="3709">3.6000000000000001</cx:pt>
          <cx:pt idx="3710">3.8999999999999999</cx:pt>
          <cx:pt idx="3711">3.2999999999999998</cx:pt>
          <cx:pt idx="3712">3.7000000000000002</cx:pt>
          <cx:pt idx="3713">3.5</cx:pt>
          <cx:pt idx="3714">3.7000000000000002</cx:pt>
          <cx:pt idx="3715">3.6000000000000001</cx:pt>
          <cx:pt idx="3716">2.7999999999999998</cx:pt>
          <cx:pt idx="3717">2.8999999999999999</cx:pt>
          <cx:pt idx="3718">3.5</cx:pt>
          <cx:pt idx="3719">3.7999999999999998</cx:pt>
          <cx:pt idx="3720">3.6000000000000001</cx:pt>
          <cx:pt idx="3721">3.2999999999999998</cx:pt>
          <cx:pt idx="3722">3.7999999999999998</cx:pt>
          <cx:pt idx="3723">3.5</cx:pt>
          <cx:pt idx="3724">3.2999999999999998</cx:pt>
          <cx:pt idx="3725">3.6000000000000001</cx:pt>
          <cx:pt idx="3726">3.5</cx:pt>
          <cx:pt idx="3727">3.6000000000000001</cx:pt>
          <cx:pt idx="3728">3.2999999999999998</cx:pt>
          <cx:pt idx="3729">3.2999999999999998</cx:pt>
          <cx:pt idx="3730">3.3999999999999999</cx:pt>
          <cx:pt idx="3731">3.2999999999999998</cx:pt>
          <cx:pt idx="3732">3.1000000000000001</cx:pt>
          <cx:pt idx="3733">3.6000000000000001</cx:pt>
          <cx:pt idx="3734">3.1000000000000001</cx:pt>
          <cx:pt idx="3735">3.2999999999999998</cx:pt>
          <cx:pt idx="3736">3.2999999999999998</cx:pt>
          <cx:pt idx="3737">3.2999999999999998</cx:pt>
          <cx:pt idx="3738">3.2999999999999998</cx:pt>
          <cx:pt idx="3739">3.2999999999999998</cx:pt>
          <cx:pt idx="3740">3.2000000000000002</cx:pt>
          <cx:pt idx="3741">3.3999999999999999</cx:pt>
          <cx:pt idx="3742">2.7999999999999998</cx:pt>
          <cx:pt idx="3743">3.5</cx:pt>
          <cx:pt idx="3744">3.3999999999999999</cx:pt>
          <cx:pt idx="3745">3</cx:pt>
          <cx:pt idx="3746">3</cx:pt>
          <cx:pt idx="3747">3.3999999999999999</cx:pt>
          <cx:pt idx="3748">3.2999999999999998</cx:pt>
          <cx:pt idx="3749">3.1000000000000001</cx:pt>
          <cx:pt idx="3750">3.2000000000000002</cx:pt>
          <cx:pt idx="3751">3.2000000000000002</cx:pt>
          <cx:pt idx="3752">3.5</cx:pt>
          <cx:pt idx="3753">3.2999999999999998</cx:pt>
          <cx:pt idx="3754">3.2999999999999998</cx:pt>
          <cx:pt idx="3755">3.2999999999999998</cx:pt>
          <cx:pt idx="3756">3.2999999999999998</cx:pt>
          <cx:pt idx="3757">3.2999999999999998</cx:pt>
          <cx:pt idx="3758">3.2999999999999998</cx:pt>
          <cx:pt idx="3759">3.3999999999999999</cx:pt>
          <cx:pt idx="3760">3.2999999999999998</cx:pt>
          <cx:pt idx="3761">3.3999999999999999</cx:pt>
          <cx:pt idx="3762">3.2000000000000002</cx:pt>
          <cx:pt idx="3763">3.5</cx:pt>
          <cx:pt idx="3764">3.3999999999999999</cx:pt>
          <cx:pt idx="3765">3.2000000000000002</cx:pt>
          <cx:pt idx="3766">3.2999999999999998</cx:pt>
          <cx:pt idx="3767">3.2999999999999998</cx:pt>
          <cx:pt idx="3768">3.2000000000000002</cx:pt>
          <cx:pt idx="3769">3.2999999999999998</cx:pt>
          <cx:pt idx="3770">3.2000000000000002</cx:pt>
          <cx:pt idx="3771">3.2999999999999998</cx:pt>
          <cx:pt idx="3772">3.2999999999999998</cx:pt>
          <cx:pt idx="3773">3.2000000000000002</cx:pt>
          <cx:pt idx="3774">2.7999999999999998</cx:pt>
          <cx:pt idx="3775">2.7999999999999998</cx:pt>
          <cx:pt idx="3776">2.8999999999999999</cx:pt>
          <cx:pt idx="3777">3</cx:pt>
          <cx:pt idx="3778">3.2000000000000002</cx:pt>
          <cx:pt idx="3779">3.2000000000000002</cx:pt>
          <cx:pt idx="3780">3.2000000000000002</cx:pt>
          <cx:pt idx="3781">2.7999999999999998</cx:pt>
          <cx:pt idx="3782">2.8999999999999999</cx:pt>
          <cx:pt idx="3783">3.2000000000000002</cx:pt>
          <cx:pt idx="3784">3</cx:pt>
          <cx:pt idx="3785">2.7999999999999998</cx:pt>
          <cx:pt idx="3786">3.2000000000000002</cx:pt>
          <cx:pt idx="3787">3.1000000000000001</cx:pt>
          <cx:pt idx="3788">2.8999999999999999</cx:pt>
          <cx:pt idx="3789">3.2999999999999998</cx:pt>
          <cx:pt idx="3790">3.2000000000000002</cx:pt>
          <cx:pt idx="3791">3.6000000000000001</cx:pt>
          <cx:pt idx="3792">3.7000000000000002</cx:pt>
          <cx:pt idx="3793">3.1000000000000001</cx:pt>
          <cx:pt idx="3794">2.7999999999999998</cx:pt>
          <cx:pt idx="3795">3.2999999999999998</cx:pt>
          <cx:pt idx="3796">3.2000000000000002</cx:pt>
          <cx:pt idx="3797">3.2999999999999998</cx:pt>
          <cx:pt idx="3798">2.7999999999999998</cx:pt>
          <cx:pt idx="3799">0</cx:pt>
          <cx:pt idx="3800">0</cx:pt>
          <cx:pt idx="3801">0</cx:pt>
          <cx:pt idx="3802">0</cx:pt>
          <cx:pt idx="3803">0</cx:pt>
          <cx:pt idx="3804">3.6000000000000001</cx:pt>
          <cx:pt idx="3805">3.2000000000000002</cx:pt>
          <cx:pt idx="3806">3.1000000000000001</cx:pt>
          <cx:pt idx="3807">0</cx:pt>
          <cx:pt idx="3808">3.2999999999999998</cx:pt>
          <cx:pt idx="3809">3.5</cx:pt>
          <cx:pt idx="3810">3.3999999999999999</cx:pt>
          <cx:pt idx="3811">3.6000000000000001</cx:pt>
          <cx:pt idx="3812">3.3999999999999999</cx:pt>
          <cx:pt idx="3813">3.2000000000000002</cx:pt>
          <cx:pt idx="3814">3</cx:pt>
          <cx:pt idx="3815">2.8999999999999999</cx:pt>
          <cx:pt idx="3816">0</cx:pt>
          <cx:pt idx="3817">0</cx:pt>
          <cx:pt idx="3818">0</cx:pt>
          <cx:pt idx="3819">3.2000000000000002</cx:pt>
          <cx:pt idx="3820">0</cx:pt>
          <cx:pt idx="3821">4</cx:pt>
          <cx:pt idx="3822">4</cx:pt>
          <cx:pt idx="3823">3.2999999999999998</cx:pt>
          <cx:pt idx="3824">4</cx:pt>
          <cx:pt idx="3825">3.7999999999999998</cx:pt>
          <cx:pt idx="3826">4</cx:pt>
          <cx:pt idx="3827">4</cx:pt>
          <cx:pt idx="3828">3.3999999999999999</cx:pt>
          <cx:pt idx="3829">3.6000000000000001</cx:pt>
          <cx:pt idx="3830">4.0999999999999996</cx:pt>
          <cx:pt idx="3831">3.6000000000000001</cx:pt>
          <cx:pt idx="3832">3.7999999999999998</cx:pt>
          <cx:pt idx="3833">3.6000000000000001</cx:pt>
          <cx:pt idx="3834">3.6000000000000001</cx:pt>
          <cx:pt idx="3835">3.7000000000000002</cx:pt>
          <cx:pt idx="3836">3.3999999999999999</cx:pt>
          <cx:pt idx="3837">3.8999999999999999</cx:pt>
          <cx:pt idx="3838">3.7000000000000002</cx:pt>
          <cx:pt idx="3839">3.5</cx:pt>
          <cx:pt idx="3840">4</cx:pt>
          <cx:pt idx="3841">4.0999999999999996</cx:pt>
          <cx:pt idx="3842">4.0999999999999996</cx:pt>
          <cx:pt idx="3843">3.8999999999999999</cx:pt>
          <cx:pt idx="3844">3.7000000000000002</cx:pt>
          <cx:pt idx="3845">3.7999999999999998</cx:pt>
          <cx:pt idx="3846">3.6000000000000001</cx:pt>
          <cx:pt idx="3847">3.8999999999999999</cx:pt>
          <cx:pt idx="3848">4</cx:pt>
          <cx:pt idx="3849">3.3999999999999999</cx:pt>
          <cx:pt idx="3850">3.7000000000000002</cx:pt>
          <cx:pt idx="3851">3.8999999999999999</cx:pt>
          <cx:pt idx="3852">4.2000000000000002</cx:pt>
          <cx:pt idx="3853">4</cx:pt>
          <cx:pt idx="3854">3.6000000000000001</cx:pt>
          <cx:pt idx="3855">3.7999999999999998</cx:pt>
          <cx:pt idx="3856">3.7000000000000002</cx:pt>
          <cx:pt idx="3857">4</cx:pt>
          <cx:pt idx="3858">4</cx:pt>
          <cx:pt idx="3859">3.7000000000000002</cx:pt>
          <cx:pt idx="3860">4.2000000000000002</cx:pt>
          <cx:pt idx="3861">3.8999999999999999</cx:pt>
          <cx:pt idx="3862">3.8999999999999999</cx:pt>
          <cx:pt idx="3863">3.7999999999999998</cx:pt>
          <cx:pt idx="3864">4</cx:pt>
          <cx:pt idx="3865">3.7000000000000002</cx:pt>
          <cx:pt idx="3866">4</cx:pt>
          <cx:pt idx="3867">3.6000000000000001</cx:pt>
          <cx:pt idx="3868">3.5</cx:pt>
          <cx:pt idx="3869">3.3999999999999999</cx:pt>
          <cx:pt idx="3870">3.8999999999999999</cx:pt>
          <cx:pt idx="3871">3.5</cx:pt>
          <cx:pt idx="3872">3.3999999999999999</cx:pt>
          <cx:pt idx="3873">3.6000000000000001</cx:pt>
          <cx:pt idx="3874">3.2999999999999998</cx:pt>
          <cx:pt idx="3875">4.7999999999999998</cx:pt>
          <cx:pt idx="3876">4.9000000000000004</cx:pt>
          <cx:pt idx="3877">4.9000000000000004</cx:pt>
          <cx:pt idx="3878">4.7000000000000002</cx:pt>
          <cx:pt idx="3879">4.9000000000000004</cx:pt>
          <cx:pt idx="3880">4.2000000000000002</cx:pt>
          <cx:pt idx="3881">4.5</cx:pt>
          <cx:pt idx="3882">4.7000000000000002</cx:pt>
          <cx:pt idx="3883">4.4000000000000004</cx:pt>
          <cx:pt idx="3884">4.9000000000000004</cx:pt>
          <cx:pt idx="3885">4.2000000000000002</cx:pt>
          <cx:pt idx="3886">4.4000000000000004</cx:pt>
          <cx:pt idx="3887">4.4000000000000004</cx:pt>
          <cx:pt idx="3888">4</cx:pt>
          <cx:pt idx="3889">3.7000000000000002</cx:pt>
          <cx:pt idx="3890">4.5999999999999996</cx:pt>
          <cx:pt idx="3891">4.5</cx:pt>
          <cx:pt idx="3892">4.5</cx:pt>
          <cx:pt idx="3893">4.5</cx:pt>
          <cx:pt idx="3894">4.9000000000000004</cx:pt>
          <cx:pt idx="3895">4.0999999999999996</cx:pt>
          <cx:pt idx="3896">4.9000000000000004</cx:pt>
          <cx:pt idx="3897">3.7999999999999998</cx:pt>
          <cx:pt idx="3898">4.0999999999999996</cx:pt>
          <cx:pt idx="3899">4.5</cx:pt>
          <cx:pt idx="3900">4.5999999999999996</cx:pt>
          <cx:pt idx="3901">4.5</cx:pt>
          <cx:pt idx="3902">4.2000000000000002</cx:pt>
          <cx:pt idx="3903">4.0999999999999996</cx:pt>
          <cx:pt idx="3904">4.2999999999999998</cx:pt>
          <cx:pt idx="3905">4.5</cx:pt>
          <cx:pt idx="3906">4.7999999999999998</cx:pt>
          <cx:pt idx="3907">4.5999999999999996</cx:pt>
          <cx:pt idx="3908">4.2000000000000002</cx:pt>
          <cx:pt idx="3909">4.5</cx:pt>
          <cx:pt idx="3910">4.0999999999999996</cx:pt>
          <cx:pt idx="3911">4.0999999999999996</cx:pt>
          <cx:pt idx="3912">4.2999999999999998</cx:pt>
          <cx:pt idx="3913">4.5</cx:pt>
          <cx:pt idx="3914">4.0999999999999996</cx:pt>
          <cx:pt idx="3915">4.0999999999999996</cx:pt>
          <cx:pt idx="3916">4.5</cx:pt>
          <cx:pt idx="3917">3.8999999999999999</cx:pt>
          <cx:pt idx="3918">3.7999999999999998</cx:pt>
          <cx:pt idx="3919">3.7999999999999998</cx:pt>
          <cx:pt idx="3920">4.2999999999999998</cx:pt>
          <cx:pt idx="3921">4.9000000000000004</cx:pt>
          <cx:pt idx="3922">4.4000000000000004</cx:pt>
          <cx:pt idx="3923">4.7999999999999998</cx:pt>
          <cx:pt idx="3924">3.8999999999999999</cx:pt>
          <cx:pt idx="3925">4.7000000000000002</cx:pt>
          <cx:pt idx="3926">4.2000000000000002</cx:pt>
          <cx:pt idx="3927">4.0999999999999996</cx:pt>
          <cx:pt idx="3928">3.7999999999999998</cx:pt>
          <cx:pt idx="3929">4</cx:pt>
          <cx:pt idx="3930">4.2000000000000002</cx:pt>
          <cx:pt idx="3931">4.7000000000000002</cx:pt>
          <cx:pt idx="3932">4</cx:pt>
          <cx:pt idx="3933">4</cx:pt>
          <cx:pt idx="3934">4</cx:pt>
          <cx:pt idx="3935">4</cx:pt>
          <cx:pt idx="3936">4.0999999999999996</cx:pt>
          <cx:pt idx="3937">4.5</cx:pt>
          <cx:pt idx="3938">4.2999999999999998</cx:pt>
          <cx:pt idx="3939">3.8999999999999999</cx:pt>
          <cx:pt idx="3940">4</cx:pt>
          <cx:pt idx="3941">4.2000000000000002</cx:pt>
          <cx:pt idx="3942">3.5</cx:pt>
          <cx:pt idx="3943">4.0999999999999996</cx:pt>
          <cx:pt idx="3944">3.7999999999999998</cx:pt>
          <cx:pt idx="3945">4.2000000000000002</cx:pt>
          <cx:pt idx="3946">3.8999999999999999</cx:pt>
          <cx:pt idx="3947">4.0999999999999996</cx:pt>
          <cx:pt idx="3948">3.8999999999999999</cx:pt>
          <cx:pt idx="3949">4.0999999999999996</cx:pt>
          <cx:pt idx="3950">3.7000000000000002</cx:pt>
          <cx:pt idx="3951">3.7000000000000002</cx:pt>
          <cx:pt idx="3952">4.2999999999999998</cx:pt>
          <cx:pt idx="3953">4.5</cx:pt>
          <cx:pt idx="3954">3.8999999999999999</cx:pt>
          <cx:pt idx="3955">4.2999999999999998</cx:pt>
          <cx:pt idx="3956">3.7999999999999998</cx:pt>
          <cx:pt idx="3957">3.5</cx:pt>
          <cx:pt idx="3958">3.7999999999999998</cx:pt>
          <cx:pt idx="3959">4.2000000000000002</cx:pt>
          <cx:pt idx="3960">4</cx:pt>
          <cx:pt idx="3961">4.0999999999999996</cx:pt>
          <cx:pt idx="3962">3.7999999999999998</cx:pt>
          <cx:pt idx="3963">3.7999999999999998</cx:pt>
          <cx:pt idx="3964">3.8999999999999999</cx:pt>
          <cx:pt idx="3965">3.7999999999999998</cx:pt>
          <cx:pt idx="3966">4.4000000000000004</cx:pt>
          <cx:pt idx="3967">4.2000000000000002</cx:pt>
          <cx:pt idx="3968">4.4000000000000004</cx:pt>
          <cx:pt idx="3969">3.8999999999999999</cx:pt>
          <cx:pt idx="3970">3.2000000000000002</cx:pt>
          <cx:pt idx="3971">4.2999999999999998</cx:pt>
          <cx:pt idx="3972">4</cx:pt>
          <cx:pt idx="3973">4</cx:pt>
          <cx:pt idx="3974">3.7000000000000002</cx:pt>
          <cx:pt idx="3975">3.5</cx:pt>
          <cx:pt idx="3976">3.8999999999999999</cx:pt>
          <cx:pt idx="3977">3.8999999999999999</cx:pt>
          <cx:pt idx="3978">3.7000000000000002</cx:pt>
          <cx:pt idx="3979">3.6000000000000001</cx:pt>
          <cx:pt idx="3980">3.7000000000000002</cx:pt>
          <cx:pt idx="3981">3.3999999999999999</cx:pt>
          <cx:pt idx="3982">0</cx:pt>
          <cx:pt idx="3983">3.7999999999999998</cx:pt>
          <cx:pt idx="3984">2.6000000000000001</cx:pt>
          <cx:pt idx="3985">4.2000000000000002</cx:pt>
          <cx:pt idx="3986">3.5</cx:pt>
          <cx:pt idx="3987">3.7000000000000002</cx:pt>
          <cx:pt idx="3988">3.7000000000000002</cx:pt>
          <cx:pt idx="3989">3.2000000000000002</cx:pt>
          <cx:pt idx="3990">3.6000000000000001</cx:pt>
          <cx:pt idx="3991">3.5</cx:pt>
          <cx:pt idx="3992">3.8999999999999999</cx:pt>
          <cx:pt idx="3993">2.8999999999999999</cx:pt>
          <cx:pt idx="3994">3.7000000000000002</cx:pt>
          <cx:pt idx="3995">3.6000000000000001</cx:pt>
          <cx:pt idx="3996">2.5</cx:pt>
          <cx:pt idx="3997">3.5</cx:pt>
          <cx:pt idx="3998">3.5</cx:pt>
          <cx:pt idx="3999">3.7000000000000002</cx:pt>
          <cx:pt idx="4000">2.6000000000000001</cx:pt>
          <cx:pt idx="4001">3.6000000000000001</cx:pt>
          <cx:pt idx="4002">2.2999999999999998</cx:pt>
          <cx:pt idx="4003">3.3999999999999999</cx:pt>
          <cx:pt idx="4004">3.5</cx:pt>
          <cx:pt idx="4005">3.7000000000000002</cx:pt>
          <cx:pt idx="4006">3.3999999999999999</cx:pt>
          <cx:pt idx="4007">3.7000000000000002</cx:pt>
          <cx:pt idx="4008">3.3999999999999999</cx:pt>
          <cx:pt idx="4009">3.6000000000000001</cx:pt>
          <cx:pt idx="4010">4</cx:pt>
          <cx:pt idx="4011">3.3999999999999999</cx:pt>
          <cx:pt idx="4012">2.7999999999999998</cx:pt>
          <cx:pt idx="4013">2.6000000000000001</cx:pt>
          <cx:pt idx="4014">3.3999999999999999</cx:pt>
          <cx:pt idx="4015">2.7000000000000002</cx:pt>
          <cx:pt idx="4016">3.7999999999999998</cx:pt>
          <cx:pt idx="4017">3.3999999999999999</cx:pt>
          <cx:pt idx="4018">3.7999999999999998</cx:pt>
          <cx:pt idx="4019">3.5</cx:pt>
          <cx:pt idx="4020">3.3999999999999999</cx:pt>
          <cx:pt idx="4021">3.6000000000000001</cx:pt>
          <cx:pt idx="4022">3.3999999999999999</cx:pt>
          <cx:pt idx="4023">3.6000000000000001</cx:pt>
          <cx:pt idx="4024">3.3999999999999999</cx:pt>
          <cx:pt idx="4025">3.6000000000000001</cx:pt>
          <cx:pt idx="4026">3.7000000000000002</cx:pt>
          <cx:pt idx="4027">3.7000000000000002</cx:pt>
          <cx:pt idx="4028">4.5999999999999996</cx:pt>
          <cx:pt idx="4029">4.4000000000000004</cx:pt>
          <cx:pt idx="4030">4.7999999999999998</cx:pt>
          <cx:pt idx="4031">4.4000000000000004</cx:pt>
          <cx:pt idx="4032">4.5</cx:pt>
          <cx:pt idx="4033">4.2000000000000002</cx:pt>
          <cx:pt idx="4034">4.2000000000000002</cx:pt>
          <cx:pt idx="4035">3.8999999999999999</cx:pt>
          <cx:pt idx="4036">4.2000000000000002</cx:pt>
          <cx:pt idx="4037">4.0999999999999996</cx:pt>
          <cx:pt idx="4038">4.2000000000000002</cx:pt>
          <cx:pt idx="4039">4.2999999999999998</cx:pt>
          <cx:pt idx="4040">4.4000000000000004</cx:pt>
          <cx:pt idx="4041">4.2999999999999998</cx:pt>
          <cx:pt idx="4042">4.4000000000000004</cx:pt>
          <cx:pt idx="4043">4</cx:pt>
          <cx:pt idx="4044">4.0999999999999996</cx:pt>
          <cx:pt idx="4045">4.2999999999999998</cx:pt>
          <cx:pt idx="4046">4.0999999999999996</cx:pt>
          <cx:pt idx="4047">3.7999999999999998</cx:pt>
          <cx:pt idx="4048">4.2999999999999998</cx:pt>
          <cx:pt idx="4049">4.0999999999999996</cx:pt>
          <cx:pt idx="4050">4</cx:pt>
          <cx:pt idx="4051">4.0999999999999996</cx:pt>
          <cx:pt idx="4052">4.2999999999999998</cx:pt>
          <cx:pt idx="4053">3.8999999999999999</cx:pt>
          <cx:pt idx="4054">4</cx:pt>
          <cx:pt idx="4055">4</cx:pt>
          <cx:pt idx="4056">4.4000000000000004</cx:pt>
          <cx:pt idx="4057">4.2000000000000002</cx:pt>
          <cx:pt idx="4058">3.2000000000000002</cx:pt>
          <cx:pt idx="4059">4</cx:pt>
          <cx:pt idx="4060">3.1000000000000001</cx:pt>
          <cx:pt idx="4061">4</cx:pt>
          <cx:pt idx="4062">4.0999999999999996</cx:pt>
          <cx:pt idx="4063">4</cx:pt>
          <cx:pt idx="4064">4.2000000000000002</cx:pt>
          <cx:pt idx="4065">3.7000000000000002</cx:pt>
          <cx:pt idx="4066">3.7999999999999998</cx:pt>
          <cx:pt idx="4067">3.8999999999999999</cx:pt>
          <cx:pt idx="4068">3.8999999999999999</cx:pt>
          <cx:pt idx="4069">4.2000000000000002</cx:pt>
          <cx:pt idx="4070">3.7000000000000002</cx:pt>
          <cx:pt idx="4071">4</cx:pt>
          <cx:pt idx="4072">4.0999999999999996</cx:pt>
          <cx:pt idx="4073">4</cx:pt>
          <cx:pt idx="4074">3.7999999999999998</cx:pt>
          <cx:pt idx="4075">3.7999999999999998</cx:pt>
          <cx:pt idx="4076">2.6000000000000001</cx:pt>
          <cx:pt idx="4077">4.2000000000000002</cx:pt>
          <cx:pt idx="4078">3.6000000000000001</cx:pt>
          <cx:pt idx="4079">3.8999999999999999</cx:pt>
          <cx:pt idx="4080">3.6000000000000001</cx:pt>
          <cx:pt idx="4081">3.6000000000000001</cx:pt>
          <cx:pt idx="4082">4</cx:pt>
          <cx:pt idx="4083">3.6000000000000001</cx:pt>
          <cx:pt idx="4084">3.7999999999999998</cx:pt>
          <cx:pt idx="4085">3.7000000000000002</cx:pt>
          <cx:pt idx="4086">4</cx:pt>
          <cx:pt idx="4087">3.6000000000000001</cx:pt>
          <cx:pt idx="4088">2.6000000000000001</cx:pt>
          <cx:pt idx="4089">3.2999999999999998</cx:pt>
          <cx:pt idx="4090">2.7000000000000002</cx:pt>
          <cx:pt idx="4091">3.2999999999999998</cx:pt>
          <cx:pt idx="4092">0</cx:pt>
          <cx:pt idx="4093">0</cx:pt>
          <cx:pt idx="4094">4</cx:pt>
          <cx:pt idx="4095">3.7000000000000002</cx:pt>
          <cx:pt idx="4096">3.5</cx:pt>
          <cx:pt idx="4097">3.7999999999999998</cx:pt>
          <cx:pt idx="4098">3.5</cx:pt>
          <cx:pt idx="4099">3.7000000000000002</cx:pt>
          <cx:pt idx="4100">3.5</cx:pt>
          <cx:pt idx="4101">3.6000000000000001</cx:pt>
          <cx:pt idx="4102">3.8999999999999999</cx:pt>
          <cx:pt idx="4103">3.3999999999999999</cx:pt>
          <cx:pt idx="4104">3.2999999999999998</cx:pt>
          <cx:pt idx="4105">4.4000000000000004</cx:pt>
          <cx:pt idx="4106">3.8999999999999999</cx:pt>
          <cx:pt idx="4107">3.6000000000000001</cx:pt>
          <cx:pt idx="4108">3.6000000000000001</cx:pt>
          <cx:pt idx="4109">2.7999999999999998</cx:pt>
          <cx:pt idx="4110">2.6000000000000001</cx:pt>
          <cx:pt idx="4111">3.1000000000000001</cx:pt>
          <cx:pt idx="4112">4.0999999999999996</cx:pt>
          <cx:pt idx="4113">4.2000000000000002</cx:pt>
          <cx:pt idx="4114">4.4000000000000004</cx:pt>
          <cx:pt idx="4115">4.2000000000000002</cx:pt>
          <cx:pt idx="4116">3.7999999999999998</cx:pt>
          <cx:pt idx="4117">4.4000000000000004</cx:pt>
          <cx:pt idx="4118">4.2000000000000002</cx:pt>
          <cx:pt idx="4119">3.7999999999999998</cx:pt>
          <cx:pt idx="4120">3.5</cx:pt>
          <cx:pt idx="4121">4</cx:pt>
          <cx:pt idx="4122">4.0999999999999996</cx:pt>
          <cx:pt idx="4123">3.8999999999999999</cx:pt>
          <cx:pt idx="4124">4.2000000000000002</cx:pt>
          <cx:pt idx="4125">4.0999999999999996</cx:pt>
          <cx:pt idx="4126">4.2999999999999998</cx:pt>
          <cx:pt idx="4127">3.8999999999999999</cx:pt>
          <cx:pt idx="4128">4</cx:pt>
          <cx:pt idx="4129">4</cx:pt>
          <cx:pt idx="4130">3.7000000000000002</cx:pt>
          <cx:pt idx="4131">4.0999999999999996</cx:pt>
          <cx:pt idx="4132">3.8999999999999999</cx:pt>
          <cx:pt idx="4133">4.0999999999999996</cx:pt>
          <cx:pt idx="4134">4</cx:pt>
          <cx:pt idx="4135">4.4000000000000004</cx:pt>
          <cx:pt idx="4136">4.0999999999999996</cx:pt>
          <cx:pt idx="4137">2.7999999999999998</cx:pt>
          <cx:pt idx="4138">3.7000000000000002</cx:pt>
          <cx:pt idx="4139">3.7000000000000002</cx:pt>
          <cx:pt idx="4140">3.8999999999999999</cx:pt>
          <cx:pt idx="4141">3.7000000000000002</cx:pt>
          <cx:pt idx="4142">3.8999999999999999</cx:pt>
          <cx:pt idx="4143">3.7000000000000002</cx:pt>
          <cx:pt idx="4144">3</cx:pt>
          <cx:pt idx="4145">3.6000000000000001</cx:pt>
          <cx:pt idx="4146">3.6000000000000001</cx:pt>
          <cx:pt idx="4147">3.3999999999999999</cx:pt>
          <cx:pt idx="4148">3.6000000000000001</cx:pt>
          <cx:pt idx="4149">3.6000000000000001</cx:pt>
          <cx:pt idx="4150">3.5</cx:pt>
          <cx:pt idx="4151">3.5</cx:pt>
          <cx:pt idx="4152">3.8999999999999999</cx:pt>
          <cx:pt idx="4153">3.7999999999999998</cx:pt>
          <cx:pt idx="4154">3</cx:pt>
          <cx:pt idx="4155">3.6000000000000001</cx:pt>
          <cx:pt idx="4156">3.5</cx:pt>
          <cx:pt idx="4157">3.2999999999999998</cx:pt>
          <cx:pt idx="4158">3.1000000000000001</cx:pt>
          <cx:pt idx="4159">3</cx:pt>
          <cx:pt idx="4160">3.5</cx:pt>
          <cx:pt idx="4161">3.2999999999999998</cx:pt>
          <cx:pt idx="4162">3</cx:pt>
          <cx:pt idx="4163">0</cx:pt>
          <cx:pt idx="4164">0</cx:pt>
          <cx:pt idx="4165">0</cx:pt>
          <cx:pt idx="4166">0</cx:pt>
          <cx:pt idx="4167">2.2999999999999998</cx:pt>
          <cx:pt idx="4168">3.5</cx:pt>
          <cx:pt idx="4169">3.2000000000000002</cx:pt>
          <cx:pt idx="4170">3.6000000000000001</cx:pt>
          <cx:pt idx="4171">2.7999999999999998</cx:pt>
          <cx:pt idx="4172">2.7999999999999998</cx:pt>
          <cx:pt idx="4173">3.3999999999999999</cx:pt>
          <cx:pt idx="4174">3.2000000000000002</cx:pt>
          <cx:pt idx="4175">3.2000000000000002</cx:pt>
          <cx:pt idx="4176">0</cx:pt>
          <cx:pt idx="4177">0</cx:pt>
          <cx:pt idx="4178">3.3999999999999999</cx:pt>
          <cx:pt idx="4179">3.2000000000000002</cx:pt>
          <cx:pt idx="4180">0</cx:pt>
          <cx:pt idx="4181">0</cx:pt>
          <cx:pt idx="4182">3.6000000000000001</cx:pt>
          <cx:pt idx="4183">4</cx:pt>
          <cx:pt idx="4184">3.8999999999999999</cx:pt>
          <cx:pt idx="4185">3.7999999999999998</cx:pt>
          <cx:pt idx="4186">4.7999999999999998</cx:pt>
          <cx:pt idx="4187">4.5</cx:pt>
          <cx:pt idx="4188">4.5</cx:pt>
          <cx:pt idx="4189">4.7000000000000002</cx:pt>
          <cx:pt idx="4190">4.5</cx:pt>
          <cx:pt idx="4191">4.5</cx:pt>
          <cx:pt idx="4192">2.8999999999999999</cx:pt>
          <cx:pt idx="4193">0</cx:pt>
          <cx:pt idx="4194">4.0999999999999996</cx:pt>
          <cx:pt idx="4195">4.2000000000000002</cx:pt>
          <cx:pt idx="4196">3.8999999999999999</cx:pt>
          <cx:pt idx="4197">3.7999999999999998</cx:pt>
          <cx:pt idx="4198">4.2999999999999998</cx:pt>
          <cx:pt idx="4199">4</cx:pt>
          <cx:pt idx="4200">3.7000000000000002</cx:pt>
          <cx:pt idx="4201">3.7999999999999998</cx:pt>
          <cx:pt idx="4202">3.7000000000000002</cx:pt>
          <cx:pt idx="4203">4.0999999999999996</cx:pt>
          <cx:pt idx="4204">4.2999999999999998</cx:pt>
          <cx:pt idx="4205">2.1000000000000001</cx:pt>
          <cx:pt idx="4206">3.7000000000000002</cx:pt>
          <cx:pt idx="4207">4.0999999999999996</cx:pt>
          <cx:pt idx="4208">4.2999999999999998</cx:pt>
          <cx:pt idx="4209">4.2999999999999998</cx:pt>
          <cx:pt idx="4210">4.2999999999999998</cx:pt>
          <cx:pt idx="4211">4.2000000000000002</cx:pt>
          <cx:pt idx="4212">3.8999999999999999</cx:pt>
          <cx:pt idx="4213">3.7999999999999998</cx:pt>
          <cx:pt idx="4214">4</cx:pt>
          <cx:pt idx="4215">3.7999999999999998</cx:pt>
          <cx:pt idx="4216">3.5</cx:pt>
          <cx:pt idx="4217">3.3999999999999999</cx:pt>
          <cx:pt idx="4218">3.5</cx:pt>
          <cx:pt idx="4219">3.3999999999999999</cx:pt>
          <cx:pt idx="4220">4.2000000000000002</cx:pt>
          <cx:pt idx="4221">3.6000000000000001</cx:pt>
          <cx:pt idx="4222">4.2000000000000002</cx:pt>
          <cx:pt idx="4223">4.2999999999999998</cx:pt>
          <cx:pt idx="4224">2.7999999999999998</cx:pt>
          <cx:pt idx="4225">4.2000000000000002</cx:pt>
          <cx:pt idx="4226">4</cx:pt>
          <cx:pt idx="4227">3.8999999999999999</cx:pt>
          <cx:pt idx="4228">4.0999999999999996</cx:pt>
          <cx:pt idx="4229">3.8999999999999999</cx:pt>
          <cx:pt idx="4230">0</cx:pt>
          <cx:pt idx="4231">3.6000000000000001</cx:pt>
          <cx:pt idx="4232">4.2999999999999998</cx:pt>
          <cx:pt idx="4233">4.0999999999999996</cx:pt>
          <cx:pt idx="4234">4</cx:pt>
          <cx:pt idx="4235">3.6000000000000001</cx:pt>
          <cx:pt idx="4236">3.5</cx:pt>
          <cx:pt idx="4237">3.7999999999999998</cx:pt>
          <cx:pt idx="4238">3.8999999999999999</cx:pt>
          <cx:pt idx="4239">4.0999999999999996</cx:pt>
          <cx:pt idx="4240">3.7999999999999998</cx:pt>
          <cx:pt idx="4241">3.8999999999999999</cx:pt>
          <cx:pt idx="4242">3.8999999999999999</cx:pt>
          <cx:pt idx="4243">4</cx:pt>
          <cx:pt idx="4244">4</cx:pt>
          <cx:pt idx="4245">3.8999999999999999</cx:pt>
          <cx:pt idx="4246">4</cx:pt>
          <cx:pt idx="4247">3.8999999999999999</cx:pt>
          <cx:pt idx="4248">3.8999999999999999</cx:pt>
          <cx:pt idx="4249">3.8999999999999999</cx:pt>
          <cx:pt idx="4250">4</cx:pt>
          <cx:pt idx="4251">4</cx:pt>
          <cx:pt idx="4252">3.8999999999999999</cx:pt>
          <cx:pt idx="4253">3.7999999999999998</cx:pt>
          <cx:pt idx="4254">3.5</cx:pt>
          <cx:pt idx="4255">3.8999999999999999</cx:pt>
          <cx:pt idx="4256">4.2000000000000002</cx:pt>
          <cx:pt idx="4257">4.2000000000000002</cx:pt>
          <cx:pt idx="4258">4.4000000000000004</cx:pt>
          <cx:pt idx="4259">3.3999999999999999</cx:pt>
          <cx:pt idx="4260">4.2000000000000002</cx:pt>
          <cx:pt idx="4261">4</cx:pt>
          <cx:pt idx="4262">4</cx:pt>
          <cx:pt idx="4263">4.2000000000000002</cx:pt>
          <cx:pt idx="4264">4.0999999999999996</cx:pt>
          <cx:pt idx="4265">3.7999999999999998</cx:pt>
          <cx:pt idx="4266">3.8999999999999999</cx:pt>
          <cx:pt idx="4267">3.7999999999999998</cx:pt>
          <cx:pt idx="4268">3.7000000000000002</cx:pt>
          <cx:pt idx="4269">3.8999999999999999</cx:pt>
          <cx:pt idx="4270">3.7999999999999998</cx:pt>
          <cx:pt idx="4271">3.7000000000000002</cx:pt>
          <cx:pt idx="4272">3.7999999999999998</cx:pt>
          <cx:pt idx="4273">3.7000000000000002</cx:pt>
          <cx:pt idx="4274">3.7000000000000002</cx:pt>
          <cx:pt idx="4275">3.7000000000000002</cx:pt>
          <cx:pt idx="4276">4.0999999999999996</cx:pt>
          <cx:pt idx="4277">3.7000000000000002</cx:pt>
          <cx:pt idx="4278">3.7000000000000002</cx:pt>
          <cx:pt idx="4279">3.7999999999999998</cx:pt>
          <cx:pt idx="4280">4.0999999999999996</cx:pt>
          <cx:pt idx="4281">3.7999999999999998</cx:pt>
          <cx:pt idx="4282">3.7999999999999998</cx:pt>
          <cx:pt idx="4283">3.8999999999999999</cx:pt>
          <cx:pt idx="4284">3.7999999999999998</cx:pt>
          <cx:pt idx="4285">4</cx:pt>
          <cx:pt idx="4286">4.2999999999999998</cx:pt>
          <cx:pt idx="4287">3.8999999999999999</cx:pt>
          <cx:pt idx="4288">4.2999999999999998</cx:pt>
          <cx:pt idx="4289">4.2999999999999998</cx:pt>
          <cx:pt idx="4290">4.0999999999999996</cx:pt>
          <cx:pt idx="4291">3.7999999999999998</cx:pt>
          <cx:pt idx="4292">4.2000000000000002</cx:pt>
          <cx:pt idx="4293">4</cx:pt>
          <cx:pt idx="4294">4.2000000000000002</cx:pt>
          <cx:pt idx="4295">4.0999999999999996</cx:pt>
          <cx:pt idx="4296">3.8999999999999999</cx:pt>
          <cx:pt idx="4297">3.7999999999999998</cx:pt>
          <cx:pt idx="4298">3.7000000000000002</cx:pt>
          <cx:pt idx="4299">4.0999999999999996</cx:pt>
          <cx:pt idx="4300">4.0999999999999996</cx:pt>
          <cx:pt idx="4301">4.0999999999999996</cx:pt>
          <cx:pt idx="4302">4</cx:pt>
          <cx:pt idx="4303">3.5</cx:pt>
          <cx:pt idx="4304">3.8999999999999999</cx:pt>
          <cx:pt idx="4305">3.8999999999999999</cx:pt>
          <cx:pt idx="4306">4.4000000000000004</cx:pt>
          <cx:pt idx="4307">3.7999999999999998</cx:pt>
          <cx:pt idx="4308">3.7000000000000002</cx:pt>
          <cx:pt idx="4309">4.0999999999999996</cx:pt>
          <cx:pt idx="4310">3.7999999999999998</cx:pt>
          <cx:pt idx="4311">3.7999999999999998</cx:pt>
          <cx:pt idx="4312">3.8999999999999999</cx:pt>
          <cx:pt idx="4313">3.5</cx:pt>
          <cx:pt idx="4314">3.7999999999999998</cx:pt>
          <cx:pt idx="4315">3.7999999999999998</cx:pt>
          <cx:pt idx="4316">4.0999999999999996</cx:pt>
          <cx:pt idx="4317">3.7999999999999998</cx:pt>
          <cx:pt idx="4318">4.0999999999999996</cx:pt>
          <cx:pt idx="4319">4.2999999999999998</cx:pt>
          <cx:pt idx="4320">4.2999999999999998</cx:pt>
          <cx:pt idx="4321">4.2000000000000002</cx:pt>
          <cx:pt idx="4322">4</cx:pt>
          <cx:pt idx="4323">4</cx:pt>
          <cx:pt idx="4324">4.2000000000000002</cx:pt>
          <cx:pt idx="4325">4.0999999999999996</cx:pt>
          <cx:pt idx="4326">4.2999999999999998</cx:pt>
          <cx:pt idx="4327">4.4000000000000004</cx:pt>
          <cx:pt idx="4328">3.8999999999999999</cx:pt>
          <cx:pt idx="4329">4</cx:pt>
          <cx:pt idx="4330">3.8999999999999999</cx:pt>
          <cx:pt idx="4331">3.8999999999999999</cx:pt>
          <cx:pt idx="4332">3.8999999999999999</cx:pt>
          <cx:pt idx="4333">4.2000000000000002</cx:pt>
          <cx:pt idx="4334">3.7999999999999998</cx:pt>
          <cx:pt idx="4335">4</cx:pt>
          <cx:pt idx="4336">3.8999999999999999</cx:pt>
          <cx:pt idx="4337">4.0999999999999996</cx:pt>
          <cx:pt idx="4338">4</cx:pt>
          <cx:pt idx="4339">4</cx:pt>
          <cx:pt idx="4340">4</cx:pt>
          <cx:pt idx="4341">3.8999999999999999</cx:pt>
          <cx:pt idx="4342">3.7000000000000002</cx:pt>
          <cx:pt idx="4343">4.4000000000000004</cx:pt>
          <cx:pt idx="4344">4</cx:pt>
          <cx:pt idx="4345">3.7999999999999998</cx:pt>
          <cx:pt idx="4346">4.0999999999999996</cx:pt>
          <cx:pt idx="4347">3.7000000000000002</cx:pt>
          <cx:pt idx="4348">4.2000000000000002</cx:pt>
          <cx:pt idx="4349">4.2000000000000002</cx:pt>
          <cx:pt idx="4350">4.0999999999999996</cx:pt>
          <cx:pt idx="4351">3.7999999999999998</cx:pt>
          <cx:pt idx="4352">3.8999999999999999</cx:pt>
          <cx:pt idx="4353">4.2000000000000002</cx:pt>
          <cx:pt idx="4354">4.2999999999999998</cx:pt>
          <cx:pt idx="4355">4.0999999999999996</cx:pt>
          <cx:pt idx="4356">4.2999999999999998</cx:pt>
          <cx:pt idx="4357">3.8999999999999999</cx:pt>
          <cx:pt idx="4358">0</cx:pt>
          <cx:pt idx="4359">3.7000000000000002</cx:pt>
          <cx:pt idx="4360">4.2000000000000002</cx:pt>
          <cx:pt idx="4361">3.8999999999999999</cx:pt>
          <cx:pt idx="4362">3.3999999999999999</cx:pt>
          <cx:pt idx="4363">3.7999999999999998</cx:pt>
          <cx:pt idx="4364">3.5</cx:pt>
          <cx:pt idx="4365">3</cx:pt>
          <cx:pt idx="4366">4.5999999999999996</cx:pt>
          <cx:pt idx="4367">4.5</cx:pt>
          <cx:pt idx="4368">2.1000000000000001</cx:pt>
          <cx:pt idx="4369">2.2000000000000002</cx:pt>
          <cx:pt idx="4370">2.2999999999999998</cx:pt>
          <cx:pt idx="4371">2.2999999999999998</cx:pt>
          <cx:pt idx="4372">2.2999999999999998</cx:pt>
          <cx:pt idx="4373">2.3999999999999999</cx:pt>
          <cx:pt idx="4374">2.3999999999999999</cx:pt>
          <cx:pt idx="4375">2.3999999999999999</cx:pt>
          <cx:pt idx="4376">2.3999999999999999</cx:pt>
          <cx:pt idx="4377">2.3999999999999999</cx:pt>
          <cx:pt idx="4378">2.3999999999999999</cx:pt>
          <cx:pt idx="4379">2.3999999999999999</cx:pt>
          <cx:pt idx="4380">2.3999999999999999</cx:pt>
          <cx:pt idx="4381">2.3999999999999999</cx:pt>
          <cx:pt idx="4382">2.3999999999999999</cx:pt>
          <cx:pt idx="4383">2.3999999999999999</cx:pt>
          <cx:pt idx="4384">2.3999999999999999</cx:pt>
          <cx:pt idx="4385">2.5</cx:pt>
          <cx:pt idx="4386">2.5</cx:pt>
          <cx:pt idx="4387">2.5</cx:pt>
          <cx:pt idx="4388">2.5</cx:pt>
          <cx:pt idx="4389">2.5</cx:pt>
          <cx:pt idx="4390">2.5</cx:pt>
          <cx:pt idx="4391">2.5</cx:pt>
          <cx:pt idx="4392">2.5</cx:pt>
          <cx:pt idx="4393">2.5</cx:pt>
          <cx:pt idx="4394">2.5</cx:pt>
          <cx:pt idx="4395">2.5</cx:pt>
          <cx:pt idx="4396">2.5</cx:pt>
          <cx:pt idx="4397">2.5</cx:pt>
          <cx:pt idx="4398">2.5</cx:pt>
          <cx:pt idx="4399">2.5</cx:pt>
          <cx:pt idx="4400">2.5</cx:pt>
          <cx:pt idx="4401">2.5</cx:pt>
          <cx:pt idx="4402">2.5</cx:pt>
          <cx:pt idx="4403">2.5</cx:pt>
          <cx:pt idx="4404">2.5</cx:pt>
          <cx:pt idx="4405">2.5</cx:pt>
          <cx:pt idx="4406">2.6000000000000001</cx:pt>
          <cx:pt idx="4407">2.6000000000000001</cx:pt>
          <cx:pt idx="4408">2.6000000000000001</cx:pt>
          <cx:pt idx="4409">2.6000000000000001</cx:pt>
          <cx:pt idx="4410">2.6000000000000001</cx:pt>
          <cx:pt idx="4411">2.6000000000000001</cx:pt>
          <cx:pt idx="4412">2.6000000000000001</cx:pt>
          <cx:pt idx="4413">2.6000000000000001</cx:pt>
          <cx:pt idx="4414">2.6000000000000001</cx:pt>
          <cx:pt idx="4415">2.6000000000000001</cx:pt>
          <cx:pt idx="4416">2.6000000000000001</cx:pt>
          <cx:pt idx="4417">2.6000000000000001</cx:pt>
          <cx:pt idx="4418">2.6000000000000001</cx:pt>
          <cx:pt idx="4419">4</cx:pt>
          <cx:pt idx="4420">4.2000000000000002</cx:pt>
          <cx:pt idx="4421">4</cx:pt>
          <cx:pt idx="4422">4.0999999999999996</cx:pt>
          <cx:pt idx="4423">4.9000000000000004</cx:pt>
          <cx:pt idx="4424">4.2000000000000002</cx:pt>
          <cx:pt idx="4425">4.2000000000000002</cx:pt>
          <cx:pt idx="4426">4.7000000000000002</cx:pt>
          <cx:pt idx="4427">4.4000000000000004</cx:pt>
          <cx:pt idx="4428">4.2000000000000002</cx:pt>
          <cx:pt idx="4429">4.2999999999999998</cx:pt>
          <cx:pt idx="4430">4.5999999999999996</cx:pt>
          <cx:pt idx="4431">4.7000000000000002</cx:pt>
          <cx:pt idx="4432">4.0999999999999996</cx:pt>
          <cx:pt idx="4433">4.5999999999999996</cx:pt>
          <cx:pt idx="4434">4.4000000000000004</cx:pt>
          <cx:pt idx="4435">4.2999999999999998</cx:pt>
          <cx:pt idx="4436">4.5</cx:pt>
          <cx:pt idx="4437">4.0999999999999996</cx:pt>
          <cx:pt idx="4438">4.5</cx:pt>
          <cx:pt idx="4439">4.2000000000000002</cx:pt>
          <cx:pt idx="4440">4.0999999999999996</cx:pt>
          <cx:pt idx="4441">4.4000000000000004</cx:pt>
          <cx:pt idx="4442">4.4000000000000004</cx:pt>
          <cx:pt idx="4443">4.2000000000000002</cx:pt>
          <cx:pt idx="4444">4.5</cx:pt>
          <cx:pt idx="4445">4.2999999999999998</cx:pt>
          <cx:pt idx="4446">4.2999999999999998</cx:pt>
          <cx:pt idx="4447">4.2000000000000002</cx:pt>
          <cx:pt idx="4448">4.2000000000000002</cx:pt>
          <cx:pt idx="4449">4.2999999999999998</cx:pt>
          <cx:pt idx="4450">4.2000000000000002</cx:pt>
          <cx:pt idx="4451">4</cx:pt>
          <cx:pt idx="4452">4.5999999999999996</cx:pt>
          <cx:pt idx="4453">4.2000000000000002</cx:pt>
          <cx:pt idx="4454">4.0999999999999996</cx:pt>
          <cx:pt idx="4455">4</cx:pt>
          <cx:pt idx="4456">3.5</cx:pt>
          <cx:pt idx="4457">3.8999999999999999</cx:pt>
          <cx:pt idx="4458">4</cx:pt>
          <cx:pt idx="4459">3.8999999999999999</cx:pt>
          <cx:pt idx="4460">4.2000000000000002</cx:pt>
          <cx:pt idx="4461">3.7000000000000002</cx:pt>
          <cx:pt idx="4462">3.5</cx:pt>
          <cx:pt idx="4463">4.2999999999999998</cx:pt>
          <cx:pt idx="4464">4</cx:pt>
          <cx:pt idx="4465">3.7999999999999998</cx:pt>
          <cx:pt idx="4466">3.8999999999999999</cx:pt>
          <cx:pt idx="4467">4</cx:pt>
          <cx:pt idx="4468">4.0999999999999996</cx:pt>
          <cx:pt idx="4469">3.8999999999999999</cx:pt>
          <cx:pt idx="4470">3.7999999999999998</cx:pt>
          <cx:pt idx="4471">4.0999999999999996</cx:pt>
          <cx:pt idx="4472">3.6000000000000001</cx:pt>
          <cx:pt idx="4473">3.7000000000000002</cx:pt>
          <cx:pt idx="4474">3.7000000000000002</cx:pt>
          <cx:pt idx="4475">4.5</cx:pt>
          <cx:pt idx="4476">4</cx:pt>
          <cx:pt idx="4477">2.8999999999999999</cx:pt>
          <cx:pt idx="4478">3.7000000000000002</cx:pt>
          <cx:pt idx="4479">0</cx:pt>
          <cx:pt idx="4480">0</cx:pt>
          <cx:pt idx="4481">3.7000000000000002</cx:pt>
          <cx:pt idx="4482">4.0999999999999996</cx:pt>
          <cx:pt idx="4483">3.8999999999999999</cx:pt>
          <cx:pt idx="4484">3.7000000000000002</cx:pt>
          <cx:pt idx="4485">2.3999999999999999</cx:pt>
          <cx:pt idx="4486">3.2000000000000002</cx:pt>
          <cx:pt idx="4487">2.8999999999999999</cx:pt>
          <cx:pt idx="4488">0</cx:pt>
          <cx:pt idx="4489">0</cx:pt>
          <cx:pt idx="4490">0</cx:pt>
          <cx:pt idx="4491">0</cx:pt>
          <cx:pt idx="4492">0</cx:pt>
          <cx:pt idx="4493">2.6000000000000001</cx:pt>
          <cx:pt idx="4494">3.8999999999999999</cx:pt>
          <cx:pt idx="4495">3.2999999999999998</cx:pt>
          <cx:pt idx="4496">0</cx:pt>
          <cx:pt idx="4497">0</cx:pt>
          <cx:pt idx="4498">3.5</cx:pt>
          <cx:pt idx="4499">4.2999999999999998</cx:pt>
          <cx:pt idx="4500">4.2999999999999998</cx:pt>
          <cx:pt idx="4501">4.2000000000000002</cx:pt>
          <cx:pt idx="4502">2.1000000000000001</cx:pt>
          <cx:pt idx="4503">2.2999999999999998</cx:pt>
          <cx:pt idx="4504">2.5</cx:pt>
          <cx:pt idx="4505">2.6000000000000001</cx:pt>
          <cx:pt idx="4506">2.6000000000000001</cx:pt>
          <cx:pt idx="4507">2.6000000000000001</cx:pt>
          <cx:pt idx="4508">2.6000000000000001</cx:pt>
          <cx:pt idx="4509">2.6000000000000001</cx:pt>
          <cx:pt idx="4510">2.7000000000000002</cx:pt>
          <cx:pt idx="4511">2.7000000000000002</cx:pt>
          <cx:pt idx="4512">2.7999999999999998</cx:pt>
          <cx:pt idx="4513">2.7999999999999998</cx:pt>
          <cx:pt idx="4514">2.7999999999999998</cx:pt>
          <cx:pt idx="4515">2.7999999999999998</cx:pt>
          <cx:pt idx="4516">2.7999999999999998</cx:pt>
          <cx:pt idx="4517">2.7999999999999998</cx:pt>
          <cx:pt idx="4518">2.7999999999999998</cx:pt>
          <cx:pt idx="4519">2.7999999999999998</cx:pt>
          <cx:pt idx="4520">2.7999999999999998</cx:pt>
          <cx:pt idx="4521">2.7999999999999998</cx:pt>
          <cx:pt idx="4522">2.8999999999999999</cx:pt>
          <cx:pt idx="4523">2.8999999999999999</cx:pt>
          <cx:pt idx="4524">2.8999999999999999</cx:pt>
          <cx:pt idx="4525">2.8999999999999999</cx:pt>
          <cx:pt idx="4526">3.7999999999999998</cx:pt>
          <cx:pt idx="4527">3.8999999999999999</cx:pt>
          <cx:pt idx="4528">3.8999999999999999</cx:pt>
          <cx:pt idx="4529">3.8999999999999999</cx:pt>
          <cx:pt idx="4530">3.6000000000000001</cx:pt>
          <cx:pt idx="4531">3.7000000000000002</cx:pt>
          <cx:pt idx="4532">3.6000000000000001</cx:pt>
          <cx:pt idx="4533">4</cx:pt>
          <cx:pt idx="4534">3.8999999999999999</cx:pt>
          <cx:pt idx="4535">3.3999999999999999</cx:pt>
          <cx:pt idx="4536">3.2999999999999998</cx:pt>
          <cx:pt idx="4537">3.6000000000000001</cx:pt>
          <cx:pt idx="4538">3.3999999999999999</cx:pt>
          <cx:pt idx="4539">3.2999999999999998</cx:pt>
          <cx:pt idx="4540">4.0999999999999996</cx:pt>
          <cx:pt idx="4541">4</cx:pt>
          <cx:pt idx="4542">3.7000000000000002</cx:pt>
          <cx:pt idx="4543">3.6000000000000001</cx:pt>
          <cx:pt idx="4544">0</cx:pt>
          <cx:pt idx="4545">3.7000000000000002</cx:pt>
          <cx:pt idx="4546">4</cx:pt>
          <cx:pt idx="4547">3.8999999999999999</cx:pt>
          <cx:pt idx="4548">3.8999999999999999</cx:pt>
          <cx:pt idx="4549">3.5</cx:pt>
          <cx:pt idx="4550">3.8999999999999999</cx:pt>
          <cx:pt idx="4551">3.7999999999999998</cx:pt>
          <cx:pt idx="4552">3.7000000000000002</cx:pt>
          <cx:pt idx="4553">4</cx:pt>
          <cx:pt idx="4554">4.0999999999999996</cx:pt>
          <cx:pt idx="4555">3.7999999999999998</cx:pt>
          <cx:pt idx="4556">3.6000000000000001</cx:pt>
          <cx:pt idx="4557">3.5</cx:pt>
          <cx:pt idx="4558">3.2999999999999998</cx:pt>
          <cx:pt idx="4559">0</cx:pt>
          <cx:pt idx="4560">0</cx:pt>
          <cx:pt idx="4561">0</cx:pt>
          <cx:pt idx="4562">3.7999999999999998</cx:pt>
          <cx:pt idx="4563">3.2000000000000002</cx:pt>
          <cx:pt idx="4564">0</cx:pt>
          <cx:pt idx="4565">3.7999999999999998</cx:pt>
          <cx:pt idx="4566">0</cx:pt>
          <cx:pt idx="4567">3.1000000000000001</cx:pt>
          <cx:pt idx="4568">4</cx:pt>
          <cx:pt idx="4569">3.7000000000000002</cx:pt>
          <cx:pt idx="4570">0</cx:pt>
          <cx:pt idx="4571">3.2999999999999998</cx:pt>
          <cx:pt idx="4572">3.1000000000000001</cx:pt>
          <cx:pt idx="4573">3.2999999999999998</cx:pt>
          <cx:pt idx="4574">0</cx:pt>
          <cx:pt idx="4575">3.7000000000000002</cx:pt>
          <cx:pt idx="4576">3.6000000000000001</cx:pt>
          <cx:pt idx="4577">4</cx:pt>
          <cx:pt idx="4578">3.7999999999999998</cx:pt>
          <cx:pt idx="4579">3.3999999999999999</cx:pt>
          <cx:pt idx="4580">4.0999999999999996</cx:pt>
          <cx:pt idx="4581">3.7999999999999998</cx:pt>
          <cx:pt idx="4582">3.7000000000000002</cx:pt>
          <cx:pt idx="4583">4.0999999999999996</cx:pt>
          <cx:pt idx="4584">3.6000000000000001</cx:pt>
          <cx:pt idx="4585">3.5</cx:pt>
          <cx:pt idx="4586">3.7000000000000002</cx:pt>
          <cx:pt idx="4587">3.7999999999999998</cx:pt>
          <cx:pt idx="4588">3.6000000000000001</cx:pt>
          <cx:pt idx="4589">3.6000000000000001</cx:pt>
          <cx:pt idx="4590">3.7000000000000002</cx:pt>
          <cx:pt idx="4591">3.7999999999999998</cx:pt>
          <cx:pt idx="4592">3.7999999999999998</cx:pt>
          <cx:pt idx="4593">3.5</cx:pt>
          <cx:pt idx="4594">3.6000000000000001</cx:pt>
          <cx:pt idx="4595">3.5</cx:pt>
          <cx:pt idx="4596">3.7000000000000002</cx:pt>
          <cx:pt idx="4597">3.5</cx:pt>
          <cx:pt idx="4598">3.7999999999999998</cx:pt>
          <cx:pt idx="4599">3.7999999999999998</cx:pt>
          <cx:pt idx="4600">3.5</cx:pt>
          <cx:pt idx="4601">3.7000000000000002</cx:pt>
          <cx:pt idx="4602">3.7999999999999998</cx:pt>
          <cx:pt idx="4603">3.6000000000000001</cx:pt>
          <cx:pt idx="4604">3.8999999999999999</cx:pt>
          <cx:pt idx="4605">3.7999999999999998</cx:pt>
          <cx:pt idx="4606">3.7999999999999998</cx:pt>
          <cx:pt idx="4607">3.7000000000000002</cx:pt>
          <cx:pt idx="4608">3.7000000000000002</cx:pt>
          <cx:pt idx="4609">3.6000000000000001</cx:pt>
          <cx:pt idx="4610">3.6000000000000001</cx:pt>
          <cx:pt idx="4611">3.5</cx:pt>
          <cx:pt idx="4612">3.7000000000000002</cx:pt>
          <cx:pt idx="4613">3.3999999999999999</cx:pt>
          <cx:pt idx="4614">3.7000000000000002</cx:pt>
          <cx:pt idx="4615">3.8999999999999999</cx:pt>
          <cx:pt idx="4616">3.5</cx:pt>
          <cx:pt idx="4617">3.5</cx:pt>
          <cx:pt idx="4618">3.5</cx:pt>
          <cx:pt idx="4619">4</cx:pt>
          <cx:pt idx="4620">3.8999999999999999</cx:pt>
          <cx:pt idx="4621">3.3999999999999999</cx:pt>
          <cx:pt idx="4622">3.7999999999999998</cx:pt>
          <cx:pt idx="4623">3.6000000000000001</cx:pt>
          <cx:pt idx="4624">3.5</cx:pt>
          <cx:pt idx="4625">3.5</cx:pt>
          <cx:pt idx="4626">3.5</cx:pt>
          <cx:pt idx="4627">3.6000000000000001</cx:pt>
          <cx:pt idx="4628">3.7999999999999998</cx:pt>
          <cx:pt idx="4629">3.7000000000000002</cx:pt>
          <cx:pt idx="4630">3.2999999999999998</cx:pt>
          <cx:pt idx="4631">3.5</cx:pt>
          <cx:pt idx="4632">3.3999999999999999</cx:pt>
          <cx:pt idx="4633">3.3999999999999999</cx:pt>
          <cx:pt idx="4634">3.7000000000000002</cx:pt>
          <cx:pt idx="4635">3.6000000000000001</cx:pt>
          <cx:pt idx="4636">3.2000000000000002</cx:pt>
          <cx:pt idx="4637">3.5</cx:pt>
          <cx:pt idx="4638">3.2999999999999998</cx:pt>
          <cx:pt idx="4639">3.3999999999999999</cx:pt>
          <cx:pt idx="4640">3.3999999999999999</cx:pt>
          <cx:pt idx="4641">3.6000000000000001</cx:pt>
          <cx:pt idx="4642">3.5</cx:pt>
          <cx:pt idx="4643">3.5</cx:pt>
          <cx:pt idx="4644">3.2000000000000002</cx:pt>
          <cx:pt idx="4645">3.5</cx:pt>
          <cx:pt idx="4646">3.2000000000000002</cx:pt>
          <cx:pt idx="4647">3.6000000000000001</cx:pt>
          <cx:pt idx="4648">3.5</cx:pt>
          <cx:pt idx="4649">3.5</cx:pt>
          <cx:pt idx="4650">3.5</cx:pt>
          <cx:pt idx="4651">3.3999999999999999</cx:pt>
          <cx:pt idx="4652">3.3999999999999999</cx:pt>
          <cx:pt idx="4653">3.3999999999999999</cx:pt>
          <cx:pt idx="4654">3.2999999999999998</cx:pt>
          <cx:pt idx="4655">3.2000000000000002</cx:pt>
          <cx:pt idx="4656">0</cx:pt>
          <cx:pt idx="4657">3.2999999999999998</cx:pt>
          <cx:pt idx="4658">3.2999999999999998</cx:pt>
          <cx:pt idx="4659">3.2000000000000002</cx:pt>
          <cx:pt idx="4660">3.2000000000000002</cx:pt>
          <cx:pt idx="4661">3.3999999999999999</cx:pt>
          <cx:pt idx="4662">3.2000000000000002</cx:pt>
          <cx:pt idx="4663">3.2999999999999998</cx:pt>
          <cx:pt idx="4664">3.2999999999999998</cx:pt>
          <cx:pt idx="4665">3.2999999999999998</cx:pt>
          <cx:pt idx="4666">3.2999999999999998</cx:pt>
          <cx:pt idx="4667">3.2999999999999998</cx:pt>
          <cx:pt idx="4668">3.2000000000000002</cx:pt>
          <cx:pt idx="4669">3.2000000000000002</cx:pt>
          <cx:pt idx="4670">3.6000000000000001</cx:pt>
          <cx:pt idx="4671">3.7000000000000002</cx:pt>
          <cx:pt idx="4672">3.3999999999999999</cx:pt>
          <cx:pt idx="4673">3.2999999999999998</cx:pt>
          <cx:pt idx="4674">0</cx:pt>
          <cx:pt idx="4675">0</cx:pt>
          <cx:pt idx="4676">0</cx:pt>
          <cx:pt idx="4677">0</cx:pt>
          <cx:pt idx="4678">3.2000000000000002</cx:pt>
          <cx:pt idx="4679">0</cx:pt>
          <cx:pt idx="4680">3.5</cx:pt>
          <cx:pt idx="4681">3.2000000000000002</cx:pt>
          <cx:pt idx="4682">3.2000000000000002</cx:pt>
          <cx:pt idx="4683">3.2000000000000002</cx:pt>
          <cx:pt idx="4684">3.5</cx:pt>
          <cx:pt idx="4685">3.2999999999999998</cx:pt>
          <cx:pt idx="4686">3.2000000000000002</cx:pt>
          <cx:pt idx="4687">3.2000000000000002</cx:pt>
          <cx:pt idx="4688">3.2000000000000002</cx:pt>
          <cx:pt idx="4689">3.2000000000000002</cx:pt>
          <cx:pt idx="4690">3.2000000000000002</cx:pt>
          <cx:pt idx="4691">0</cx:pt>
          <cx:pt idx="4692">0</cx:pt>
          <cx:pt idx="4693">0</cx:pt>
          <cx:pt idx="4694">0</cx:pt>
          <cx:pt idx="4695">0</cx:pt>
          <cx:pt idx="4696">0</cx:pt>
          <cx:pt idx="4697">0</cx:pt>
          <cx:pt idx="4698">3.6000000000000001</cx:pt>
          <cx:pt idx="4699">3.1000000000000001</cx:pt>
          <cx:pt idx="4700">3.2000000000000002</cx:pt>
          <cx:pt idx="4701">3.2000000000000002</cx:pt>
          <cx:pt idx="4702">3.2000000000000002</cx:pt>
          <cx:pt idx="4703">3.2000000000000002</cx:pt>
          <cx:pt idx="4704">3.2000000000000002</cx:pt>
          <cx:pt idx="4705">3.2000000000000002</cx:pt>
          <cx:pt idx="4706">3.2000000000000002</cx:pt>
          <cx:pt idx="4707">3.2000000000000002</cx:pt>
          <cx:pt idx="4708">3.2000000000000002</cx:pt>
          <cx:pt idx="4709">3.2000000000000002</cx:pt>
          <cx:pt idx="4710">3.2000000000000002</cx:pt>
          <cx:pt idx="4711">3.2000000000000002</cx:pt>
          <cx:pt idx="4712">3.2000000000000002</cx:pt>
          <cx:pt idx="4713">3.2999999999999998</cx:pt>
          <cx:pt idx="4714">3.2999999999999998</cx:pt>
          <cx:pt idx="4715">3.2999999999999998</cx:pt>
          <cx:pt idx="4716">3.2999999999999998</cx:pt>
          <cx:pt idx="4717">0</cx:pt>
          <cx:pt idx="4718">0</cx:pt>
          <cx:pt idx="4719">0</cx:pt>
          <cx:pt idx="4720">4.0999999999999996</cx:pt>
          <cx:pt idx="4721">3.5</cx:pt>
          <cx:pt idx="4722">3.3999999999999999</cx:pt>
          <cx:pt idx="4723">3.2000000000000002</cx:pt>
          <cx:pt idx="4724">3.2000000000000002</cx:pt>
          <cx:pt idx="4725">3.3999999999999999</cx:pt>
          <cx:pt idx="4726">3.2000000000000002</cx:pt>
          <cx:pt idx="4727">3.2000000000000002</cx:pt>
          <cx:pt idx="4728">0</cx:pt>
          <cx:pt idx="4729">0</cx:pt>
          <cx:pt idx="4730">0</cx:pt>
          <cx:pt idx="4731">0</cx:pt>
          <cx:pt idx="4732">0</cx:pt>
          <cx:pt idx="4733">0</cx:pt>
          <cx:pt idx="4734">0</cx:pt>
          <cx:pt idx="4735">0</cx:pt>
          <cx:pt idx="4736">0</cx:pt>
          <cx:pt idx="4737">0</cx:pt>
          <cx:pt idx="4738">0</cx:pt>
          <cx:pt idx="4739">0</cx:pt>
          <cx:pt idx="4740">0</cx:pt>
          <cx:pt idx="4741">0</cx:pt>
          <cx:pt idx="4742">0</cx:pt>
        </cx:lvl>
      </cx:numDim>
    </cx:data>
  </cx:chartData>
  <cx:chart>
    <cx:title pos="t" align="ctr" overlay="0">
      <cx:tx>
        <cx:rich>
          <a:bodyPr rot="0" spcFirstLastPara="1" vertOverflow="ellipsis" vert="horz" wrap="square" lIns="0" tIns="0" rIns="0" bIns="0" anchor="ctr" anchorCtr="1"/>
          <a:lstStyle/>
          <a:p>
            <a:pPr>
              <a:defRPr sz="1400"/>
            </a:pPr>
            <a:r>
              <a:rPr lang="en-US" sz="1600" b="1" i="0" baseline="0" dirty="0">
                <a:effectLst/>
                <a:latin typeface="+mj-lt"/>
              </a:rPr>
              <a:t>Rating of the restaurants who sell North Indian</a:t>
            </a:r>
            <a:endParaRPr lang="en-US" sz="1600" b="1" dirty="0">
              <a:effectLst/>
              <a:latin typeface="+mj-lt"/>
            </a:endParaRPr>
          </a:p>
        </cx:rich>
      </cx:tx>
    </cx:title>
    <cx:plotArea>
      <cx:plotAreaRegion>
        <cx:series layoutId="boxWhisker" uniqueId="{EC43B813-B822-4F4B-A8D4-9E82318372AB}">
          <cx:dataLabels>
            <cx:numFmt formatCode="#,##0.00" sourceLinked="0"/>
            <cx:txPr>
              <a:bodyPr spcFirstLastPara="1" vertOverflow="ellipsis" wrap="square" lIns="0" tIns="0" rIns="0" bIns="0" anchor="ctr" anchorCtr="1"/>
              <a:lstStyle/>
              <a:p>
                <a:pPr>
                  <a:defRPr sz="1400" b="1"/>
                </a:pPr>
                <a:endParaRPr lang="en-US" sz="1400" b="1"/>
              </a:p>
            </cx:txPr>
            <cx:visibility seriesName="0" categoryName="0" value="1"/>
            <cx:separator>, </cx:separator>
            <cx:dataLabel idx="4742">
              <cx:txPr>
                <a:bodyPr spcFirstLastPara="1" vertOverflow="ellipsis" wrap="square" lIns="0" tIns="0" rIns="0" bIns="0" anchor="ctr" anchorCtr="1"/>
                <a:lstStyle/>
                <a:p>
                  <a:pPr>
                    <a:defRPr sz="1400" b="1"/>
                  </a:pPr>
                  <a:r>
                    <a:rPr lang="en-US" b="1"/>
                    <a:t>4.90</a:t>
                  </a:r>
                </a:p>
              </cx:txPr>
            </cx:dataLabel>
          </cx:dataLabels>
          <cx:dataId val="0"/>
          <cx:layoutPr>
            <cx:visibility meanLine="0" meanMarker="1" nonoutliers="0" outliers="0"/>
            <cx:statistics quartileMethod="exclusive"/>
          </cx:layoutPr>
        </cx:series>
      </cx:plotAreaRegion>
      <cx:axis id="0" hidden="1">
        <cx:catScaling gapWidth="1"/>
        <cx:tickLabels/>
      </cx:axis>
      <cx:axis id="1" hidden="1">
        <cx:valScaling/>
        <cx:tickLabels/>
      </cx:axis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  <cs:bodyPr rot="-60000000" vert="horz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</cs:dropLine>
  <cs:errorBar>
    <cs:lnRef idx="0"/>
    <cs:fillRef idx="0"/>
    <cs:effectRef idx="0"/>
    <cs:fontRef idx="minor">
      <a:schemeClr val="tx1"/>
    </cs:fontRef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15000"/>
            <a:lumOff val="85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  <cs:bodyPr rot="-60000000" vert="horz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  <cs:bodyPr rot="0" vert="horz"/>
  </cs:title>
  <cs:trendline>
    <cs:lnRef idx="0"/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  <cs:bodyPr rot="-60000000" vert="horz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  <cs:bodyPr rot="-60000000" vert="horz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</cs:dropLine>
  <cs:errorBar>
    <cs:lnRef idx="0"/>
    <cs:fillRef idx="0"/>
    <cs:effectRef idx="0"/>
    <cs:fontRef idx="minor">
      <a:schemeClr val="tx1"/>
    </cs:fontRef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15000"/>
            <a:lumOff val="85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  <cs:bodyPr rot="-60000000" vert="horz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  <cs:bodyPr rot="0" vert="horz"/>
  </cs:title>
  <cs:trendline>
    <cs:lnRef idx="0"/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  <cs:bodyPr rot="-60000000" vert="horz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44">
  <cs:axisTitle>
    <cs:lnRef idx="0"/>
    <cs:fillRef idx="0"/>
    <cs:effectRef idx="0"/>
    <cs:fontRef idx="minor">
      <a:schemeClr val="dk1">
        <a:lumMod val="50000"/>
        <a:lumOff val="50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50000"/>
        <a:lumOff val="50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100000">
            <a:schemeClr val="lt1">
              <a:lumMod val="95000"/>
            </a:schemeClr>
          </a:gs>
          <a:gs pos="43000">
            <a:schemeClr val="lt1"/>
          </a:gs>
        </a:gsLst>
        <a:path path="circle">
          <a:fillToRect l="50000" t="50000" r="50000" b="50000"/>
        </a:path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>
        <a:solidFill>
          <a:schemeClr val="phClr">
            <a:alpha val="20000"/>
          </a:schemeClr>
        </a:solidFill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50000"/>
        <a:lumOff val="50000"/>
      </a:schemeClr>
    </cs:fontRef>
    <cs:spPr>
      <a:ln w="9525" cap="rnd">
        <a:solidFill>
          <a:schemeClr val="dk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50000"/>
        <a:lumOff val="50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600" b="0" kern="1200" spc="70" baseline="0"/>
  </cs:title>
  <cs:trendline>
    <cs:lnRef idx="0">
      <cs:styleClr val="0"/>
    </cs:lnRef>
    <cs:fillRef idx="0"/>
    <cs:effectRef idx="0"/>
    <cs:fontRef idx="minor">
      <a:schemeClr val="tx1"/>
    </cs:fontRef>
    <cs:spPr>
      <a:ln w="63500" cap="rnd" cmpd="sng" algn="ctr">
        <a:solidFill>
          <a:schemeClr val="phClr">
            <a:alpha val="25000"/>
          </a:schemeClr>
        </a:solidFill>
        <a:round/>
      </a:ln>
    </cs:spPr>
  </cs:trendline>
  <cs:trendlineLabel>
    <cs:lnRef idx="0"/>
    <cs:fillRef idx="0"/>
    <cs:effectRef idx="0"/>
    <cs:fontRef idx="minor">
      <a:schemeClr val="dk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9460B3-0355-4293-814C-A74FF3136D5C}" type="datetimeFigureOut">
              <a:rPr lang="en-US" smtClean="0"/>
              <a:t>5/3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FD4F18-276D-477D-B881-2FFC94A144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1796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482600" y="620713"/>
            <a:ext cx="7767638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622955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482600" y="620713"/>
            <a:ext cx="7767638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614216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4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482600" y="620713"/>
            <a:ext cx="7767638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02721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AFDDF-7E1D-4542-96FA-F3FE754B120A}" type="datetimeFigureOut">
              <a:rPr lang="en-US" smtClean="0"/>
              <a:t>5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32B4A-4B32-4C98-B1D6-EFD991055D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8034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AFDDF-7E1D-4542-96FA-F3FE754B120A}" type="datetimeFigureOut">
              <a:rPr lang="en-US" smtClean="0"/>
              <a:t>5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32B4A-4B32-4C98-B1D6-EFD991055D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9367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AFDDF-7E1D-4542-96FA-F3FE754B120A}" type="datetimeFigureOut">
              <a:rPr lang="en-US" smtClean="0"/>
              <a:t>5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32B4A-4B32-4C98-B1D6-EFD991055D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108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9"/>
          <p:cNvGraphicFramePr/>
          <p:nvPr/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9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9"/>
          <p:cNvSpPr txBox="1">
            <a:spLocks noGrp="1"/>
          </p:cNvSpPr>
          <p:nvPr>
            <p:ph type="title"/>
          </p:nvPr>
        </p:nvSpPr>
        <p:spPr>
          <a:xfrm>
            <a:off x="233259" y="234863"/>
            <a:ext cx="11725485" cy="298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9"/>
          <p:cNvCxnSpPr/>
          <p:nvPr/>
        </p:nvCxnSpPr>
        <p:spPr>
          <a:xfrm>
            <a:off x="121030" y="905708"/>
            <a:ext cx="11951924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5532891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1_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0" y="4725057"/>
            <a:ext cx="12192000" cy="213294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3282" tIns="46628" rIns="93282" bIns="46628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32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8"/>
          <p:cNvGraphicFramePr/>
          <p:nvPr/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8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8"/>
          <p:cNvSpPr txBox="1">
            <a:spLocks noGrp="1"/>
          </p:cNvSpPr>
          <p:nvPr>
            <p:ph type="ctrTitle"/>
          </p:nvPr>
        </p:nvSpPr>
        <p:spPr>
          <a:xfrm>
            <a:off x="317489" y="3545800"/>
            <a:ext cx="10025345" cy="452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65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8"/>
          <p:cNvSpPr txBox="1">
            <a:spLocks noGrp="1"/>
          </p:cNvSpPr>
          <p:nvPr>
            <p:ph type="subTitle" idx="1"/>
          </p:nvPr>
        </p:nvSpPr>
        <p:spPr>
          <a:xfrm>
            <a:off x="317489" y="4858154"/>
            <a:ext cx="10025345" cy="197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28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8"/>
          <p:cNvSpPr/>
          <p:nvPr/>
        </p:nvSpPr>
        <p:spPr>
          <a:xfrm>
            <a:off x="11064592" y="37255"/>
            <a:ext cx="894152" cy="124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16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8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812838" y="1"/>
            <a:ext cx="3379162" cy="81025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47500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AFDDF-7E1D-4542-96FA-F3FE754B120A}" type="datetimeFigureOut">
              <a:rPr lang="en-US" smtClean="0"/>
              <a:t>5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32B4A-4B32-4C98-B1D6-EFD991055D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3268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AFDDF-7E1D-4542-96FA-F3FE754B120A}" type="datetimeFigureOut">
              <a:rPr lang="en-US" smtClean="0"/>
              <a:t>5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32B4A-4B32-4C98-B1D6-EFD991055D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7807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AFDDF-7E1D-4542-96FA-F3FE754B120A}" type="datetimeFigureOut">
              <a:rPr lang="en-US" smtClean="0"/>
              <a:t>5/3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32B4A-4B32-4C98-B1D6-EFD991055D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051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AFDDF-7E1D-4542-96FA-F3FE754B120A}" type="datetimeFigureOut">
              <a:rPr lang="en-US" smtClean="0"/>
              <a:t>5/3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32B4A-4B32-4C98-B1D6-EFD991055D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861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AFDDF-7E1D-4542-96FA-F3FE754B120A}" type="datetimeFigureOut">
              <a:rPr lang="en-US" smtClean="0"/>
              <a:t>5/3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32B4A-4B32-4C98-B1D6-EFD991055D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622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AFDDF-7E1D-4542-96FA-F3FE754B120A}" type="datetimeFigureOut">
              <a:rPr lang="en-US" smtClean="0"/>
              <a:t>5/30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32B4A-4B32-4C98-B1D6-EFD991055D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896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AFDDF-7E1D-4542-96FA-F3FE754B120A}" type="datetimeFigureOut">
              <a:rPr lang="en-US" smtClean="0"/>
              <a:t>5/3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32B4A-4B32-4C98-B1D6-EFD991055D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6508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AFDDF-7E1D-4542-96FA-F3FE754B120A}" type="datetimeFigureOut">
              <a:rPr lang="en-US" smtClean="0"/>
              <a:t>5/3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C32B4A-4B32-4C98-B1D6-EFD991055D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5824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AFDDF-7E1D-4542-96FA-F3FE754B120A}" type="datetimeFigureOut">
              <a:rPr lang="en-US" smtClean="0"/>
              <a:t>5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C32B4A-4B32-4C98-B1D6-EFD991055D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493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microsoft.com/office/2014/relationships/chartEx" Target="../charts/chartEx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1762374" y="3545794"/>
            <a:ext cx="7518565" cy="45217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spAutoFit/>
          </a:bodyPr>
          <a:lstStyle/>
          <a:p>
            <a:r>
              <a:rPr lang="en-AU" dirty="0" err="1" smtClean="0"/>
              <a:t>Zomato</a:t>
            </a:r>
            <a:r>
              <a:rPr lang="en-AU" dirty="0" smtClean="0"/>
              <a:t> – </a:t>
            </a:r>
            <a:r>
              <a:rPr lang="en-AU" dirty="0"/>
              <a:t>Technical Presentation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1762374" y="5185924"/>
            <a:ext cx="5035786" cy="2242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AU" sz="1428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</a:t>
            </a:r>
            <a:r>
              <a:rPr lang="en-AU" sz="1428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en-AU" sz="1428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05/30/2020 </a:t>
            </a:r>
            <a:endParaRPr sz="1837" dirty="0"/>
          </a:p>
        </p:txBody>
      </p:sp>
      <p:sp>
        <p:nvSpPr>
          <p:cNvPr id="43" name="Google Shape;43;p1"/>
          <p:cNvSpPr txBox="1"/>
          <p:nvPr/>
        </p:nvSpPr>
        <p:spPr>
          <a:xfrm>
            <a:off x="1762373" y="5500025"/>
            <a:ext cx="5035786" cy="2242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AU" sz="1428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</a:t>
            </a:r>
            <a:r>
              <a:rPr lang="en-AU" sz="1428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en-AU" sz="1428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hit</a:t>
            </a:r>
            <a:r>
              <a:rPr lang="en-AU" sz="1428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Bansal</a:t>
            </a:r>
            <a:endParaRPr sz="1837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408" y="0"/>
            <a:ext cx="3375797" cy="124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758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15979" y="1280160"/>
            <a:ext cx="1174276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Customer Strategy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hennai, Mumbai, </a:t>
            </a:r>
            <a:r>
              <a:rPr lang="en-US" dirty="0" err="1" smtClean="0"/>
              <a:t>Banglore</a:t>
            </a:r>
            <a:r>
              <a:rPr lang="en-US" dirty="0" smtClean="0"/>
              <a:t>, Pune and New Delhi are top 5 cities in terms of number of restaura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staurants with North </a:t>
            </a:r>
            <a:r>
              <a:rPr lang="en-US" dirty="0"/>
              <a:t>Indian Cuisines have higher </a:t>
            </a:r>
            <a:r>
              <a:rPr lang="en-US" dirty="0" err="1"/>
              <a:t>avg</a:t>
            </a:r>
            <a:r>
              <a:rPr lang="en-US" dirty="0"/>
              <a:t> Rating of 3.25 in comparison to other restaurants having </a:t>
            </a:r>
            <a:r>
              <a:rPr lang="en-US" dirty="0" err="1"/>
              <a:t>avg</a:t>
            </a:r>
            <a:r>
              <a:rPr lang="en-US" dirty="0"/>
              <a:t> rating as 2.95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“Cost for two” 70</a:t>
            </a:r>
            <a:r>
              <a:rPr lang="en-US" b="1" dirty="0"/>
              <a:t>% of the restaurants costs less than </a:t>
            </a:r>
            <a:r>
              <a:rPr lang="en-US" b="1" dirty="0" err="1"/>
              <a:t>Rs</a:t>
            </a:r>
            <a:r>
              <a:rPr lang="en-US" b="1" dirty="0"/>
              <a:t> 500 for two persons. </a:t>
            </a:r>
            <a:r>
              <a:rPr lang="en-US" dirty="0" smtClean="0"/>
              <a:t>18</a:t>
            </a:r>
            <a:r>
              <a:rPr lang="en-US" dirty="0"/>
              <a:t>% costs between </a:t>
            </a:r>
            <a:r>
              <a:rPr lang="en-US" dirty="0" err="1"/>
              <a:t>Rs</a:t>
            </a:r>
            <a:r>
              <a:rPr lang="en-US" dirty="0"/>
              <a:t> 500 to </a:t>
            </a:r>
            <a:r>
              <a:rPr lang="en-US" dirty="0" err="1"/>
              <a:t>Rs</a:t>
            </a:r>
            <a:r>
              <a:rPr lang="en-US" dirty="0"/>
              <a:t> 1000 for two. </a:t>
            </a:r>
            <a:r>
              <a:rPr lang="en-US" dirty="0" smtClean="0"/>
              <a:t>12</a:t>
            </a:r>
            <a:r>
              <a:rPr lang="en-US" dirty="0"/>
              <a:t>% costs more than </a:t>
            </a:r>
            <a:r>
              <a:rPr lang="en-US" dirty="0" err="1"/>
              <a:t>Rs</a:t>
            </a:r>
            <a:r>
              <a:rPr lang="en-US" dirty="0"/>
              <a:t> 1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0000"/>
                </a:solidFill>
              </a:rPr>
              <a:t>8% of the all restaurants have “NO votes”.</a:t>
            </a:r>
            <a:r>
              <a:rPr lang="en-US" dirty="0"/>
              <a:t> </a:t>
            </a:r>
            <a:r>
              <a:rPr lang="en-US" b="1" dirty="0"/>
              <a:t>53% have votes between 1 to 100</a:t>
            </a:r>
            <a:r>
              <a:rPr lang="en-US" dirty="0"/>
              <a:t>. 16% have ratings between 100 to 250. 17% have ratings between 250 to 1000. </a:t>
            </a:r>
            <a:r>
              <a:rPr lang="en-US" dirty="0" smtClean="0"/>
              <a:t>6</a:t>
            </a:r>
            <a:r>
              <a:rPr lang="en-US" dirty="0"/>
              <a:t>% have ratings more than 1000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0000"/>
                </a:solidFill>
              </a:rPr>
              <a:t>16% of the all restaurants have “NO Pictures Uploaded”.</a:t>
            </a:r>
            <a:r>
              <a:rPr lang="en-US" dirty="0"/>
              <a:t> </a:t>
            </a:r>
            <a:r>
              <a:rPr lang="en-US" b="1" dirty="0"/>
              <a:t>51% have </a:t>
            </a:r>
            <a:r>
              <a:rPr lang="en-US" b="1" dirty="0" err="1"/>
              <a:t>upto</a:t>
            </a:r>
            <a:r>
              <a:rPr lang="en-US" b="1" dirty="0"/>
              <a:t> 50 pictures</a:t>
            </a:r>
            <a:r>
              <a:rPr lang="en-US" dirty="0"/>
              <a:t>. 10% have pictures between 50 to 100. 16% have pictures between 100 to 500. 8% have pictures more than 500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estaurants with more votes have more pictures uploaded and vice versa</a:t>
            </a:r>
            <a:r>
              <a:rPr lang="en-US" b="1" dirty="0" smtClean="0"/>
              <a:t>. R square value is 50% that means 50% of the movement pictures can be described by votes and vice versa.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621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215979" y="169549"/>
            <a:ext cx="11658157" cy="775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2800" b="1" dirty="0" err="1" smtClean="0"/>
              <a:t>Zomato</a:t>
            </a:r>
            <a:r>
              <a:rPr lang="en-US" sz="2800" b="1" dirty="0" smtClean="0"/>
              <a:t> wants to </a:t>
            </a:r>
            <a:r>
              <a:rPr lang="en-US" sz="2800" b="1" dirty="0"/>
              <a:t>lay down </a:t>
            </a:r>
            <a:r>
              <a:rPr lang="en-US" sz="2800" b="1" dirty="0" smtClean="0"/>
              <a:t>an approach </a:t>
            </a:r>
            <a:r>
              <a:rPr lang="en-US" sz="2800" b="1" dirty="0"/>
              <a:t>to </a:t>
            </a:r>
            <a:r>
              <a:rPr lang="en-US" sz="2800" b="1" dirty="0" smtClean="0"/>
              <a:t>increase market share in food delivering app.</a:t>
            </a:r>
            <a:endParaRPr lang="en-US" sz="2800" b="1" dirty="0"/>
          </a:p>
        </p:txBody>
      </p:sp>
      <p:grpSp>
        <p:nvGrpSpPr>
          <p:cNvPr id="49" name="Google Shape;49;p3"/>
          <p:cNvGrpSpPr/>
          <p:nvPr/>
        </p:nvGrpSpPr>
        <p:grpSpPr>
          <a:xfrm>
            <a:off x="2260004" y="1373707"/>
            <a:ext cx="7490997" cy="3172167"/>
            <a:chOff x="709649" y="1412776"/>
            <a:chExt cx="7491440" cy="2550272"/>
          </a:xfrm>
        </p:grpSpPr>
        <p:sp>
          <p:nvSpPr>
            <p:cNvPr id="50" name="Google Shape;50;p3"/>
            <p:cNvSpPr/>
            <p:nvPr/>
          </p:nvSpPr>
          <p:spPr>
            <a:xfrm>
              <a:off x="883140" y="1511553"/>
              <a:ext cx="7259584" cy="561151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932962">
                <a:buClr>
                  <a:srgbClr val="000000"/>
                </a:buClr>
              </a:pPr>
              <a:endParaRPr sz="3200" kern="0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1030929" y="1639154"/>
              <a:ext cx="6981160" cy="3726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3282" tIns="46628" rIns="93282" bIns="46628" anchor="t" anchorCtr="0">
              <a:spAutoFit/>
            </a:bodyPr>
            <a:lstStyle/>
            <a:p>
              <a:pPr algn="ctr" defTabSz="932962">
                <a:buClr>
                  <a:srgbClr val="000000"/>
                </a:buClr>
              </a:pPr>
              <a:r>
                <a:rPr lang="en-AU" sz="1200" b="1" kern="0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Problem </a:t>
              </a:r>
              <a:endParaRPr sz="1428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algn="ctr" defTabSz="932962">
                <a:buClr>
                  <a:srgbClr val="000000"/>
                </a:buClr>
              </a:pPr>
              <a:r>
                <a:rPr lang="en-AU" sz="1200" b="1" kern="0" dirty="0" smtClean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Understand </a:t>
              </a:r>
              <a:r>
                <a:rPr lang="en-US" sz="1200" b="1" kern="0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</a:rPr>
                <a:t>Customer Strategy</a:t>
              </a:r>
              <a:endParaRPr sz="1200" b="1" kern="0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Arial"/>
              </a:endParaRPr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3282" tIns="46628" rIns="93282" bIns="46628" anchor="ctr" anchorCtr="0">
              <a:noAutofit/>
            </a:bodyPr>
            <a:lstStyle/>
            <a:p>
              <a:pPr algn="ctr" defTabSz="932962">
                <a:buClr>
                  <a:srgbClr val="000000"/>
                </a:buClr>
              </a:pPr>
              <a:r>
                <a:rPr lang="en-AU" sz="1400" b="1" kern="0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!</a:t>
              </a:r>
              <a:endParaRPr sz="1428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774838" y="2482277"/>
              <a:ext cx="7426251" cy="1480771"/>
            </a:xfrm>
            <a:prstGeom prst="rect">
              <a:avLst/>
            </a:prstGeom>
            <a:solidFill>
              <a:srgbClr val="F6A401"/>
            </a:solidFill>
            <a:ln>
              <a:noFill/>
            </a:ln>
          </p:spPr>
          <p:txBody>
            <a:bodyPr spcFirstLastPara="1" wrap="square" lIns="93282" tIns="46628" rIns="93282" bIns="46628" anchor="ctr" anchorCtr="0">
              <a:noAutofit/>
            </a:bodyPr>
            <a:lstStyle/>
            <a:p>
              <a:pPr algn="ctr" defTabSz="932962">
                <a:buClr>
                  <a:srgbClr val="000000"/>
                </a:buClr>
              </a:pPr>
              <a:endParaRPr sz="200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879347" y="2548989"/>
              <a:ext cx="7211283" cy="126340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3282" tIns="46628" rIns="93282" bIns="46628" anchor="t" anchorCtr="0">
              <a:spAutoFit/>
            </a:bodyPr>
            <a:lstStyle/>
            <a:p>
              <a:pPr marL="285750" lvl="0" indent="-285750">
                <a:buAutoNum type="romanLcParenR"/>
              </a:pPr>
              <a:r>
                <a:rPr lang="en-US" sz="1600" b="1" kern="0" dirty="0" smtClean="0">
                  <a:solidFill>
                    <a:srgbClr val="002060"/>
                  </a:solidFill>
                  <a:ea typeface="Quattrocento Sans"/>
                  <a:cs typeface="Quattrocento Sans"/>
                </a:rPr>
                <a:t>Which city has maximum and minimum number of restaurants. </a:t>
              </a:r>
            </a:p>
            <a:p>
              <a:pPr marL="285750" lvl="0" indent="-285750">
                <a:buAutoNum type="romanLcParenR"/>
              </a:pPr>
              <a:r>
                <a:rPr lang="en-US" sz="1600" b="1" kern="0" dirty="0" smtClean="0">
                  <a:solidFill>
                    <a:srgbClr val="002060"/>
                  </a:solidFill>
                  <a:ea typeface="Quattrocento Sans"/>
                  <a:cs typeface="Quattrocento Sans"/>
                </a:rPr>
                <a:t>How cuisines play role into the ratings of these products.</a:t>
              </a:r>
            </a:p>
            <a:p>
              <a:pPr marL="285750" lvl="0" indent="-285750">
                <a:buAutoNum type="romanLcParenR"/>
              </a:pPr>
              <a:r>
                <a:rPr lang="en-US" sz="1600" b="1" kern="0" dirty="0" smtClean="0">
                  <a:solidFill>
                    <a:srgbClr val="002060"/>
                  </a:solidFill>
                  <a:ea typeface="Quattrocento Sans"/>
                  <a:cs typeface="Quattrocento Sans"/>
                </a:rPr>
                <a:t>“Cost of two”, ”Votes”, ”Pictures” analysis.</a:t>
              </a:r>
            </a:p>
            <a:p>
              <a:pPr marL="285750" lvl="0" indent="-285750">
                <a:buAutoNum type="romanLcParenR"/>
              </a:pPr>
              <a:r>
                <a:rPr lang="en-US" sz="1600" b="1" kern="0" dirty="0" smtClean="0">
                  <a:solidFill>
                    <a:srgbClr val="002060"/>
                  </a:solidFill>
                  <a:ea typeface="Quattrocento Sans"/>
                  <a:cs typeface="Quattrocento Sans"/>
                </a:rPr>
                <a:t>Relation between pictures and votes.</a:t>
              </a:r>
            </a:p>
            <a:p>
              <a:pPr marL="285750" indent="-285750">
                <a:buFontTx/>
                <a:buAutoNum type="romanLcParenR"/>
              </a:pPr>
              <a:r>
                <a:rPr lang="en-US" sz="1600" b="1" kern="0" dirty="0" smtClean="0">
                  <a:solidFill>
                    <a:srgbClr val="002060"/>
                  </a:solidFill>
                  <a:ea typeface="Quattrocento Sans"/>
                  <a:cs typeface="Quattrocento Sans"/>
                </a:rPr>
                <a:t>Top 5 cuisines through out India.</a:t>
              </a:r>
            </a:p>
            <a:p>
              <a:pPr marL="285750" indent="-285750">
                <a:buFontTx/>
                <a:buAutoNum type="romanLcParenR"/>
              </a:pPr>
              <a:r>
                <a:rPr lang="en-US" sz="1600" b="1" kern="0" dirty="0" smtClean="0">
                  <a:solidFill>
                    <a:srgbClr val="002060"/>
                  </a:solidFill>
                  <a:ea typeface="Quattrocento Sans"/>
                  <a:cs typeface="Quattrocento Sans"/>
                </a:rPr>
                <a:t>Correlation between different variables.</a:t>
              </a:r>
              <a:endParaRPr lang="en-US" sz="1600" b="1" kern="0" dirty="0">
                <a:solidFill>
                  <a:srgbClr val="002060"/>
                </a:solidFill>
                <a:ea typeface="Quattrocento Sans"/>
                <a:cs typeface="Quattrocento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2958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4"/>
          <p:cNvSpPr txBox="1">
            <a:spLocks noGrp="1"/>
          </p:cNvSpPr>
          <p:nvPr>
            <p:ph type="title"/>
          </p:nvPr>
        </p:nvSpPr>
        <p:spPr>
          <a:xfrm>
            <a:off x="1699204" y="234864"/>
            <a:ext cx="8793595" cy="38779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spAutoFit/>
          </a:bodyPr>
          <a:lstStyle/>
          <a:p>
            <a:pPr algn="ctr"/>
            <a:r>
              <a:rPr lang="en-AU" sz="2800" b="1" dirty="0"/>
              <a:t>Problem</a:t>
            </a:r>
            <a:r>
              <a:rPr lang="en-AU" sz="2400" b="1" dirty="0"/>
              <a:t> Statement and Solution Approach</a:t>
            </a:r>
            <a:endParaRPr sz="5400" b="1" dirty="0"/>
          </a:p>
        </p:txBody>
      </p:sp>
      <p:cxnSp>
        <p:nvCxnSpPr>
          <p:cNvPr id="89" name="Google Shape;89;p4"/>
          <p:cNvCxnSpPr/>
          <p:nvPr/>
        </p:nvCxnSpPr>
        <p:spPr>
          <a:xfrm>
            <a:off x="1710444" y="6584415"/>
            <a:ext cx="8963414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" name="Google Shape;90;p4"/>
          <p:cNvSpPr/>
          <p:nvPr/>
        </p:nvSpPr>
        <p:spPr>
          <a:xfrm>
            <a:off x="2485093" y="1720475"/>
            <a:ext cx="7199210" cy="1482270"/>
          </a:xfrm>
          <a:prstGeom prst="rect">
            <a:avLst/>
          </a:prstGeom>
          <a:solidFill>
            <a:srgbClr val="F2F2F2">
              <a:alpha val="84705"/>
            </a:srgbClr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/>
            <a:r>
              <a:rPr lang="en-US" b="1" dirty="0" err="1"/>
              <a:t>Zomato</a:t>
            </a:r>
            <a:r>
              <a:rPr lang="en-US" b="1" dirty="0"/>
              <a:t> is one of the largest food aggregators in the world. </a:t>
            </a:r>
            <a:r>
              <a:rPr lang="en-US" b="1" dirty="0" err="1"/>
              <a:t>Inspite</a:t>
            </a:r>
            <a:r>
              <a:rPr lang="en-US" b="1" dirty="0"/>
              <a:t> of tremendous growth in Indian market, company is in financial loss of $294m and to overcome its losses of the food delivery business in India, </a:t>
            </a:r>
            <a:r>
              <a:rPr lang="en-US" b="1" dirty="0" err="1"/>
              <a:t>Zomato</a:t>
            </a:r>
            <a:r>
              <a:rPr lang="en-US" b="1" dirty="0"/>
              <a:t> wants to increase its delivery business in India specially be first-in-the-market cities.</a:t>
            </a:r>
            <a:endParaRPr lang="en-US" b="1" dirty="0"/>
          </a:p>
        </p:txBody>
      </p:sp>
      <p:sp>
        <p:nvSpPr>
          <p:cNvPr id="91" name="Google Shape;91;p4"/>
          <p:cNvSpPr/>
          <p:nvPr/>
        </p:nvSpPr>
        <p:spPr>
          <a:xfrm>
            <a:off x="1964246" y="4377209"/>
            <a:ext cx="3663551" cy="1680677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endParaRPr sz="1837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" name="Google Shape;92;p4"/>
          <p:cNvCxnSpPr/>
          <p:nvPr/>
        </p:nvCxnSpPr>
        <p:spPr>
          <a:xfrm flipH="1">
            <a:off x="4978161" y="3849503"/>
            <a:ext cx="1" cy="52653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3" name="Google Shape;93;p4"/>
          <p:cNvSpPr/>
          <p:nvPr/>
        </p:nvSpPr>
        <p:spPr>
          <a:xfrm>
            <a:off x="6564206" y="4376033"/>
            <a:ext cx="3663551" cy="1680677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endParaRPr sz="1837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4" name="Google Shape;94;p4"/>
          <p:cNvCxnSpPr/>
          <p:nvPr/>
        </p:nvCxnSpPr>
        <p:spPr>
          <a:xfrm flipH="1">
            <a:off x="7100769" y="3848328"/>
            <a:ext cx="1" cy="52653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5" name="Google Shape;95;p4"/>
          <p:cNvCxnSpPr/>
          <p:nvPr/>
        </p:nvCxnSpPr>
        <p:spPr>
          <a:xfrm>
            <a:off x="4978161" y="3848328"/>
            <a:ext cx="2076504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6" name="Google Shape;96;p4"/>
          <p:cNvCxnSpPr>
            <a:stCxn id="90" idx="2"/>
          </p:cNvCxnSpPr>
          <p:nvPr/>
        </p:nvCxnSpPr>
        <p:spPr>
          <a:xfrm>
            <a:off x="6084698" y="3202745"/>
            <a:ext cx="9979" cy="617754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7" name="Google Shape;97;p4"/>
          <p:cNvSpPr txBox="1"/>
          <p:nvPr/>
        </p:nvSpPr>
        <p:spPr>
          <a:xfrm>
            <a:off x="2367317" y="4959741"/>
            <a:ext cx="3147379" cy="6066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282" tIns="46628" rIns="93282" bIns="46628" anchor="t" anchorCtr="0">
            <a:spAutoFit/>
          </a:bodyPr>
          <a:lstStyle/>
          <a:p>
            <a:r>
              <a:rPr lang="en-AU" sz="1632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ATISTICAL APPROACH #</a:t>
            </a:r>
            <a:r>
              <a:rPr lang="en-AU" sz="1632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</a:p>
          <a:p>
            <a:r>
              <a:rPr lang="en-AU" sz="1632" dirty="0">
                <a:solidFill>
                  <a:schemeClr val="dk1"/>
                </a:solidFill>
              </a:rPr>
              <a:t>Descriptive Analysis</a:t>
            </a:r>
            <a:endParaRPr sz="1837" dirty="0"/>
          </a:p>
        </p:txBody>
      </p:sp>
      <p:sp>
        <p:nvSpPr>
          <p:cNvPr id="98" name="Google Shape;98;p4"/>
          <p:cNvSpPr txBox="1"/>
          <p:nvPr/>
        </p:nvSpPr>
        <p:spPr>
          <a:xfrm>
            <a:off x="6822291" y="4901387"/>
            <a:ext cx="3147379" cy="6066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282" tIns="46628" rIns="93282" bIns="46628" anchor="t" anchorCtr="0">
            <a:spAutoFit/>
          </a:bodyPr>
          <a:lstStyle/>
          <a:p>
            <a:r>
              <a:rPr lang="en-AU" sz="1632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ATISTICAL APPROACH #</a:t>
            </a:r>
            <a:r>
              <a:rPr lang="en-AU" sz="1632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</a:p>
          <a:p>
            <a:r>
              <a:rPr lang="en-AU" sz="1632" dirty="0">
                <a:solidFill>
                  <a:schemeClr val="dk1"/>
                </a:solidFill>
              </a:rPr>
              <a:t>Inferential Analysis</a:t>
            </a:r>
            <a:endParaRPr sz="1837" dirty="0"/>
          </a:p>
        </p:txBody>
      </p:sp>
    </p:spTree>
    <p:extLst>
      <p:ext uri="{BB962C8B-B14F-4D97-AF65-F5344CB8AC3E}">
        <p14:creationId xmlns:p14="http://schemas.microsoft.com/office/powerpoint/2010/main" val="1764725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259" y="117297"/>
            <a:ext cx="11725485" cy="775597"/>
          </a:xfrm>
        </p:spPr>
        <p:txBody>
          <a:bodyPr/>
          <a:lstStyle/>
          <a:p>
            <a:r>
              <a:rPr lang="en-US" sz="2800" b="1" dirty="0" smtClean="0"/>
              <a:t>Chennai has most number of restaurants (2612) and Salem has minimum number (418) of restaurants (minimum 400 restaurants in a city)</a:t>
            </a:r>
            <a:endParaRPr lang="en-US" sz="2800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075" y="1136469"/>
            <a:ext cx="11325496" cy="5368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401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4" name="Content Placeholder 3"/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398533373"/>
                  </p:ext>
                </p:extLst>
              </p:nvPr>
            </p:nvGraphicFramePr>
            <p:xfrm>
              <a:off x="838200" y="2030326"/>
              <a:ext cx="5112434" cy="487892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4" name="Content Placeholder 3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38200" y="2030326"/>
                <a:ext cx="5112434" cy="4878923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5" name="Chart 4"/>
              <p:cNvGraphicFramePr/>
              <p:nvPr>
                <p:extLst>
                  <p:ext uri="{D42A27DB-BD31-4B8C-83A1-F6EECF244321}">
                    <p14:modId xmlns:p14="http://schemas.microsoft.com/office/powerpoint/2010/main" val="2615616707"/>
                  </p:ext>
                </p:extLst>
              </p:nvPr>
            </p:nvGraphicFramePr>
            <p:xfrm>
              <a:off x="6585439" y="2030326"/>
              <a:ext cx="4648200" cy="487892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>
          <p:pic>
            <p:nvPicPr>
              <p:cNvPr id="5" name="Chart 4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585439" y="2030326"/>
                <a:ext cx="4648200" cy="4878922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extBox 5"/>
          <p:cNvSpPr txBox="1"/>
          <p:nvPr/>
        </p:nvSpPr>
        <p:spPr>
          <a:xfrm>
            <a:off x="0" y="0"/>
            <a:ext cx="1175757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latin typeface="+mj-lt"/>
              </a:rPr>
              <a:t>Restaurants who serve North Indian Cuisines have higher </a:t>
            </a:r>
            <a:r>
              <a:rPr lang="en-US" sz="2800" b="1" dirty="0" err="1">
                <a:latin typeface="+mj-lt"/>
              </a:rPr>
              <a:t>a</a:t>
            </a:r>
            <a:r>
              <a:rPr lang="en-US" sz="2800" b="1" dirty="0" err="1" smtClean="0">
                <a:latin typeface="+mj-lt"/>
              </a:rPr>
              <a:t>vg</a:t>
            </a:r>
            <a:r>
              <a:rPr lang="en-US" sz="2800" b="1" dirty="0" smtClean="0">
                <a:latin typeface="+mj-lt"/>
              </a:rPr>
              <a:t> </a:t>
            </a:r>
            <a:r>
              <a:rPr lang="en-US" sz="2800" b="1" dirty="0" smtClean="0">
                <a:latin typeface="+mj-lt"/>
              </a:rPr>
              <a:t>Rating of 3.25 in comparison to other restaurants having </a:t>
            </a:r>
            <a:r>
              <a:rPr lang="en-US" sz="2800" b="1" dirty="0" err="1" smtClean="0">
                <a:latin typeface="+mj-lt"/>
              </a:rPr>
              <a:t>avg</a:t>
            </a:r>
            <a:r>
              <a:rPr lang="en-US" sz="2800" b="1" dirty="0" smtClean="0">
                <a:latin typeface="+mj-lt"/>
              </a:rPr>
              <a:t> rating as 2.95.</a:t>
            </a:r>
          </a:p>
          <a:p>
            <a:r>
              <a:rPr lang="en-US" sz="2800" b="1" dirty="0" smtClean="0">
                <a:latin typeface="+mj-lt"/>
              </a:rPr>
              <a:t>Median value is also higher (3.6) who serve North Indian Cuisines than others (3.5)</a:t>
            </a:r>
            <a:endParaRPr lang="en-US" sz="2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02810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91125607"/>
              </p:ext>
            </p:extLst>
          </p:nvPr>
        </p:nvGraphicFramePr>
        <p:xfrm>
          <a:off x="-1" y="0"/>
          <a:ext cx="11834949" cy="2666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/>
          </p:nvPr>
        </p:nvGraphicFramePr>
        <p:xfrm>
          <a:off x="0" y="3429000"/>
          <a:ext cx="6096000" cy="2566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/>
          </p:nvPr>
        </p:nvGraphicFramePr>
        <p:xfrm>
          <a:off x="6096000" y="3429000"/>
          <a:ext cx="6096000" cy="2566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0" y="2678430"/>
            <a:ext cx="1167819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70% of the restaurants costs less than </a:t>
            </a:r>
            <a:r>
              <a:rPr lang="en-US" sz="1400" b="1" dirty="0" err="1" smtClean="0"/>
              <a:t>Rs</a:t>
            </a:r>
            <a:r>
              <a:rPr lang="en-US" sz="1400" b="1" dirty="0" smtClean="0"/>
              <a:t> 500 for two persons. </a:t>
            </a:r>
          </a:p>
          <a:p>
            <a:r>
              <a:rPr lang="en-US" sz="1400" dirty="0" smtClean="0"/>
              <a:t>18% costs between </a:t>
            </a:r>
            <a:r>
              <a:rPr lang="en-US" sz="1400" dirty="0" err="1" smtClean="0"/>
              <a:t>Rs</a:t>
            </a:r>
            <a:r>
              <a:rPr lang="en-US" sz="1400" dirty="0" smtClean="0"/>
              <a:t> 500 to </a:t>
            </a:r>
            <a:r>
              <a:rPr lang="en-US" sz="1400" dirty="0" err="1" smtClean="0"/>
              <a:t>Rs</a:t>
            </a:r>
            <a:r>
              <a:rPr lang="en-US" sz="1400" dirty="0" smtClean="0"/>
              <a:t> 1000 for two. </a:t>
            </a:r>
          </a:p>
          <a:p>
            <a:r>
              <a:rPr lang="en-US" sz="1400" dirty="0" smtClean="0"/>
              <a:t>12% costs more than </a:t>
            </a:r>
            <a:r>
              <a:rPr lang="en-US" sz="1400" dirty="0" err="1" smtClean="0"/>
              <a:t>Rs</a:t>
            </a:r>
            <a:r>
              <a:rPr lang="en-US" sz="1400" dirty="0" smtClean="0"/>
              <a:t> 1000</a:t>
            </a:r>
            <a:endParaRPr lang="en-US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0" y="6119336"/>
            <a:ext cx="6096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8% of the all restaurants have “NO votes”.</a:t>
            </a:r>
            <a:r>
              <a:rPr lang="en-US" sz="1400" dirty="0" smtClean="0"/>
              <a:t> </a:t>
            </a:r>
            <a:r>
              <a:rPr lang="en-US" sz="1400" b="1" dirty="0" smtClean="0"/>
              <a:t>53% have votes between 1 to 100</a:t>
            </a:r>
            <a:r>
              <a:rPr lang="en-US" sz="1400" dirty="0" smtClean="0"/>
              <a:t>. 16% have ratings between 100 to 250. 17% have ratings between 250 to 1000. </a:t>
            </a:r>
          </a:p>
          <a:p>
            <a:r>
              <a:rPr lang="en-US" sz="1400" dirty="0" smtClean="0"/>
              <a:t>6% have ratings more than 1000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143897" y="6126481"/>
            <a:ext cx="6096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16% of the all restaurants have “NO Pictures Uploaded”.</a:t>
            </a:r>
            <a:r>
              <a:rPr lang="en-US" sz="1400" dirty="0" smtClean="0"/>
              <a:t> </a:t>
            </a:r>
            <a:r>
              <a:rPr lang="en-US" sz="1400" b="1" dirty="0" smtClean="0"/>
              <a:t>51% have </a:t>
            </a:r>
            <a:r>
              <a:rPr lang="en-US" sz="1400" b="1" dirty="0" err="1" smtClean="0"/>
              <a:t>upto</a:t>
            </a:r>
            <a:r>
              <a:rPr lang="en-US" sz="1400" b="1" dirty="0" smtClean="0"/>
              <a:t> 50 pictures</a:t>
            </a:r>
            <a:r>
              <a:rPr lang="en-US" sz="1400" dirty="0" smtClean="0"/>
              <a:t>. 10% have pictures between 50 to 100. 16% have pictures between 100 to 500. </a:t>
            </a:r>
            <a:r>
              <a:rPr lang="en-US" sz="1400" dirty="0"/>
              <a:t>8</a:t>
            </a:r>
            <a:r>
              <a:rPr lang="en-US" sz="1400" dirty="0" smtClean="0"/>
              <a:t>% have pictures more than 500.</a:t>
            </a:r>
          </a:p>
        </p:txBody>
      </p:sp>
    </p:spTree>
    <p:extLst>
      <p:ext uri="{BB962C8B-B14F-4D97-AF65-F5344CB8AC3E}">
        <p14:creationId xmlns:p14="http://schemas.microsoft.com/office/powerpoint/2010/main" val="1639046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953" y="365125"/>
            <a:ext cx="11051177" cy="1325563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 smtClean="0"/>
              <a:t>Scatter </a:t>
            </a:r>
            <a:r>
              <a:rPr lang="en-US" sz="2800" b="1" dirty="0" smtClean="0"/>
              <a:t>Plot: Restaurants with more votes have more pictures uploaded and vice versa.</a:t>
            </a:r>
            <a:endParaRPr lang="en-US" sz="2800" b="1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24920520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72216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b="1" dirty="0" smtClean="0"/>
              <a:t>North Indian Cuisine is most likable food followed by Fast food, North Indian + Chinese, Bakery and South Indian respectively.</a:t>
            </a:r>
            <a:endParaRPr lang="en-US" sz="2800" b="1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49086" y="1929606"/>
            <a:ext cx="10476411" cy="437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693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953" y="365125"/>
            <a:ext cx="11051177" cy="1325563"/>
          </a:xfrm>
        </p:spPr>
        <p:txBody>
          <a:bodyPr>
            <a:noAutofit/>
          </a:bodyPr>
          <a:lstStyle/>
          <a:p>
            <a:pPr algn="ctr"/>
            <a:r>
              <a:rPr lang="en-US" sz="2800" b="1" dirty="0" smtClean="0"/>
              <a:t>Correlation </a:t>
            </a:r>
            <a:r>
              <a:rPr lang="en-US" sz="2800" b="1" dirty="0" smtClean="0"/>
              <a:t>Heat map: Only Votes and Pictures Uploaded have a strong positive relationship. Rest other variables don’t have very strong relationship</a:t>
            </a:r>
            <a:endParaRPr lang="en-US" sz="2800" b="1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12905233"/>
              </p:ext>
            </p:extLst>
          </p:nvPr>
        </p:nvGraphicFramePr>
        <p:xfrm>
          <a:off x="2207627" y="2194558"/>
          <a:ext cx="8020590" cy="1982540"/>
        </p:xfrm>
        <a:graphic>
          <a:graphicData uri="http://schemas.openxmlformats.org/drawingml/2006/table">
            <a:tbl>
              <a:tblPr/>
              <a:tblGrid>
                <a:gridCol w="1604118">
                  <a:extLst>
                    <a:ext uri="{9D8B030D-6E8A-4147-A177-3AD203B41FA5}">
                      <a16:colId xmlns:a16="http://schemas.microsoft.com/office/drawing/2014/main" val="3079637584"/>
                    </a:ext>
                  </a:extLst>
                </a:gridCol>
                <a:gridCol w="1604118">
                  <a:extLst>
                    <a:ext uri="{9D8B030D-6E8A-4147-A177-3AD203B41FA5}">
                      <a16:colId xmlns:a16="http://schemas.microsoft.com/office/drawing/2014/main" val="571672352"/>
                    </a:ext>
                  </a:extLst>
                </a:gridCol>
                <a:gridCol w="1604118">
                  <a:extLst>
                    <a:ext uri="{9D8B030D-6E8A-4147-A177-3AD203B41FA5}">
                      <a16:colId xmlns:a16="http://schemas.microsoft.com/office/drawing/2014/main" val="3254735919"/>
                    </a:ext>
                  </a:extLst>
                </a:gridCol>
                <a:gridCol w="1604118">
                  <a:extLst>
                    <a:ext uri="{9D8B030D-6E8A-4147-A177-3AD203B41FA5}">
                      <a16:colId xmlns:a16="http://schemas.microsoft.com/office/drawing/2014/main" val="3732253571"/>
                    </a:ext>
                  </a:extLst>
                </a:gridCol>
                <a:gridCol w="1604118">
                  <a:extLst>
                    <a:ext uri="{9D8B030D-6E8A-4147-A177-3AD203B41FA5}">
                      <a16:colId xmlns:a16="http://schemas.microsoft.com/office/drawing/2014/main" val="533983982"/>
                    </a:ext>
                  </a:extLst>
                </a:gridCol>
              </a:tblGrid>
              <a:tr h="39650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_for_two</a:t>
                      </a:r>
                      <a:endParaRPr lang="en-US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t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ctures_uploaded</a:t>
                      </a:r>
                      <a:endParaRPr lang="en-US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0637596"/>
                  </a:ext>
                </a:extLst>
              </a:tr>
              <a:tr h="39650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_for_two</a:t>
                      </a:r>
                      <a:endParaRPr lang="en-US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577278"/>
                  </a:ext>
                </a:extLst>
              </a:tr>
              <a:tr h="39650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t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6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9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1431664"/>
                  </a:ext>
                </a:extLst>
              </a:tr>
              <a:tr h="39650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t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C9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876406"/>
                  </a:ext>
                </a:extLst>
              </a:tr>
              <a:tr h="39650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ctures_uploaded</a:t>
                      </a:r>
                      <a:endParaRPr lang="en-US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9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C9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37794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8081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6</TotalTime>
  <Words>664</Words>
  <Application>Microsoft Office PowerPoint</Application>
  <PresentationFormat>Widescreen</PresentationFormat>
  <Paragraphs>72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Quattrocento Sans</vt:lpstr>
      <vt:lpstr>Office Theme</vt:lpstr>
      <vt:lpstr>TCLayout.ActiveDocument.1</vt:lpstr>
      <vt:lpstr>Zomato – Technical Presentation</vt:lpstr>
      <vt:lpstr>Zomato wants to lay down an approach to increase market share in food delivering app.</vt:lpstr>
      <vt:lpstr>Problem Statement and Solution Approach</vt:lpstr>
      <vt:lpstr>Chennai has most number of restaurants (2612) and Salem has minimum number (418) of restaurants (minimum 400 restaurants in a city)</vt:lpstr>
      <vt:lpstr>PowerPoint Presentation</vt:lpstr>
      <vt:lpstr>PowerPoint Presentation</vt:lpstr>
      <vt:lpstr>Scatter Plot: Restaurants with more votes have more pictures uploaded and vice versa.</vt:lpstr>
      <vt:lpstr>North Indian Cuisine is most likable food followed by Fast food, North Indian + Chinese, Bakery and South Indian respectively.</vt:lpstr>
      <vt:lpstr>Correlation Heat map: Only Votes and Pictures Uploaded have a strong positive relationship. Rest other variables don’t have very strong relationship</vt:lpstr>
      <vt:lpstr>Summary</vt:lpstr>
    </vt:vector>
  </TitlesOfParts>
  <Company>Cognizan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nsal, Sonal (Cognizant)</dc:creator>
  <cp:lastModifiedBy>Bansal, Sonal (Cognizant)</cp:lastModifiedBy>
  <cp:revision>35</cp:revision>
  <dcterms:created xsi:type="dcterms:W3CDTF">2020-05-08T03:02:02Z</dcterms:created>
  <dcterms:modified xsi:type="dcterms:W3CDTF">2020-05-30T07:56:39Z</dcterms:modified>
</cp:coreProperties>
</file>